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3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4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6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7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8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9.xml" ContentType="application/vnd.openxmlformats-officedocument.theme+xml"/>
  <Override PartName="/ppt/tags/tag11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9.xml" ContentType="application/vnd.openxmlformats-officedocument.presentationml.tags+xml"/>
  <Override PartName="/ppt/notesSlides/notesSlide10.xml" ContentType="application/vnd.openxmlformats-officedocument.presentationml.notesSlide+xml"/>
  <Override PartName="/ppt/tags/tag120.xml" ContentType="application/vnd.openxmlformats-officedocument.presentationml.tags+xml"/>
  <Override PartName="/ppt/notesSlides/notesSlide11.xml" ContentType="application/vnd.openxmlformats-officedocument.presentationml.notesSlide+xml"/>
  <Override PartName="/ppt/tags/tag12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8" r:id="rId4"/>
    <p:sldMasterId id="2147483660" r:id="rId5"/>
    <p:sldMasterId id="2147483927" r:id="rId6"/>
    <p:sldMasterId id="2147483994" r:id="rId7"/>
    <p:sldMasterId id="2147484008" r:id="rId8"/>
    <p:sldMasterId id="2147484047" r:id="rId9"/>
    <p:sldMasterId id="2147484065" r:id="rId10"/>
    <p:sldMasterId id="2147484081" r:id="rId11"/>
  </p:sldMasterIdLst>
  <p:notesMasterIdLst>
    <p:notesMasterId r:id="rId33"/>
  </p:notesMasterIdLst>
  <p:sldIdLst>
    <p:sldId id="280" r:id="rId12"/>
    <p:sldId id="1434" r:id="rId13"/>
    <p:sldId id="257" r:id="rId14"/>
    <p:sldId id="2142532956" r:id="rId15"/>
    <p:sldId id="541" r:id="rId16"/>
    <p:sldId id="1591" r:id="rId17"/>
    <p:sldId id="1584" r:id="rId18"/>
    <p:sldId id="1585" r:id="rId19"/>
    <p:sldId id="620" r:id="rId20"/>
    <p:sldId id="623" r:id="rId21"/>
    <p:sldId id="552" r:id="rId22"/>
    <p:sldId id="373" r:id="rId23"/>
    <p:sldId id="558" r:id="rId24"/>
    <p:sldId id="553" r:id="rId25"/>
    <p:sldId id="548" r:id="rId26"/>
    <p:sldId id="555" r:id="rId27"/>
    <p:sldId id="262" r:id="rId28"/>
    <p:sldId id="263" r:id="rId29"/>
    <p:sldId id="272" r:id="rId30"/>
    <p:sldId id="268" r:id="rId31"/>
    <p:sldId id="1433" r:id="rId3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kcja domyślna" id="{828D8328-ED6C-4760-B1BC-D6A06BAFA825}">
          <p14:sldIdLst>
            <p14:sldId id="280"/>
            <p14:sldId id="1434"/>
            <p14:sldId id="257"/>
            <p14:sldId id="2142532956"/>
            <p14:sldId id="541"/>
            <p14:sldId id="1591"/>
            <p14:sldId id="1584"/>
            <p14:sldId id="1585"/>
            <p14:sldId id="620"/>
            <p14:sldId id="623"/>
            <p14:sldId id="552"/>
            <p14:sldId id="373"/>
            <p14:sldId id="558"/>
            <p14:sldId id="553"/>
            <p14:sldId id="548"/>
            <p14:sldId id="555"/>
            <p14:sldId id="262"/>
            <p14:sldId id="263"/>
            <p14:sldId id="272"/>
            <p14:sldId id="268"/>
            <p14:sldId id="143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sa Marie Lorenz" initials="LML" lastIdx="3" clrIdx="0">
    <p:extLst>
      <p:ext uri="{19B8F6BF-5375-455C-9EA6-DF929625EA0E}">
        <p15:presenceInfo xmlns:p15="http://schemas.microsoft.com/office/powerpoint/2012/main" userId="Lisa Marie Lorenz" providerId="None"/>
      </p:ext>
    </p:extLst>
  </p:cmAuthor>
  <p:cmAuthor id="2" name="Lisa Marie Ley" initials="LL" lastIdx="21" clrIdx="1">
    <p:extLst>
      <p:ext uri="{19B8F6BF-5375-455C-9EA6-DF929625EA0E}">
        <p15:presenceInfo xmlns:p15="http://schemas.microsoft.com/office/powerpoint/2012/main" userId="S::a39212@dekra.org::a377abb1-8d18-4896-8464-bc27bfde45b7" providerId="AD"/>
      </p:ext>
    </p:extLst>
  </p:cmAuthor>
  <p:cmAuthor id="3" name="Lisa Marie Lorenz" initials="LML [2]" lastIdx="6" clrIdx="2">
    <p:extLst>
      <p:ext uri="{19B8F6BF-5375-455C-9EA6-DF929625EA0E}">
        <p15:presenceInfo xmlns:p15="http://schemas.microsoft.com/office/powerpoint/2012/main" userId="S-1-5-21-4220481026-135224086-419363850-363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D40"/>
    <a:srgbClr val="C500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2B8680-9D3D-4CA1-966E-7668FDF33958}" v="19" dt="2020-09-17T07:39:48.7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17" autoAdjust="0"/>
    <p:restoredTop sz="84385" autoAdjust="0"/>
  </p:normalViewPr>
  <p:slideViewPr>
    <p:cSldViewPr snapToGrid="0">
      <p:cViewPr varScale="1">
        <p:scale>
          <a:sx n="91" d="100"/>
          <a:sy n="91" d="100"/>
        </p:scale>
        <p:origin x="1408" y="184"/>
      </p:cViewPr>
      <p:guideLst/>
    </p:cSldViewPr>
  </p:slideViewPr>
  <p:outlineViewPr>
    <p:cViewPr>
      <p:scale>
        <a:sx n="33" d="100"/>
        <a:sy n="33" d="100"/>
      </p:scale>
      <p:origin x="0" y="-2948"/>
    </p:cViewPr>
  </p:outlin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microsoft.com/office/2015/10/relationships/revisionInfo" Target="revisionInfo.xml"/><Relationship Id="rId21" Type="http://schemas.openxmlformats.org/officeDocument/2006/relationships/slide" Target="slides/slide10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8FA40-BFBC-43B8-A6D9-43643726F1E8}" type="datetimeFigureOut">
              <a:rPr lang="de-DE" smtClean="0"/>
              <a:t>16.11.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261A90-A5AF-4414-AFA5-589F22FB2C3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8896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261A90-A5AF-4414-AFA5-589F22FB2C3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2309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61A90-A5AF-4414-AFA5-589F22FB2C39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17642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u-HU" b="1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261A90-A5AF-4414-AFA5-589F22FB2C39}" type="slidenum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700" b="0" i="0" u="none" strike="noStrike" kern="1200" cap="none" spc="0" normalizeH="0" baseline="0" noProof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03623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7FB9F-4C13-47A9-9880-833E46D47098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26482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261A90-A5AF-4414-AFA5-589F22FB2C39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96745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" name="Google Shape;942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5675" y="1044575"/>
            <a:ext cx="5286375" cy="2974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943" name="Google Shape;943;p7:notes"/>
          <p:cNvSpPr txBox="1">
            <a:spLocks noGrp="1"/>
          </p:cNvSpPr>
          <p:nvPr>
            <p:ph type="body" idx="1"/>
          </p:nvPr>
        </p:nvSpPr>
        <p:spPr>
          <a:xfrm>
            <a:off x="955050" y="4897437"/>
            <a:ext cx="5286646" cy="4500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/>
          </a:p>
        </p:txBody>
      </p:sp>
      <p:sp>
        <p:nvSpPr>
          <p:cNvPr id="944" name="Google Shape;944;p7:notes"/>
          <p:cNvSpPr txBox="1">
            <a:spLocks noGrp="1"/>
          </p:cNvSpPr>
          <p:nvPr>
            <p:ph type="dt" idx="10"/>
          </p:nvPr>
        </p:nvSpPr>
        <p:spPr>
          <a:xfrm>
            <a:off x="955050" y="433185"/>
            <a:ext cx="1188000" cy="144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6.04.2022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45" name="Google Shape;945;p7:notes"/>
          <p:cNvSpPr txBox="1">
            <a:spLocks noGrp="1"/>
          </p:cNvSpPr>
          <p:nvPr>
            <p:ph type="sldNum" idx="12"/>
          </p:nvPr>
        </p:nvSpPr>
        <p:spPr>
          <a:xfrm>
            <a:off x="5053696" y="433185"/>
            <a:ext cx="1188000" cy="144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ite </a:t>
            </a:r>
            <a:fld id="{00000000-1234-1234-1234-123412341234}" type="slidenum"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" name="Google Shape;95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5675" y="1044575"/>
            <a:ext cx="5286375" cy="2974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960" name="Google Shape;960;p8:notes"/>
          <p:cNvSpPr txBox="1">
            <a:spLocks noGrp="1"/>
          </p:cNvSpPr>
          <p:nvPr>
            <p:ph type="body" idx="1"/>
          </p:nvPr>
        </p:nvSpPr>
        <p:spPr>
          <a:xfrm>
            <a:off x="955050" y="4897437"/>
            <a:ext cx="5286646" cy="4500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200"/>
              <a:buNone/>
            </a:pPr>
            <a:endParaRPr/>
          </a:p>
        </p:txBody>
      </p:sp>
      <p:sp>
        <p:nvSpPr>
          <p:cNvPr id="961" name="Google Shape;961;p8:notes"/>
          <p:cNvSpPr txBox="1">
            <a:spLocks noGrp="1"/>
          </p:cNvSpPr>
          <p:nvPr>
            <p:ph type="dt" idx="10"/>
          </p:nvPr>
        </p:nvSpPr>
        <p:spPr>
          <a:xfrm>
            <a:off x="955050" y="433185"/>
            <a:ext cx="1188000" cy="144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6.04.2022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62" name="Google Shape;962;p8:notes"/>
          <p:cNvSpPr txBox="1">
            <a:spLocks noGrp="1"/>
          </p:cNvSpPr>
          <p:nvPr>
            <p:ph type="sldNum" idx="12"/>
          </p:nvPr>
        </p:nvSpPr>
        <p:spPr>
          <a:xfrm>
            <a:off x="5053696" y="433185"/>
            <a:ext cx="1188000" cy="144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eite </a:t>
            </a:r>
            <a:fld id="{00000000-1234-1234-1234-123412341234}" type="slidenum">
              <a:rPr kumimoji="0" lang="de-DE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8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" name="Google Shape;1078;p12:notes"/>
          <p:cNvSpPr txBox="1">
            <a:spLocks noGrp="1"/>
          </p:cNvSpPr>
          <p:nvPr>
            <p:ph type="body" idx="1"/>
          </p:nvPr>
        </p:nvSpPr>
        <p:spPr>
          <a:xfrm>
            <a:off x="955050" y="4897437"/>
            <a:ext cx="5286646" cy="450072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600"/>
              </a:spcAft>
              <a:buNone/>
            </a:pPr>
            <a:endParaRPr dirty="0"/>
          </a:p>
        </p:txBody>
      </p:sp>
      <p:sp>
        <p:nvSpPr>
          <p:cNvPr id="1079" name="Google Shape;1079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5675" y="1044575"/>
            <a:ext cx="5286375" cy="2974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8" name="Google Shape;1038;g121bba83c51_0_188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1463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39" name="Google Shape;1039;g121bba83c51_0_188:notes"/>
          <p:cNvSpPr txBox="1">
            <a:spLocks noGrp="1"/>
          </p:cNvSpPr>
          <p:nvPr>
            <p:ph type="body" idx="1"/>
          </p:nvPr>
        </p:nvSpPr>
        <p:spPr>
          <a:xfrm>
            <a:off x="680560" y="4721179"/>
            <a:ext cx="5444400" cy="447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lang="sr-Latn-R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55675" y="1044575"/>
            <a:ext cx="5286375" cy="29749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8B42DF-9247-494C-8927-684DBE89B0F4}" type="datetime1">
              <a:rPr lang="en-US" noProof="0" smtClean="0"/>
              <a:t>11/16/23</a:t>
            </a:fld>
            <a:endParaRPr lang="en-US" noProof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4E8B4266-08AE-419B-A992-52E1437C430A}" type="slidenum">
              <a:rPr lang="en-US" noProof="0" smtClean="0"/>
              <a:pPr/>
              <a:t>21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319206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1:notes"/>
          <p:cNvSpPr txBox="1">
            <a:spLocks noGrp="1"/>
          </p:cNvSpPr>
          <p:nvPr>
            <p:ph type="body" idx="1"/>
          </p:nvPr>
        </p:nvSpPr>
        <p:spPr>
          <a:xfrm>
            <a:off x="955050" y="4897437"/>
            <a:ext cx="5286646" cy="450072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725" name="Google Shape;72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5675" y="1044575"/>
            <a:ext cx="5286375" cy="2974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4" name="Google Shape;744;p2:notes"/>
          <p:cNvSpPr txBox="1">
            <a:spLocks noGrp="1"/>
          </p:cNvSpPr>
          <p:nvPr>
            <p:ph type="body" idx="1"/>
          </p:nvPr>
        </p:nvSpPr>
        <p:spPr>
          <a:xfrm>
            <a:off x="955050" y="4897437"/>
            <a:ext cx="5286646" cy="450072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745" name="Google Shape;74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5675" y="1044575"/>
            <a:ext cx="5286375" cy="2974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3D806D6-3865-4B48-800F-EEB12AB1698D}" type="slidenum">
              <a:rPr kumimoji="0" lang="fr-FR" alt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alt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180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u-HU" b="1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261A90-A5AF-4414-AFA5-589F22FB2C3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43739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D1544D-F39A-4F55-BC21-9BE909A9BA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4858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261A90-A5AF-4414-AFA5-589F22FB2C39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41055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D1544D-F39A-4F55-BC21-9BE909A9BA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60889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u-HU" b="1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261A90-A5AF-4414-AFA5-589F22FB2C39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3412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4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5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2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9.sv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9.sv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21.emf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86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8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8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9.xml"/><Relationship Id="rId4" Type="http://schemas.openxmlformats.org/officeDocument/2006/relationships/image" Target="../media/image31.sv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0.xml"/><Relationship Id="rId4" Type="http://schemas.openxmlformats.org/officeDocument/2006/relationships/image" Target="../media/image31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1.xml"/><Relationship Id="rId4" Type="http://schemas.openxmlformats.org/officeDocument/2006/relationships/image" Target="../media/image31.sv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2.xml"/><Relationship Id="rId4" Type="http://schemas.openxmlformats.org/officeDocument/2006/relationships/image" Target="../media/image31.sv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3.xml"/><Relationship Id="rId4" Type="http://schemas.openxmlformats.org/officeDocument/2006/relationships/image" Target="../media/image31.sv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4.xml"/><Relationship Id="rId4" Type="http://schemas.openxmlformats.org/officeDocument/2006/relationships/image" Target="../media/image31.sv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9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9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98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99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0.xml"/><Relationship Id="rId4" Type="http://schemas.openxmlformats.org/officeDocument/2006/relationships/image" Target="../media/image31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1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openxmlformats.org/officeDocument/2006/relationships/image" Target="../media/image16.png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2.xml"/></Relationships>
</file>

<file path=ppt/slideLayouts/_rels/slideLayout2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3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4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5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6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7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8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9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0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31.sv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1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2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3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4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5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6.xml"/><Relationship Id="rId6" Type="http://schemas.openxmlformats.org/officeDocument/2006/relationships/image" Target="../media/image31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7.xml"/><Relationship Id="rId4" Type="http://schemas.openxmlformats.org/officeDocument/2006/relationships/image" Target="../media/image32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7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7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7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7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7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7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7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6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5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6" Type="http://schemas.openxmlformats.org/officeDocument/2006/relationships/image" Target="../media/image1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 </a:t>
            </a:r>
          </a:p>
          <a:p>
            <a:pPr lvl="0"/>
            <a:r>
              <a:rPr lang="de-DE"/>
              <a:t>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5585083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7920314"/>
      </p:ext>
    </p:extLst>
  </p:cSld>
  <p:clrMapOvr>
    <a:masterClrMapping/>
  </p:clrMapOvr>
  <p:transition spd="slow">
    <p:wip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x Factors 01">
  <p:cSld name="Six Factors 01">
    <p:bg>
      <p:bgPr>
        <a:solidFill>
          <a:schemeClr val="accent1"/>
        </a:solidFill>
        <a:effectLst/>
      </p:bgPr>
    </p:bg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49"/>
          <p:cNvSpPr/>
          <p:nvPr/>
        </p:nvSpPr>
        <p:spPr>
          <a:xfrm>
            <a:off x="431800" y="452667"/>
            <a:ext cx="996960" cy="9969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7066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None/>
            </a:pPr>
            <a:endParaRPr sz="26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3" name="Google Shape;333;p49"/>
          <p:cNvSpPr/>
          <p:nvPr/>
        </p:nvSpPr>
        <p:spPr>
          <a:xfrm>
            <a:off x="3297705" y="1102784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4" name="Google Shape;334;p49"/>
          <p:cNvSpPr/>
          <p:nvPr/>
        </p:nvSpPr>
        <p:spPr>
          <a:xfrm>
            <a:off x="6197748" y="3676469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5" name="Google Shape;335;p49"/>
          <p:cNvSpPr/>
          <p:nvPr/>
        </p:nvSpPr>
        <p:spPr>
          <a:xfrm>
            <a:off x="9097791" y="3676469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6" name="Google Shape;336;p49"/>
          <p:cNvSpPr/>
          <p:nvPr/>
        </p:nvSpPr>
        <p:spPr>
          <a:xfrm>
            <a:off x="3297705" y="3676469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7" name="Google Shape;337;p49"/>
          <p:cNvSpPr/>
          <p:nvPr/>
        </p:nvSpPr>
        <p:spPr>
          <a:xfrm>
            <a:off x="6197748" y="1102801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600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  <a:endParaRPr sz="1867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8" name="Google Shape;338;p49"/>
          <p:cNvSpPr/>
          <p:nvPr/>
        </p:nvSpPr>
        <p:spPr>
          <a:xfrm>
            <a:off x="9097791" y="1102801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39" name="Google Shape;339;p49"/>
          <p:cNvSpPr txBox="1">
            <a:spLocks noGrp="1"/>
          </p:cNvSpPr>
          <p:nvPr>
            <p:ph type="body" idx="1"/>
          </p:nvPr>
        </p:nvSpPr>
        <p:spPr>
          <a:xfrm>
            <a:off x="3297706" y="1102784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0" name="Google Shape;340;p49"/>
          <p:cNvSpPr txBox="1">
            <a:spLocks noGrp="1"/>
          </p:cNvSpPr>
          <p:nvPr>
            <p:ph type="body" idx="2"/>
          </p:nvPr>
        </p:nvSpPr>
        <p:spPr>
          <a:xfrm>
            <a:off x="3297767" y="1737785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49"/>
          <p:cNvSpPr txBox="1">
            <a:spLocks noGrp="1"/>
          </p:cNvSpPr>
          <p:nvPr>
            <p:ph type="body" idx="3"/>
          </p:nvPr>
        </p:nvSpPr>
        <p:spPr>
          <a:xfrm>
            <a:off x="6197749" y="1102801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2" name="Google Shape;342;p49"/>
          <p:cNvSpPr txBox="1">
            <a:spLocks noGrp="1"/>
          </p:cNvSpPr>
          <p:nvPr>
            <p:ph type="body" idx="4"/>
          </p:nvPr>
        </p:nvSpPr>
        <p:spPr>
          <a:xfrm>
            <a:off x="9097791" y="1102801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3" name="Google Shape;343;p49"/>
          <p:cNvSpPr txBox="1">
            <a:spLocks noGrp="1"/>
          </p:cNvSpPr>
          <p:nvPr>
            <p:ph type="body" idx="5"/>
          </p:nvPr>
        </p:nvSpPr>
        <p:spPr>
          <a:xfrm>
            <a:off x="3297706" y="3676469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4" name="Google Shape;344;p49"/>
          <p:cNvSpPr txBox="1">
            <a:spLocks noGrp="1"/>
          </p:cNvSpPr>
          <p:nvPr>
            <p:ph type="body" idx="6"/>
          </p:nvPr>
        </p:nvSpPr>
        <p:spPr>
          <a:xfrm>
            <a:off x="6197749" y="3676469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p49"/>
          <p:cNvSpPr txBox="1">
            <a:spLocks noGrp="1"/>
          </p:cNvSpPr>
          <p:nvPr>
            <p:ph type="body" idx="7"/>
          </p:nvPr>
        </p:nvSpPr>
        <p:spPr>
          <a:xfrm>
            <a:off x="9097791" y="3676469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6" name="Google Shape;346;p49"/>
          <p:cNvSpPr txBox="1">
            <a:spLocks noGrp="1"/>
          </p:cNvSpPr>
          <p:nvPr>
            <p:ph type="title"/>
          </p:nvPr>
        </p:nvSpPr>
        <p:spPr>
          <a:xfrm>
            <a:off x="599011" y="879917"/>
            <a:ext cx="2555669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" name="Google Shape;347;p4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" name="Google Shape;348;p49"/>
          <p:cNvSpPr txBox="1">
            <a:spLocks noGrp="1"/>
          </p:cNvSpPr>
          <p:nvPr>
            <p:ph type="body" idx="8"/>
          </p:nvPr>
        </p:nvSpPr>
        <p:spPr>
          <a:xfrm>
            <a:off x="6197749" y="1737785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49"/>
          <p:cNvSpPr txBox="1">
            <a:spLocks noGrp="1"/>
          </p:cNvSpPr>
          <p:nvPr>
            <p:ph type="body" idx="9"/>
          </p:nvPr>
        </p:nvSpPr>
        <p:spPr>
          <a:xfrm>
            <a:off x="9097791" y="1737785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0" name="Google Shape;350;p49"/>
          <p:cNvSpPr txBox="1">
            <a:spLocks noGrp="1"/>
          </p:cNvSpPr>
          <p:nvPr>
            <p:ph type="body" idx="13"/>
          </p:nvPr>
        </p:nvSpPr>
        <p:spPr>
          <a:xfrm>
            <a:off x="6197749" y="4311170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1" name="Google Shape;351;p49"/>
          <p:cNvSpPr txBox="1">
            <a:spLocks noGrp="1"/>
          </p:cNvSpPr>
          <p:nvPr>
            <p:ph type="body" idx="14"/>
          </p:nvPr>
        </p:nvSpPr>
        <p:spPr>
          <a:xfrm>
            <a:off x="9097791" y="4311170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52" name="Google Shape;352;p49"/>
          <p:cNvSpPr txBox="1">
            <a:spLocks noGrp="1"/>
          </p:cNvSpPr>
          <p:nvPr>
            <p:ph type="body" idx="15"/>
          </p:nvPr>
        </p:nvSpPr>
        <p:spPr>
          <a:xfrm>
            <a:off x="3297706" y="4311170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448182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ix Factors 02">
  <p:cSld name="Six Factors 02">
    <p:bg>
      <p:bgPr>
        <a:solidFill>
          <a:schemeClr val="lt1"/>
        </a:solidFill>
        <a:effectLst/>
      </p:bgPr>
    </p:bg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50"/>
          <p:cNvSpPr/>
          <p:nvPr/>
        </p:nvSpPr>
        <p:spPr>
          <a:xfrm>
            <a:off x="431800" y="452667"/>
            <a:ext cx="996960" cy="996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70665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None/>
            </a:pPr>
            <a:endParaRPr sz="26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55" name="Google Shape;355;p50"/>
          <p:cNvSpPr/>
          <p:nvPr/>
        </p:nvSpPr>
        <p:spPr>
          <a:xfrm>
            <a:off x="3297705" y="1102784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56" name="Google Shape;356;p50"/>
          <p:cNvSpPr/>
          <p:nvPr/>
        </p:nvSpPr>
        <p:spPr>
          <a:xfrm>
            <a:off x="6197748" y="3676469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57" name="Google Shape;357;p50"/>
          <p:cNvSpPr/>
          <p:nvPr/>
        </p:nvSpPr>
        <p:spPr>
          <a:xfrm>
            <a:off x="9097791" y="3676469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58" name="Google Shape;358;p50"/>
          <p:cNvSpPr/>
          <p:nvPr/>
        </p:nvSpPr>
        <p:spPr>
          <a:xfrm>
            <a:off x="3297705" y="3676469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59" name="Google Shape;359;p50"/>
          <p:cNvSpPr/>
          <p:nvPr/>
        </p:nvSpPr>
        <p:spPr>
          <a:xfrm>
            <a:off x="6197748" y="1102801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600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rPr>
              <a:t>.</a:t>
            </a:r>
            <a:endParaRPr sz="1867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60" name="Google Shape;360;p50"/>
          <p:cNvSpPr/>
          <p:nvPr/>
        </p:nvSpPr>
        <p:spPr>
          <a:xfrm>
            <a:off x="9097791" y="1102801"/>
            <a:ext cx="2400000" cy="240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61" name="Google Shape;361;p50"/>
          <p:cNvSpPr txBox="1">
            <a:spLocks noGrp="1"/>
          </p:cNvSpPr>
          <p:nvPr>
            <p:ph type="body" idx="1"/>
          </p:nvPr>
        </p:nvSpPr>
        <p:spPr>
          <a:xfrm>
            <a:off x="3297706" y="1102784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50"/>
          <p:cNvSpPr txBox="1">
            <a:spLocks noGrp="1"/>
          </p:cNvSpPr>
          <p:nvPr>
            <p:ph type="body" idx="2"/>
          </p:nvPr>
        </p:nvSpPr>
        <p:spPr>
          <a:xfrm>
            <a:off x="3297767" y="1737785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3" name="Google Shape;363;p50"/>
          <p:cNvSpPr txBox="1">
            <a:spLocks noGrp="1"/>
          </p:cNvSpPr>
          <p:nvPr>
            <p:ph type="body" idx="3"/>
          </p:nvPr>
        </p:nvSpPr>
        <p:spPr>
          <a:xfrm>
            <a:off x="6197749" y="1102801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4" name="Google Shape;364;p50"/>
          <p:cNvSpPr txBox="1">
            <a:spLocks noGrp="1"/>
          </p:cNvSpPr>
          <p:nvPr>
            <p:ph type="body" idx="4"/>
          </p:nvPr>
        </p:nvSpPr>
        <p:spPr>
          <a:xfrm>
            <a:off x="9097791" y="1102801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5" name="Google Shape;365;p50"/>
          <p:cNvSpPr txBox="1">
            <a:spLocks noGrp="1"/>
          </p:cNvSpPr>
          <p:nvPr>
            <p:ph type="body" idx="5"/>
          </p:nvPr>
        </p:nvSpPr>
        <p:spPr>
          <a:xfrm>
            <a:off x="3297706" y="3676469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6" name="Google Shape;366;p50"/>
          <p:cNvSpPr txBox="1">
            <a:spLocks noGrp="1"/>
          </p:cNvSpPr>
          <p:nvPr>
            <p:ph type="body" idx="6"/>
          </p:nvPr>
        </p:nvSpPr>
        <p:spPr>
          <a:xfrm>
            <a:off x="6197749" y="3676469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7" name="Google Shape;367;p50"/>
          <p:cNvSpPr txBox="1">
            <a:spLocks noGrp="1"/>
          </p:cNvSpPr>
          <p:nvPr>
            <p:ph type="body" idx="7"/>
          </p:nvPr>
        </p:nvSpPr>
        <p:spPr>
          <a:xfrm>
            <a:off x="9097791" y="3676469"/>
            <a:ext cx="2400300" cy="4974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8" name="Google Shape;368;p50"/>
          <p:cNvSpPr txBox="1">
            <a:spLocks noGrp="1"/>
          </p:cNvSpPr>
          <p:nvPr>
            <p:ph type="body" idx="8"/>
          </p:nvPr>
        </p:nvSpPr>
        <p:spPr>
          <a:xfrm>
            <a:off x="6197749" y="1737785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69" name="Google Shape;369;p50"/>
          <p:cNvSpPr txBox="1">
            <a:spLocks noGrp="1"/>
          </p:cNvSpPr>
          <p:nvPr>
            <p:ph type="body" idx="9"/>
          </p:nvPr>
        </p:nvSpPr>
        <p:spPr>
          <a:xfrm>
            <a:off x="9097791" y="1737785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50"/>
          <p:cNvSpPr txBox="1">
            <a:spLocks noGrp="1"/>
          </p:cNvSpPr>
          <p:nvPr>
            <p:ph type="body" idx="13"/>
          </p:nvPr>
        </p:nvSpPr>
        <p:spPr>
          <a:xfrm>
            <a:off x="6197749" y="4311170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1" name="Google Shape;371;p50"/>
          <p:cNvSpPr txBox="1">
            <a:spLocks noGrp="1"/>
          </p:cNvSpPr>
          <p:nvPr>
            <p:ph type="body" idx="14"/>
          </p:nvPr>
        </p:nvSpPr>
        <p:spPr>
          <a:xfrm>
            <a:off x="9097791" y="4311170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50"/>
          <p:cNvSpPr txBox="1">
            <a:spLocks noGrp="1"/>
          </p:cNvSpPr>
          <p:nvPr>
            <p:ph type="body" idx="15"/>
          </p:nvPr>
        </p:nvSpPr>
        <p:spPr>
          <a:xfrm>
            <a:off x="3297706" y="4311170"/>
            <a:ext cx="2400300" cy="176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50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50"/>
          <p:cNvSpPr txBox="1">
            <a:spLocks noGrp="1"/>
          </p:cNvSpPr>
          <p:nvPr>
            <p:ph type="title"/>
          </p:nvPr>
        </p:nvSpPr>
        <p:spPr>
          <a:xfrm>
            <a:off x="599011" y="879917"/>
            <a:ext cx="2555669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6498177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01">
  <p:cSld name="Quote 01">
    <p:bg>
      <p:bgPr>
        <a:solidFill>
          <a:schemeClr val="dk1"/>
        </a:solidFill>
        <a:effectLst/>
      </p:bgPr>
    </p:bg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p51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" name="Google Shape;377;p51"/>
          <p:cNvSpPr/>
          <p:nvPr/>
        </p:nvSpPr>
        <p:spPr>
          <a:xfrm>
            <a:off x="1775520" y="1604433"/>
            <a:ext cx="9409045" cy="3360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3216000" tIns="60933" rIns="6240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de-DE" sz="2667" b="1" i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br>
              <a:rPr lang="de-DE" sz="1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78" name="Google Shape;378;p51"/>
          <p:cNvSpPr txBox="1">
            <a:spLocks noGrp="1"/>
          </p:cNvSpPr>
          <p:nvPr>
            <p:ph type="body" idx="1"/>
          </p:nvPr>
        </p:nvSpPr>
        <p:spPr>
          <a:xfrm>
            <a:off x="4944171" y="1934634"/>
            <a:ext cx="5464749" cy="1494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marR="0" lvl="4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79" name="Google Shape;379;p51"/>
          <p:cNvSpPr txBox="1">
            <a:spLocks noGrp="1"/>
          </p:cNvSpPr>
          <p:nvPr>
            <p:ph type="body" idx="2"/>
          </p:nvPr>
        </p:nvSpPr>
        <p:spPr>
          <a:xfrm>
            <a:off x="8014971" y="3962400"/>
            <a:ext cx="2393949" cy="42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r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80" name="Google Shape;380;p51"/>
          <p:cNvSpPr>
            <a:spLocks noGrp="1"/>
          </p:cNvSpPr>
          <p:nvPr>
            <p:ph type="pic" idx="3"/>
          </p:nvPr>
        </p:nvSpPr>
        <p:spPr>
          <a:xfrm>
            <a:off x="1354667" y="1221318"/>
            <a:ext cx="3168651" cy="3166533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45876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02">
  <p:cSld name="Quote 02">
    <p:bg>
      <p:bgPr>
        <a:solidFill>
          <a:schemeClr val="dk1"/>
        </a:solidFill>
        <a:effectLst/>
      </p:bgPr>
    </p:bg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p52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52"/>
          <p:cNvSpPr/>
          <p:nvPr/>
        </p:nvSpPr>
        <p:spPr>
          <a:xfrm>
            <a:off x="1775520" y="1604433"/>
            <a:ext cx="9409045" cy="3360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3216000" tIns="60933" rIns="6240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de-DE" sz="2667" b="1" i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br>
              <a:rPr lang="de-DE" sz="1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84" name="Google Shape;384;p52"/>
          <p:cNvSpPr>
            <a:spLocks noGrp="1"/>
          </p:cNvSpPr>
          <p:nvPr>
            <p:ph type="pic" idx="2"/>
          </p:nvPr>
        </p:nvSpPr>
        <p:spPr>
          <a:xfrm>
            <a:off x="1354667" y="1221318"/>
            <a:ext cx="3168651" cy="3166533"/>
          </a:xfrm>
          <a:prstGeom prst="rect">
            <a:avLst/>
          </a:prstGeom>
          <a:noFill/>
          <a:ln>
            <a:noFill/>
          </a:ln>
        </p:spPr>
      </p:sp>
      <p:sp>
        <p:nvSpPr>
          <p:cNvPr id="385" name="Google Shape;385;p52"/>
          <p:cNvSpPr txBox="1">
            <a:spLocks noGrp="1"/>
          </p:cNvSpPr>
          <p:nvPr>
            <p:ph type="body" idx="1"/>
          </p:nvPr>
        </p:nvSpPr>
        <p:spPr>
          <a:xfrm>
            <a:off x="4944171" y="1934634"/>
            <a:ext cx="5464749" cy="1494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marR="0" lvl="4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52"/>
          <p:cNvSpPr txBox="1">
            <a:spLocks noGrp="1"/>
          </p:cNvSpPr>
          <p:nvPr>
            <p:ph type="body" idx="3"/>
          </p:nvPr>
        </p:nvSpPr>
        <p:spPr>
          <a:xfrm>
            <a:off x="8014971" y="3962400"/>
            <a:ext cx="2393949" cy="42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r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089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03">
  <p:cSld name="Quote 03">
    <p:bg>
      <p:bgPr>
        <a:solidFill>
          <a:schemeClr val="lt1"/>
        </a:solidFill>
        <a:effectLst/>
      </p:bgPr>
    </p:bg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53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53"/>
          <p:cNvSpPr/>
          <p:nvPr/>
        </p:nvSpPr>
        <p:spPr>
          <a:xfrm>
            <a:off x="1775520" y="1604433"/>
            <a:ext cx="9409045" cy="3360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3216000" tIns="60933" rIns="6240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de-DE" sz="2667" b="1" i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br>
              <a:rPr lang="de-DE" sz="1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90" name="Google Shape;390;p53"/>
          <p:cNvSpPr>
            <a:spLocks noGrp="1"/>
          </p:cNvSpPr>
          <p:nvPr>
            <p:ph type="pic" idx="2"/>
          </p:nvPr>
        </p:nvSpPr>
        <p:spPr>
          <a:xfrm>
            <a:off x="1354667" y="1221318"/>
            <a:ext cx="3168651" cy="3166533"/>
          </a:xfrm>
          <a:prstGeom prst="rect">
            <a:avLst/>
          </a:prstGeom>
          <a:noFill/>
          <a:ln>
            <a:noFill/>
          </a:ln>
        </p:spPr>
      </p:sp>
      <p:sp>
        <p:nvSpPr>
          <p:cNvPr id="391" name="Google Shape;391;p53"/>
          <p:cNvSpPr txBox="1">
            <a:spLocks noGrp="1"/>
          </p:cNvSpPr>
          <p:nvPr>
            <p:ph type="body" idx="1"/>
          </p:nvPr>
        </p:nvSpPr>
        <p:spPr>
          <a:xfrm>
            <a:off x="4944171" y="1934634"/>
            <a:ext cx="5464749" cy="1494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marR="0" lvl="4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2" name="Google Shape;392;p53"/>
          <p:cNvSpPr txBox="1">
            <a:spLocks noGrp="1"/>
          </p:cNvSpPr>
          <p:nvPr>
            <p:ph type="body" idx="3"/>
          </p:nvPr>
        </p:nvSpPr>
        <p:spPr>
          <a:xfrm>
            <a:off x="8014971" y="3962400"/>
            <a:ext cx="2393949" cy="42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r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230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04">
  <p:cSld name="Quote 04">
    <p:bg>
      <p:bgPr>
        <a:solidFill>
          <a:schemeClr val="lt1"/>
        </a:solidFill>
        <a:effectLst/>
      </p:bgPr>
    </p:bg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54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5" name="Google Shape;395;p54"/>
          <p:cNvSpPr/>
          <p:nvPr/>
        </p:nvSpPr>
        <p:spPr>
          <a:xfrm>
            <a:off x="1775520" y="1604433"/>
            <a:ext cx="9409045" cy="33607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3216000" tIns="60933" rIns="6240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de-DE" sz="2667" b="1" i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br>
              <a:rPr lang="de-DE" sz="1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</a:b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96" name="Google Shape;396;p54"/>
          <p:cNvSpPr>
            <a:spLocks noGrp="1"/>
          </p:cNvSpPr>
          <p:nvPr>
            <p:ph type="pic" idx="2"/>
          </p:nvPr>
        </p:nvSpPr>
        <p:spPr>
          <a:xfrm>
            <a:off x="1354667" y="1221318"/>
            <a:ext cx="3168651" cy="3166533"/>
          </a:xfrm>
          <a:prstGeom prst="rect">
            <a:avLst/>
          </a:prstGeom>
          <a:noFill/>
          <a:ln>
            <a:noFill/>
          </a:ln>
        </p:spPr>
      </p:sp>
      <p:sp>
        <p:nvSpPr>
          <p:cNvPr id="397" name="Google Shape;397;p54"/>
          <p:cNvSpPr txBox="1">
            <a:spLocks noGrp="1"/>
          </p:cNvSpPr>
          <p:nvPr>
            <p:ph type="body" idx="1"/>
          </p:nvPr>
        </p:nvSpPr>
        <p:spPr>
          <a:xfrm>
            <a:off x="4944171" y="1934634"/>
            <a:ext cx="5464749" cy="14943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marR="0" lvl="4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8" name="Google Shape;398;p54"/>
          <p:cNvSpPr txBox="1">
            <a:spLocks noGrp="1"/>
          </p:cNvSpPr>
          <p:nvPr>
            <p:ph type="body" idx="3"/>
          </p:nvPr>
        </p:nvSpPr>
        <p:spPr>
          <a:xfrm>
            <a:off x="8014971" y="3962400"/>
            <a:ext cx="2393949" cy="42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r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621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05">
  <p:cSld name="Quote 05"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p55"/>
          <p:cNvSpPr/>
          <p:nvPr/>
        </p:nvSpPr>
        <p:spPr>
          <a:xfrm>
            <a:off x="7824533" y="2644423"/>
            <a:ext cx="3072000" cy="30723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01" name="Google Shape;401;p55"/>
          <p:cNvSpPr/>
          <p:nvPr/>
        </p:nvSpPr>
        <p:spPr>
          <a:xfrm>
            <a:off x="1211072" y="1141237"/>
            <a:ext cx="8917376" cy="3903455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92000" tIns="96000" rIns="192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 i="1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02" name="Google Shape;402;p55"/>
          <p:cNvSpPr txBox="1">
            <a:spLocks noGrp="1"/>
          </p:cNvSpPr>
          <p:nvPr>
            <p:ph type="body" idx="1"/>
          </p:nvPr>
        </p:nvSpPr>
        <p:spPr>
          <a:xfrm>
            <a:off x="5806440" y="3728668"/>
            <a:ext cx="3855720" cy="42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r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55"/>
          <p:cNvSpPr txBox="1">
            <a:spLocks noGrp="1"/>
          </p:cNvSpPr>
          <p:nvPr>
            <p:ph type="body" idx="2"/>
          </p:nvPr>
        </p:nvSpPr>
        <p:spPr>
          <a:xfrm>
            <a:off x="1600200" y="1509184"/>
            <a:ext cx="8062384" cy="2056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 i="1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4" name="Google Shape;404;p55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25325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06">
  <p:cSld name="Quote 06"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56"/>
          <p:cNvSpPr/>
          <p:nvPr/>
        </p:nvSpPr>
        <p:spPr>
          <a:xfrm>
            <a:off x="7824533" y="2644423"/>
            <a:ext cx="3072000" cy="307234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07" name="Google Shape;407;p56"/>
          <p:cNvSpPr/>
          <p:nvPr/>
        </p:nvSpPr>
        <p:spPr>
          <a:xfrm>
            <a:off x="1211072" y="1141237"/>
            <a:ext cx="8917376" cy="39034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92000" tIns="96000" rIns="192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 i="1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08" name="Google Shape;408;p56"/>
          <p:cNvSpPr txBox="1">
            <a:spLocks noGrp="1"/>
          </p:cNvSpPr>
          <p:nvPr>
            <p:ph type="body" idx="1"/>
          </p:nvPr>
        </p:nvSpPr>
        <p:spPr>
          <a:xfrm>
            <a:off x="5806440" y="3728668"/>
            <a:ext cx="3855720" cy="42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r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56"/>
          <p:cNvSpPr txBox="1">
            <a:spLocks noGrp="1"/>
          </p:cNvSpPr>
          <p:nvPr>
            <p:ph type="body" idx="2"/>
          </p:nvPr>
        </p:nvSpPr>
        <p:spPr>
          <a:xfrm>
            <a:off x="1600200" y="1509184"/>
            <a:ext cx="8062384" cy="2056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 i="1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10" name="Google Shape;410;p56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46692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er Profile 01">
  <p:cSld name="Customer Profile 01">
    <p:bg>
      <p:bgPr>
        <a:solidFill>
          <a:schemeClr val="dk1"/>
        </a:solidFill>
        <a:effectLst/>
      </p:bgPr>
    </p:bg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57"/>
          <p:cNvSpPr>
            <a:spLocks noGrp="1"/>
          </p:cNvSpPr>
          <p:nvPr>
            <p:ph type="pic" idx="2"/>
          </p:nvPr>
        </p:nvSpPr>
        <p:spPr>
          <a:xfrm>
            <a:off x="2940051" y="1219200"/>
            <a:ext cx="3155949" cy="3168651"/>
          </a:xfrm>
          <a:prstGeom prst="rect">
            <a:avLst/>
          </a:prstGeom>
          <a:noFill/>
          <a:ln>
            <a:noFill/>
          </a:ln>
        </p:spPr>
      </p:sp>
      <p:sp>
        <p:nvSpPr>
          <p:cNvPr id="413" name="Google Shape;413;p57"/>
          <p:cNvSpPr>
            <a:spLocks noGrp="1"/>
          </p:cNvSpPr>
          <p:nvPr>
            <p:ph type="pic" idx="3"/>
          </p:nvPr>
        </p:nvSpPr>
        <p:spPr>
          <a:xfrm>
            <a:off x="6460166" y="3044659"/>
            <a:ext cx="3155949" cy="3168651"/>
          </a:xfrm>
          <a:prstGeom prst="rect">
            <a:avLst/>
          </a:prstGeom>
          <a:noFill/>
          <a:ln>
            <a:noFill/>
          </a:ln>
        </p:spPr>
      </p:sp>
      <p:sp>
        <p:nvSpPr>
          <p:cNvPr id="414" name="Google Shape;414;p57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" name="Google Shape;415;p57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Roboto"/>
              <a:buNone/>
              <a:defRPr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048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er Profile 02">
  <p:cSld name="Customer Profile 02">
    <p:bg>
      <p:bgPr>
        <a:solidFill>
          <a:schemeClr val="accent1"/>
        </a:solidFill>
        <a:effectLst/>
      </p:bgPr>
    </p:bg>
    <p:spTree>
      <p:nvGrpSpPr>
        <p:cNvPr id="1" name="Shape 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" name="Google Shape;417;p58"/>
          <p:cNvSpPr>
            <a:spLocks noGrp="1"/>
          </p:cNvSpPr>
          <p:nvPr>
            <p:ph type="pic" idx="2"/>
          </p:nvPr>
        </p:nvSpPr>
        <p:spPr>
          <a:xfrm>
            <a:off x="2940051" y="1219200"/>
            <a:ext cx="3155949" cy="3168651"/>
          </a:xfrm>
          <a:prstGeom prst="rect">
            <a:avLst/>
          </a:prstGeom>
          <a:noFill/>
          <a:ln>
            <a:noFill/>
          </a:ln>
        </p:spPr>
      </p:sp>
      <p:sp>
        <p:nvSpPr>
          <p:cNvPr id="418" name="Google Shape;418;p58"/>
          <p:cNvSpPr>
            <a:spLocks noGrp="1"/>
          </p:cNvSpPr>
          <p:nvPr>
            <p:ph type="pic" idx="3"/>
          </p:nvPr>
        </p:nvSpPr>
        <p:spPr>
          <a:xfrm>
            <a:off x="6460166" y="3044659"/>
            <a:ext cx="3155949" cy="3168651"/>
          </a:xfrm>
          <a:prstGeom prst="rect">
            <a:avLst/>
          </a:prstGeom>
          <a:noFill/>
          <a:ln>
            <a:noFill/>
          </a:ln>
        </p:spPr>
      </p:sp>
      <p:sp>
        <p:nvSpPr>
          <p:cNvPr id="419" name="Google Shape;419;p58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0" name="Google Shape;420;p58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30030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3777880"/>
      </p:ext>
    </p:extLst>
  </p:cSld>
  <p:clrMapOvr>
    <a:masterClrMapping/>
  </p:clrMapOvr>
  <p:transition spd="slow">
    <p:wip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01">
  <p:cSld name="Comparison 01">
    <p:bg>
      <p:bgPr>
        <a:solidFill>
          <a:schemeClr val="dk1"/>
        </a:solidFill>
        <a:effectLst/>
      </p:bgPr>
    </p:bg>
    <p:spTree>
      <p:nvGrpSpPr>
        <p:cNvPr id="1" name="Shape 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Google Shape;422;p5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" name="Google Shape;423;p59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Roboto"/>
              <a:buNone/>
              <a:defRPr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" name="Google Shape;424;p59"/>
          <p:cNvSpPr/>
          <p:nvPr/>
        </p:nvSpPr>
        <p:spPr>
          <a:xfrm>
            <a:off x="1373188" y="1412777"/>
            <a:ext cx="4300781" cy="4799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25" name="Google Shape;425;p59"/>
          <p:cNvSpPr/>
          <p:nvPr/>
        </p:nvSpPr>
        <p:spPr>
          <a:xfrm>
            <a:off x="6518031" y="1412777"/>
            <a:ext cx="4300781" cy="4799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26" name="Google Shape;426;p59"/>
          <p:cNvSpPr txBox="1">
            <a:spLocks noGrp="1"/>
          </p:cNvSpPr>
          <p:nvPr>
            <p:ph type="body" idx="1"/>
          </p:nvPr>
        </p:nvSpPr>
        <p:spPr>
          <a:xfrm>
            <a:off x="1919818" y="165100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27" name="Google Shape;427;p59"/>
          <p:cNvSpPr txBox="1">
            <a:spLocks noGrp="1"/>
          </p:cNvSpPr>
          <p:nvPr>
            <p:ph type="body" idx="2"/>
          </p:nvPr>
        </p:nvSpPr>
        <p:spPr>
          <a:xfrm>
            <a:off x="1919818" y="259796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28" name="Google Shape;428;p59"/>
          <p:cNvSpPr txBox="1">
            <a:spLocks noGrp="1"/>
          </p:cNvSpPr>
          <p:nvPr>
            <p:ph type="body" idx="3"/>
          </p:nvPr>
        </p:nvSpPr>
        <p:spPr>
          <a:xfrm>
            <a:off x="1919818" y="354492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29" name="Google Shape;429;p59"/>
          <p:cNvSpPr txBox="1">
            <a:spLocks noGrp="1"/>
          </p:cNvSpPr>
          <p:nvPr>
            <p:ph type="body" idx="4"/>
          </p:nvPr>
        </p:nvSpPr>
        <p:spPr>
          <a:xfrm>
            <a:off x="1919818" y="449188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59"/>
          <p:cNvSpPr txBox="1">
            <a:spLocks noGrp="1"/>
          </p:cNvSpPr>
          <p:nvPr>
            <p:ph type="body" idx="5"/>
          </p:nvPr>
        </p:nvSpPr>
        <p:spPr>
          <a:xfrm>
            <a:off x="1919818" y="543884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31" name="Google Shape;431;p59"/>
          <p:cNvSpPr txBox="1">
            <a:spLocks noGrp="1"/>
          </p:cNvSpPr>
          <p:nvPr>
            <p:ph type="body" idx="6"/>
          </p:nvPr>
        </p:nvSpPr>
        <p:spPr>
          <a:xfrm>
            <a:off x="7051058" y="259796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32" name="Google Shape;432;p59"/>
          <p:cNvSpPr txBox="1">
            <a:spLocks noGrp="1"/>
          </p:cNvSpPr>
          <p:nvPr>
            <p:ph type="body" idx="7"/>
          </p:nvPr>
        </p:nvSpPr>
        <p:spPr>
          <a:xfrm>
            <a:off x="7051058" y="354492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33" name="Google Shape;433;p59"/>
          <p:cNvSpPr txBox="1">
            <a:spLocks noGrp="1"/>
          </p:cNvSpPr>
          <p:nvPr>
            <p:ph type="body" idx="8"/>
          </p:nvPr>
        </p:nvSpPr>
        <p:spPr>
          <a:xfrm>
            <a:off x="7051058" y="449188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34" name="Google Shape;434;p59"/>
          <p:cNvSpPr txBox="1">
            <a:spLocks noGrp="1"/>
          </p:cNvSpPr>
          <p:nvPr>
            <p:ph type="body" idx="9"/>
          </p:nvPr>
        </p:nvSpPr>
        <p:spPr>
          <a:xfrm>
            <a:off x="7051058" y="543884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35" name="Google Shape;435;p59"/>
          <p:cNvSpPr txBox="1">
            <a:spLocks noGrp="1"/>
          </p:cNvSpPr>
          <p:nvPr>
            <p:ph type="body" idx="13"/>
          </p:nvPr>
        </p:nvSpPr>
        <p:spPr>
          <a:xfrm>
            <a:off x="7051058" y="165100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5849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02">
  <p:cSld name="Comparison 02">
    <p:bg>
      <p:bgPr>
        <a:solidFill>
          <a:schemeClr val="accent1"/>
        </a:solidFill>
        <a:effectLst/>
      </p:bgPr>
    </p:bg>
    <p:spTree>
      <p:nvGrpSpPr>
        <p:cNvPr id="1" name="Shape 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Google Shape;437;p60"/>
          <p:cNvSpPr/>
          <p:nvPr/>
        </p:nvSpPr>
        <p:spPr>
          <a:xfrm>
            <a:off x="1373188" y="1412777"/>
            <a:ext cx="4300781" cy="479964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38" name="Google Shape;438;p60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9" name="Google Shape;439;p60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" name="Google Shape;440;p60"/>
          <p:cNvSpPr/>
          <p:nvPr/>
        </p:nvSpPr>
        <p:spPr>
          <a:xfrm>
            <a:off x="6518031" y="1412777"/>
            <a:ext cx="4300781" cy="4799641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41" name="Google Shape;441;p60"/>
          <p:cNvSpPr txBox="1">
            <a:spLocks noGrp="1"/>
          </p:cNvSpPr>
          <p:nvPr>
            <p:ph type="body" idx="1"/>
          </p:nvPr>
        </p:nvSpPr>
        <p:spPr>
          <a:xfrm>
            <a:off x="1919818" y="165100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2" name="Google Shape;442;p60"/>
          <p:cNvSpPr txBox="1">
            <a:spLocks noGrp="1"/>
          </p:cNvSpPr>
          <p:nvPr>
            <p:ph type="body" idx="2"/>
          </p:nvPr>
        </p:nvSpPr>
        <p:spPr>
          <a:xfrm>
            <a:off x="1919818" y="259796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3" name="Google Shape;443;p60"/>
          <p:cNvSpPr txBox="1">
            <a:spLocks noGrp="1"/>
          </p:cNvSpPr>
          <p:nvPr>
            <p:ph type="body" idx="3"/>
          </p:nvPr>
        </p:nvSpPr>
        <p:spPr>
          <a:xfrm>
            <a:off x="1919818" y="354492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4" name="Google Shape;444;p60"/>
          <p:cNvSpPr txBox="1">
            <a:spLocks noGrp="1"/>
          </p:cNvSpPr>
          <p:nvPr>
            <p:ph type="body" idx="4"/>
          </p:nvPr>
        </p:nvSpPr>
        <p:spPr>
          <a:xfrm>
            <a:off x="1919818" y="449188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5" name="Google Shape;445;p60"/>
          <p:cNvSpPr txBox="1">
            <a:spLocks noGrp="1"/>
          </p:cNvSpPr>
          <p:nvPr>
            <p:ph type="body" idx="5"/>
          </p:nvPr>
        </p:nvSpPr>
        <p:spPr>
          <a:xfrm>
            <a:off x="1919818" y="543884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6" name="Google Shape;446;p60"/>
          <p:cNvSpPr txBox="1">
            <a:spLocks noGrp="1"/>
          </p:cNvSpPr>
          <p:nvPr>
            <p:ph type="body" idx="6"/>
          </p:nvPr>
        </p:nvSpPr>
        <p:spPr>
          <a:xfrm>
            <a:off x="7051058" y="259796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7" name="Google Shape;447;p60"/>
          <p:cNvSpPr txBox="1">
            <a:spLocks noGrp="1"/>
          </p:cNvSpPr>
          <p:nvPr>
            <p:ph type="body" idx="7"/>
          </p:nvPr>
        </p:nvSpPr>
        <p:spPr>
          <a:xfrm>
            <a:off x="7051058" y="354492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60"/>
          <p:cNvSpPr txBox="1">
            <a:spLocks noGrp="1"/>
          </p:cNvSpPr>
          <p:nvPr>
            <p:ph type="body" idx="8"/>
          </p:nvPr>
        </p:nvSpPr>
        <p:spPr>
          <a:xfrm>
            <a:off x="7051058" y="449188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49" name="Google Shape;449;p60"/>
          <p:cNvSpPr txBox="1">
            <a:spLocks noGrp="1"/>
          </p:cNvSpPr>
          <p:nvPr>
            <p:ph type="body" idx="9"/>
          </p:nvPr>
        </p:nvSpPr>
        <p:spPr>
          <a:xfrm>
            <a:off x="7051058" y="543884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50" name="Google Shape;450;p60"/>
          <p:cNvSpPr txBox="1">
            <a:spLocks noGrp="1"/>
          </p:cNvSpPr>
          <p:nvPr>
            <p:ph type="body" idx="13"/>
          </p:nvPr>
        </p:nvSpPr>
        <p:spPr>
          <a:xfrm>
            <a:off x="7051058" y="1651000"/>
            <a:ext cx="3551343" cy="5355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988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etitor Analysis">
  <p:cSld name="Competitor Analysis">
    <p:spTree>
      <p:nvGrpSpPr>
        <p:cNvPr id="1" name="Shape 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Google Shape;452;p61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3" name="Google Shape;453;p61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454" name="Google Shape;454;p61"/>
          <p:cNvCxnSpPr/>
          <p:nvPr/>
        </p:nvCxnSpPr>
        <p:spPr>
          <a:xfrm>
            <a:off x="6096000" y="1160485"/>
            <a:ext cx="0" cy="5148835"/>
          </a:xfrm>
          <a:prstGeom prst="straightConnector1">
            <a:avLst/>
          </a:prstGeom>
          <a:noFill/>
          <a:ln w="25400" cap="rnd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55" name="Google Shape;455;p61"/>
          <p:cNvCxnSpPr/>
          <p:nvPr/>
        </p:nvCxnSpPr>
        <p:spPr>
          <a:xfrm>
            <a:off x="479888" y="3734903"/>
            <a:ext cx="11232224" cy="0"/>
          </a:xfrm>
          <a:prstGeom prst="straightConnector1">
            <a:avLst/>
          </a:prstGeom>
          <a:noFill/>
          <a:ln w="25400" cap="rnd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6" name="Google Shape;456;p61"/>
          <p:cNvSpPr txBox="1">
            <a:spLocks noGrp="1"/>
          </p:cNvSpPr>
          <p:nvPr>
            <p:ph type="body" idx="1"/>
          </p:nvPr>
        </p:nvSpPr>
        <p:spPr>
          <a:xfrm>
            <a:off x="6096001" y="1159933"/>
            <a:ext cx="1341967" cy="349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57" name="Google Shape;457;p61"/>
          <p:cNvSpPr txBox="1">
            <a:spLocks noGrp="1"/>
          </p:cNvSpPr>
          <p:nvPr>
            <p:ph type="body" idx="2"/>
          </p:nvPr>
        </p:nvSpPr>
        <p:spPr>
          <a:xfrm>
            <a:off x="6096001" y="5960623"/>
            <a:ext cx="1341967" cy="349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61"/>
          <p:cNvSpPr txBox="1">
            <a:spLocks noGrp="1"/>
          </p:cNvSpPr>
          <p:nvPr>
            <p:ph type="body" idx="3"/>
          </p:nvPr>
        </p:nvSpPr>
        <p:spPr>
          <a:xfrm>
            <a:off x="10370146" y="3734903"/>
            <a:ext cx="1341967" cy="349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r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59" name="Google Shape;459;p61"/>
          <p:cNvSpPr txBox="1">
            <a:spLocks noGrp="1"/>
          </p:cNvSpPr>
          <p:nvPr>
            <p:ph type="body" idx="4"/>
          </p:nvPr>
        </p:nvSpPr>
        <p:spPr>
          <a:xfrm>
            <a:off x="446611" y="3734903"/>
            <a:ext cx="1341967" cy="3492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258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trix 01">
  <p:cSld name="Matrix 01"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Google Shape;461;p62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2" name="Google Shape;462;p62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3" name="Google Shape;463;p62"/>
          <p:cNvGrpSpPr/>
          <p:nvPr/>
        </p:nvGrpSpPr>
        <p:grpSpPr>
          <a:xfrm>
            <a:off x="937920" y="1253984"/>
            <a:ext cx="10713720" cy="4800600"/>
            <a:chOff x="571500" y="777240"/>
            <a:chExt cx="8035290" cy="3600450"/>
          </a:xfrm>
        </p:grpSpPr>
        <p:cxnSp>
          <p:nvCxnSpPr>
            <p:cNvPr id="464" name="Google Shape;464;p62"/>
            <p:cNvCxnSpPr/>
            <p:nvPr/>
          </p:nvCxnSpPr>
          <p:spPr>
            <a:xfrm>
              <a:off x="582930" y="4377690"/>
              <a:ext cx="8023860" cy="0"/>
            </a:xfrm>
            <a:prstGeom prst="straightConnector1">
              <a:avLst/>
            </a:prstGeom>
            <a:noFill/>
            <a:ln w="19050" cap="rnd" cmpd="sng">
              <a:solidFill>
                <a:srgbClr val="7F7F7F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465" name="Google Shape;465;p62"/>
            <p:cNvCxnSpPr/>
            <p:nvPr/>
          </p:nvCxnSpPr>
          <p:spPr>
            <a:xfrm rot="10800000">
              <a:off x="571500" y="777240"/>
              <a:ext cx="0" cy="3600450"/>
            </a:xfrm>
            <a:prstGeom prst="straightConnector1">
              <a:avLst/>
            </a:prstGeom>
            <a:noFill/>
            <a:ln w="19050" cap="rnd" cmpd="sng">
              <a:solidFill>
                <a:srgbClr val="7F7F7F"/>
              </a:solidFill>
              <a:prstDash val="solid"/>
              <a:miter lim="800000"/>
              <a:headEnd type="none" w="sm" len="sm"/>
              <a:tailEnd type="triangle" w="med" len="med"/>
            </a:ln>
          </p:spPr>
        </p:cxnSp>
        <p:cxnSp>
          <p:nvCxnSpPr>
            <p:cNvPr id="466" name="Google Shape;466;p62"/>
            <p:cNvCxnSpPr/>
            <p:nvPr/>
          </p:nvCxnSpPr>
          <p:spPr>
            <a:xfrm>
              <a:off x="582930" y="2577465"/>
              <a:ext cx="8023860" cy="0"/>
            </a:xfrm>
            <a:prstGeom prst="straightConnector1">
              <a:avLst/>
            </a:prstGeom>
            <a:noFill/>
            <a:ln w="19050" cap="rnd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67" name="Google Shape;467;p62"/>
            <p:cNvCxnSpPr/>
            <p:nvPr/>
          </p:nvCxnSpPr>
          <p:spPr>
            <a:xfrm rot="10800000">
              <a:off x="4594860" y="777240"/>
              <a:ext cx="0" cy="3600450"/>
            </a:xfrm>
            <a:prstGeom prst="straightConnector1">
              <a:avLst/>
            </a:prstGeom>
            <a:noFill/>
            <a:ln w="19050" cap="rnd" cmpd="sng">
              <a:solidFill>
                <a:srgbClr val="7F7F7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468" name="Google Shape;468;p62"/>
          <p:cNvSpPr txBox="1">
            <a:spLocks noGrp="1"/>
          </p:cNvSpPr>
          <p:nvPr>
            <p:ph type="body" idx="1"/>
          </p:nvPr>
        </p:nvSpPr>
        <p:spPr>
          <a:xfrm>
            <a:off x="961785" y="6068532"/>
            <a:ext cx="2360084" cy="336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>
                <a:solidFill>
                  <a:srgbClr val="7F7F7F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69" name="Google Shape;469;p62"/>
          <p:cNvSpPr txBox="1">
            <a:spLocks noGrp="1"/>
          </p:cNvSpPr>
          <p:nvPr>
            <p:ph type="body" idx="2"/>
          </p:nvPr>
        </p:nvSpPr>
        <p:spPr>
          <a:xfrm rot="-5400000">
            <a:off x="-491870" y="4720239"/>
            <a:ext cx="2360084" cy="336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>
                <a:solidFill>
                  <a:srgbClr val="7F7F7F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70" name="Google Shape;470;p62"/>
          <p:cNvSpPr txBox="1">
            <a:spLocks noGrp="1"/>
          </p:cNvSpPr>
          <p:nvPr>
            <p:ph type="body" idx="3"/>
          </p:nvPr>
        </p:nvSpPr>
        <p:spPr>
          <a:xfrm>
            <a:off x="937684" y="1253067"/>
            <a:ext cx="2097616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>
                <a:solidFill>
                  <a:srgbClr val="7F7F7F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62"/>
          <p:cNvSpPr txBox="1">
            <a:spLocks noGrp="1"/>
          </p:cNvSpPr>
          <p:nvPr>
            <p:ph type="body" idx="4"/>
          </p:nvPr>
        </p:nvSpPr>
        <p:spPr>
          <a:xfrm>
            <a:off x="948532" y="3663131"/>
            <a:ext cx="2097616" cy="415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>
                <a:solidFill>
                  <a:srgbClr val="7F7F7F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72" name="Google Shape;472;p62"/>
          <p:cNvSpPr txBox="1">
            <a:spLocks noGrp="1"/>
          </p:cNvSpPr>
          <p:nvPr>
            <p:ph type="body" idx="5"/>
          </p:nvPr>
        </p:nvSpPr>
        <p:spPr>
          <a:xfrm>
            <a:off x="9554024" y="1253067"/>
            <a:ext cx="2097616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>
                <a:solidFill>
                  <a:srgbClr val="7F7F7F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73" name="Google Shape;473;p62"/>
          <p:cNvSpPr txBox="1">
            <a:spLocks noGrp="1"/>
          </p:cNvSpPr>
          <p:nvPr>
            <p:ph type="body" idx="6"/>
          </p:nvPr>
        </p:nvSpPr>
        <p:spPr>
          <a:xfrm>
            <a:off x="9554024" y="3663131"/>
            <a:ext cx="2097616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>
                <a:solidFill>
                  <a:srgbClr val="7F7F7F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2803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crum 01">
  <p:cSld name="Scrum 01">
    <p:spTree>
      <p:nvGrpSpPr>
        <p:cNvPr id="1" name="Shape 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" name="Google Shape;475;p63"/>
          <p:cNvSpPr/>
          <p:nvPr/>
        </p:nvSpPr>
        <p:spPr>
          <a:xfrm>
            <a:off x="1211913" y="2320684"/>
            <a:ext cx="2016000" cy="20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9416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76" name="Google Shape;476;p63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7" name="Google Shape;477;p63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8" name="Google Shape;478;p63"/>
          <p:cNvSpPr/>
          <p:nvPr/>
        </p:nvSpPr>
        <p:spPr>
          <a:xfrm>
            <a:off x="6389211" y="2320684"/>
            <a:ext cx="2016000" cy="20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9416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79" name="Google Shape;479;p63"/>
          <p:cNvSpPr/>
          <p:nvPr/>
        </p:nvSpPr>
        <p:spPr>
          <a:xfrm>
            <a:off x="8965301" y="2320684"/>
            <a:ext cx="2016000" cy="20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9416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80" name="Google Shape;480;p63"/>
          <p:cNvSpPr/>
          <p:nvPr/>
        </p:nvSpPr>
        <p:spPr>
          <a:xfrm>
            <a:off x="3791744" y="2320684"/>
            <a:ext cx="2016000" cy="20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9416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81" name="Google Shape;481;p63"/>
          <p:cNvSpPr/>
          <p:nvPr/>
        </p:nvSpPr>
        <p:spPr>
          <a:xfrm>
            <a:off x="1085003" y="4005272"/>
            <a:ext cx="480000" cy="9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82" name="Google Shape;482;p63"/>
          <p:cNvSpPr/>
          <p:nvPr/>
        </p:nvSpPr>
        <p:spPr>
          <a:xfrm>
            <a:off x="3678251" y="4005272"/>
            <a:ext cx="480000" cy="9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83" name="Google Shape;483;p63"/>
          <p:cNvSpPr/>
          <p:nvPr/>
        </p:nvSpPr>
        <p:spPr>
          <a:xfrm>
            <a:off x="6271499" y="4005272"/>
            <a:ext cx="480000" cy="9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84" name="Google Shape;484;p63"/>
          <p:cNvSpPr/>
          <p:nvPr/>
        </p:nvSpPr>
        <p:spPr>
          <a:xfrm>
            <a:off x="8864745" y="4005272"/>
            <a:ext cx="480000" cy="96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6000" tIns="96000" rIns="96000" bIns="9600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133" b="1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85" name="Google Shape;485;p63"/>
          <p:cNvSpPr txBox="1">
            <a:spLocks noGrp="1"/>
          </p:cNvSpPr>
          <p:nvPr>
            <p:ph type="body" idx="1"/>
          </p:nvPr>
        </p:nvSpPr>
        <p:spPr>
          <a:xfrm>
            <a:off x="1085003" y="4447520"/>
            <a:ext cx="2112000" cy="3852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86" name="Google Shape;486;p63"/>
          <p:cNvSpPr txBox="1">
            <a:spLocks noGrp="1"/>
          </p:cNvSpPr>
          <p:nvPr>
            <p:ph type="body" idx="2"/>
          </p:nvPr>
        </p:nvSpPr>
        <p:spPr>
          <a:xfrm>
            <a:off x="3679769" y="4447520"/>
            <a:ext cx="2112000" cy="3852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87" name="Google Shape;487;p63"/>
          <p:cNvSpPr txBox="1">
            <a:spLocks noGrp="1"/>
          </p:cNvSpPr>
          <p:nvPr>
            <p:ph type="body" idx="3"/>
          </p:nvPr>
        </p:nvSpPr>
        <p:spPr>
          <a:xfrm>
            <a:off x="6274536" y="4447520"/>
            <a:ext cx="2112000" cy="3852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88" name="Google Shape;488;p63"/>
          <p:cNvSpPr txBox="1">
            <a:spLocks noGrp="1"/>
          </p:cNvSpPr>
          <p:nvPr>
            <p:ph type="body" idx="4"/>
          </p:nvPr>
        </p:nvSpPr>
        <p:spPr>
          <a:xfrm>
            <a:off x="8869301" y="4447520"/>
            <a:ext cx="2112000" cy="3852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p63"/>
          <p:cNvSpPr txBox="1">
            <a:spLocks noGrp="1"/>
          </p:cNvSpPr>
          <p:nvPr>
            <p:ph type="body" idx="5"/>
          </p:nvPr>
        </p:nvSpPr>
        <p:spPr>
          <a:xfrm>
            <a:off x="1212851" y="2319867"/>
            <a:ext cx="2015067" cy="1483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90" name="Google Shape;490;p63"/>
          <p:cNvSpPr txBox="1">
            <a:spLocks noGrp="1"/>
          </p:cNvSpPr>
          <p:nvPr>
            <p:ph type="body" idx="6"/>
          </p:nvPr>
        </p:nvSpPr>
        <p:spPr>
          <a:xfrm>
            <a:off x="3797001" y="2320684"/>
            <a:ext cx="2015067" cy="1483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63"/>
          <p:cNvSpPr txBox="1">
            <a:spLocks noGrp="1"/>
          </p:cNvSpPr>
          <p:nvPr>
            <p:ph type="body" idx="7"/>
          </p:nvPr>
        </p:nvSpPr>
        <p:spPr>
          <a:xfrm>
            <a:off x="6381152" y="2320684"/>
            <a:ext cx="2015067" cy="1483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492" name="Google Shape;492;p63"/>
          <p:cNvSpPr txBox="1">
            <a:spLocks noGrp="1"/>
          </p:cNvSpPr>
          <p:nvPr>
            <p:ph type="body" idx="8"/>
          </p:nvPr>
        </p:nvSpPr>
        <p:spPr>
          <a:xfrm>
            <a:off x="8965301" y="2320684"/>
            <a:ext cx="2015067" cy="1483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26063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crum 02">
  <p:cSld name="Scrum 02">
    <p:bg>
      <p:bgPr>
        <a:solidFill>
          <a:schemeClr val="dk2"/>
        </a:solidFill>
        <a:effectLst/>
      </p:bgPr>
    </p:bg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64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5" name="Google Shape;495;p64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Roboto"/>
              <a:buNone/>
              <a:defRPr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64"/>
          <p:cNvSpPr/>
          <p:nvPr/>
        </p:nvSpPr>
        <p:spPr>
          <a:xfrm>
            <a:off x="618601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97" name="Google Shape;497;p64"/>
          <p:cNvSpPr/>
          <p:nvPr/>
        </p:nvSpPr>
        <p:spPr>
          <a:xfrm>
            <a:off x="2862804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98" name="Google Shape;498;p64"/>
          <p:cNvSpPr/>
          <p:nvPr/>
        </p:nvSpPr>
        <p:spPr>
          <a:xfrm>
            <a:off x="5107007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499" name="Google Shape;499;p64"/>
          <p:cNvSpPr/>
          <p:nvPr/>
        </p:nvSpPr>
        <p:spPr>
          <a:xfrm>
            <a:off x="7351209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00" name="Google Shape;500;p64"/>
          <p:cNvSpPr/>
          <p:nvPr/>
        </p:nvSpPr>
        <p:spPr>
          <a:xfrm>
            <a:off x="9595409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01" name="Google Shape;501;p64"/>
          <p:cNvSpPr/>
          <p:nvPr/>
        </p:nvSpPr>
        <p:spPr>
          <a:xfrm>
            <a:off x="618601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02" name="Google Shape;502;p64"/>
          <p:cNvSpPr/>
          <p:nvPr/>
        </p:nvSpPr>
        <p:spPr>
          <a:xfrm>
            <a:off x="2862804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03" name="Google Shape;503;p64"/>
          <p:cNvSpPr/>
          <p:nvPr/>
        </p:nvSpPr>
        <p:spPr>
          <a:xfrm>
            <a:off x="5107007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04" name="Google Shape;504;p64"/>
          <p:cNvSpPr/>
          <p:nvPr/>
        </p:nvSpPr>
        <p:spPr>
          <a:xfrm>
            <a:off x="7351209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05" name="Google Shape;505;p64"/>
          <p:cNvSpPr/>
          <p:nvPr/>
        </p:nvSpPr>
        <p:spPr>
          <a:xfrm>
            <a:off x="9595409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06" name="Google Shape;506;p64"/>
          <p:cNvSpPr txBox="1">
            <a:spLocks noGrp="1"/>
          </p:cNvSpPr>
          <p:nvPr>
            <p:ph type="body" idx="1"/>
          </p:nvPr>
        </p:nvSpPr>
        <p:spPr>
          <a:xfrm>
            <a:off x="618602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07" name="Google Shape;507;p64"/>
          <p:cNvSpPr txBox="1">
            <a:spLocks noGrp="1"/>
          </p:cNvSpPr>
          <p:nvPr>
            <p:ph type="body" idx="2"/>
          </p:nvPr>
        </p:nvSpPr>
        <p:spPr>
          <a:xfrm>
            <a:off x="2862805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64"/>
          <p:cNvSpPr txBox="1">
            <a:spLocks noGrp="1"/>
          </p:cNvSpPr>
          <p:nvPr>
            <p:ph type="body" idx="3"/>
          </p:nvPr>
        </p:nvSpPr>
        <p:spPr>
          <a:xfrm>
            <a:off x="5107007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09" name="Google Shape;509;p64"/>
          <p:cNvSpPr txBox="1">
            <a:spLocks noGrp="1"/>
          </p:cNvSpPr>
          <p:nvPr>
            <p:ph type="body" idx="4"/>
          </p:nvPr>
        </p:nvSpPr>
        <p:spPr>
          <a:xfrm>
            <a:off x="7351210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0" name="Google Shape;510;p64"/>
          <p:cNvSpPr txBox="1">
            <a:spLocks noGrp="1"/>
          </p:cNvSpPr>
          <p:nvPr>
            <p:ph type="body" idx="5"/>
          </p:nvPr>
        </p:nvSpPr>
        <p:spPr>
          <a:xfrm>
            <a:off x="9595410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1" name="Google Shape;511;p64"/>
          <p:cNvSpPr txBox="1">
            <a:spLocks noGrp="1"/>
          </p:cNvSpPr>
          <p:nvPr>
            <p:ph type="body" idx="6"/>
          </p:nvPr>
        </p:nvSpPr>
        <p:spPr>
          <a:xfrm>
            <a:off x="618067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2" name="Google Shape;512;p64"/>
          <p:cNvSpPr txBox="1">
            <a:spLocks noGrp="1"/>
          </p:cNvSpPr>
          <p:nvPr>
            <p:ph type="body" idx="7"/>
          </p:nvPr>
        </p:nvSpPr>
        <p:spPr>
          <a:xfrm>
            <a:off x="2862805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3" name="Google Shape;513;p64"/>
          <p:cNvSpPr txBox="1">
            <a:spLocks noGrp="1"/>
          </p:cNvSpPr>
          <p:nvPr>
            <p:ph type="body" idx="8"/>
          </p:nvPr>
        </p:nvSpPr>
        <p:spPr>
          <a:xfrm>
            <a:off x="5107007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64"/>
          <p:cNvSpPr txBox="1">
            <a:spLocks noGrp="1"/>
          </p:cNvSpPr>
          <p:nvPr>
            <p:ph type="body" idx="9"/>
          </p:nvPr>
        </p:nvSpPr>
        <p:spPr>
          <a:xfrm>
            <a:off x="7351210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15" name="Google Shape;515;p64"/>
          <p:cNvSpPr txBox="1">
            <a:spLocks noGrp="1"/>
          </p:cNvSpPr>
          <p:nvPr>
            <p:ph type="body" idx="13"/>
          </p:nvPr>
        </p:nvSpPr>
        <p:spPr>
          <a:xfrm>
            <a:off x="9595410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0935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crum 03">
  <p:cSld name="Scrum 03">
    <p:spTree>
      <p:nvGrpSpPr>
        <p:cNvPr id="1" name="Shape 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Google Shape;517;p65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8" name="Google Shape;518;p65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9" name="Google Shape;519;p65"/>
          <p:cNvSpPr/>
          <p:nvPr/>
        </p:nvSpPr>
        <p:spPr>
          <a:xfrm>
            <a:off x="618601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0" name="Google Shape;520;p65"/>
          <p:cNvSpPr/>
          <p:nvPr/>
        </p:nvSpPr>
        <p:spPr>
          <a:xfrm>
            <a:off x="2862804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1" name="Google Shape;521;p65"/>
          <p:cNvSpPr/>
          <p:nvPr/>
        </p:nvSpPr>
        <p:spPr>
          <a:xfrm>
            <a:off x="5107007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2" name="Google Shape;522;p65"/>
          <p:cNvSpPr/>
          <p:nvPr/>
        </p:nvSpPr>
        <p:spPr>
          <a:xfrm>
            <a:off x="7351209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3" name="Google Shape;523;p65"/>
          <p:cNvSpPr/>
          <p:nvPr/>
        </p:nvSpPr>
        <p:spPr>
          <a:xfrm>
            <a:off x="9595409" y="2440004"/>
            <a:ext cx="1977600" cy="26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4" name="Google Shape;524;p65"/>
          <p:cNvSpPr/>
          <p:nvPr/>
        </p:nvSpPr>
        <p:spPr>
          <a:xfrm>
            <a:off x="618601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5" name="Google Shape;525;p65"/>
          <p:cNvSpPr/>
          <p:nvPr/>
        </p:nvSpPr>
        <p:spPr>
          <a:xfrm>
            <a:off x="2862804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6" name="Google Shape;526;p65"/>
          <p:cNvSpPr/>
          <p:nvPr/>
        </p:nvSpPr>
        <p:spPr>
          <a:xfrm>
            <a:off x="5107007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7" name="Google Shape;527;p65"/>
          <p:cNvSpPr/>
          <p:nvPr/>
        </p:nvSpPr>
        <p:spPr>
          <a:xfrm>
            <a:off x="7351209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8" name="Google Shape;528;p65"/>
          <p:cNvSpPr/>
          <p:nvPr/>
        </p:nvSpPr>
        <p:spPr>
          <a:xfrm>
            <a:off x="9595409" y="2440004"/>
            <a:ext cx="1977600" cy="264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29" name="Google Shape;529;p65"/>
          <p:cNvSpPr txBox="1">
            <a:spLocks noGrp="1"/>
          </p:cNvSpPr>
          <p:nvPr>
            <p:ph type="body" idx="1"/>
          </p:nvPr>
        </p:nvSpPr>
        <p:spPr>
          <a:xfrm>
            <a:off x="618602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0" name="Google Shape;530;p65"/>
          <p:cNvSpPr txBox="1">
            <a:spLocks noGrp="1"/>
          </p:cNvSpPr>
          <p:nvPr>
            <p:ph type="body" idx="2"/>
          </p:nvPr>
        </p:nvSpPr>
        <p:spPr>
          <a:xfrm>
            <a:off x="2862805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1" name="Google Shape;531;p65"/>
          <p:cNvSpPr txBox="1">
            <a:spLocks noGrp="1"/>
          </p:cNvSpPr>
          <p:nvPr>
            <p:ph type="body" idx="3"/>
          </p:nvPr>
        </p:nvSpPr>
        <p:spPr>
          <a:xfrm>
            <a:off x="5107007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2" name="Google Shape;532;p65"/>
          <p:cNvSpPr txBox="1">
            <a:spLocks noGrp="1"/>
          </p:cNvSpPr>
          <p:nvPr>
            <p:ph type="body" idx="4"/>
          </p:nvPr>
        </p:nvSpPr>
        <p:spPr>
          <a:xfrm>
            <a:off x="7351210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3" name="Google Shape;533;p65"/>
          <p:cNvSpPr txBox="1">
            <a:spLocks noGrp="1"/>
          </p:cNvSpPr>
          <p:nvPr>
            <p:ph type="body" idx="5"/>
          </p:nvPr>
        </p:nvSpPr>
        <p:spPr>
          <a:xfrm>
            <a:off x="9595410" y="2440005"/>
            <a:ext cx="1979084" cy="46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4" name="Google Shape;534;p65"/>
          <p:cNvSpPr txBox="1">
            <a:spLocks noGrp="1"/>
          </p:cNvSpPr>
          <p:nvPr>
            <p:ph type="body" idx="6"/>
          </p:nvPr>
        </p:nvSpPr>
        <p:spPr>
          <a:xfrm>
            <a:off x="618067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5" name="Google Shape;535;p65"/>
          <p:cNvSpPr txBox="1">
            <a:spLocks noGrp="1"/>
          </p:cNvSpPr>
          <p:nvPr>
            <p:ph type="body" idx="7"/>
          </p:nvPr>
        </p:nvSpPr>
        <p:spPr>
          <a:xfrm>
            <a:off x="2862805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6" name="Google Shape;536;p65"/>
          <p:cNvSpPr txBox="1">
            <a:spLocks noGrp="1"/>
          </p:cNvSpPr>
          <p:nvPr>
            <p:ph type="body" idx="8"/>
          </p:nvPr>
        </p:nvSpPr>
        <p:spPr>
          <a:xfrm>
            <a:off x="5107007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7" name="Google Shape;537;p65"/>
          <p:cNvSpPr txBox="1">
            <a:spLocks noGrp="1"/>
          </p:cNvSpPr>
          <p:nvPr>
            <p:ph type="body" idx="9"/>
          </p:nvPr>
        </p:nvSpPr>
        <p:spPr>
          <a:xfrm>
            <a:off x="7351210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38" name="Google Shape;538;p65"/>
          <p:cNvSpPr txBox="1">
            <a:spLocks noGrp="1"/>
          </p:cNvSpPr>
          <p:nvPr>
            <p:ph type="body" idx="13"/>
          </p:nvPr>
        </p:nvSpPr>
        <p:spPr>
          <a:xfrm>
            <a:off x="9595410" y="3141133"/>
            <a:ext cx="1979084" cy="1938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/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87623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nnel Chart">
  <p:cSld name="Funnel Chart">
    <p:spTree>
      <p:nvGrpSpPr>
        <p:cNvPr id="1" name="Shape 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Google Shape;540;p66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1" name="Google Shape;541;p66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2" name="Google Shape;542;p66"/>
          <p:cNvSpPr/>
          <p:nvPr/>
        </p:nvSpPr>
        <p:spPr>
          <a:xfrm>
            <a:off x="-757639" y="1019257"/>
            <a:ext cx="7198405" cy="1368959"/>
          </a:xfrm>
          <a:custGeom>
            <a:avLst/>
            <a:gdLst/>
            <a:ahLst/>
            <a:cxnLst/>
            <a:rect l="l" t="t" r="r" b="b"/>
            <a:pathLst>
              <a:path w="2056" h="391" extrusionOk="0">
                <a:moveTo>
                  <a:pt x="1861" y="391"/>
                </a:moveTo>
                <a:lnTo>
                  <a:pt x="2056" y="0"/>
                </a:lnTo>
                <a:lnTo>
                  <a:pt x="0" y="0"/>
                </a:lnTo>
                <a:lnTo>
                  <a:pt x="195" y="391"/>
                </a:lnTo>
                <a:lnTo>
                  <a:pt x="1861" y="391"/>
                </a:lnTo>
                <a:close/>
              </a:path>
            </a:pathLst>
          </a:custGeom>
          <a:solidFill>
            <a:schemeClr val="accent4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43" name="Google Shape;543;p66"/>
          <p:cNvSpPr/>
          <p:nvPr/>
        </p:nvSpPr>
        <p:spPr>
          <a:xfrm>
            <a:off x="-44467" y="2444311"/>
            <a:ext cx="5791899" cy="1301944"/>
          </a:xfrm>
          <a:custGeom>
            <a:avLst/>
            <a:gdLst/>
            <a:ahLst/>
            <a:cxnLst/>
            <a:rect l="l" t="t" r="r" b="b"/>
            <a:pathLst>
              <a:path w="1646" h="370" extrusionOk="0">
                <a:moveTo>
                  <a:pt x="0" y="0"/>
                </a:moveTo>
                <a:lnTo>
                  <a:pt x="184" y="370"/>
                </a:lnTo>
                <a:lnTo>
                  <a:pt x="1461" y="370"/>
                </a:lnTo>
                <a:lnTo>
                  <a:pt x="164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44" name="Google Shape;544;p66"/>
          <p:cNvSpPr/>
          <p:nvPr/>
        </p:nvSpPr>
        <p:spPr>
          <a:xfrm>
            <a:off x="633479" y="3802351"/>
            <a:ext cx="4422879" cy="1245277"/>
          </a:xfrm>
          <a:custGeom>
            <a:avLst/>
            <a:gdLst/>
            <a:ahLst/>
            <a:cxnLst/>
            <a:rect l="l" t="t" r="r" b="b"/>
            <a:pathLst>
              <a:path w="1236" h="348" extrusionOk="0">
                <a:moveTo>
                  <a:pt x="0" y="0"/>
                </a:moveTo>
                <a:lnTo>
                  <a:pt x="173" y="348"/>
                </a:lnTo>
                <a:lnTo>
                  <a:pt x="1062" y="348"/>
                </a:lnTo>
                <a:lnTo>
                  <a:pt x="12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3599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2400"/>
          </a:p>
        </p:txBody>
      </p:sp>
      <p:sp>
        <p:nvSpPr>
          <p:cNvPr id="545" name="Google Shape;545;p66"/>
          <p:cNvSpPr/>
          <p:nvPr/>
        </p:nvSpPr>
        <p:spPr>
          <a:xfrm>
            <a:off x="1263273" y="5103724"/>
            <a:ext cx="3163289" cy="1162976"/>
          </a:xfrm>
          <a:custGeom>
            <a:avLst/>
            <a:gdLst/>
            <a:ahLst/>
            <a:cxnLst/>
            <a:rect l="l" t="t" r="r" b="b"/>
            <a:pathLst>
              <a:path w="884" h="325" extrusionOk="0">
                <a:moveTo>
                  <a:pt x="0" y="0"/>
                </a:moveTo>
                <a:lnTo>
                  <a:pt x="161" y="325"/>
                </a:lnTo>
                <a:lnTo>
                  <a:pt x="723" y="325"/>
                </a:lnTo>
                <a:lnTo>
                  <a:pt x="8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00" tIns="45700" rIns="91400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46" name="Google Shape;546;p66"/>
          <p:cNvSpPr txBox="1"/>
          <p:nvPr/>
        </p:nvSpPr>
        <p:spPr>
          <a:xfrm>
            <a:off x="3578087" y="5764696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547" name="Google Shape;547;p66"/>
          <p:cNvSpPr txBox="1">
            <a:spLocks noGrp="1"/>
          </p:cNvSpPr>
          <p:nvPr>
            <p:ph type="body" idx="1"/>
          </p:nvPr>
        </p:nvSpPr>
        <p:spPr>
          <a:xfrm>
            <a:off x="5479702" y="1315327"/>
            <a:ext cx="1103823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4000"/>
              <a:buNone/>
              <a:defRPr sz="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48" name="Google Shape;548;p66"/>
          <p:cNvSpPr txBox="1">
            <a:spLocks noGrp="1"/>
          </p:cNvSpPr>
          <p:nvPr>
            <p:ph type="body" idx="2"/>
          </p:nvPr>
        </p:nvSpPr>
        <p:spPr>
          <a:xfrm>
            <a:off x="4823507" y="2642485"/>
            <a:ext cx="1103823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4000"/>
              <a:buNone/>
              <a:defRPr sz="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49" name="Google Shape;549;p66"/>
          <p:cNvSpPr txBox="1">
            <a:spLocks noGrp="1"/>
          </p:cNvSpPr>
          <p:nvPr>
            <p:ph type="body" idx="3"/>
          </p:nvPr>
        </p:nvSpPr>
        <p:spPr>
          <a:xfrm>
            <a:off x="4167311" y="3969644"/>
            <a:ext cx="1103823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4000"/>
              <a:buNone/>
              <a:defRPr sz="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50" name="Google Shape;550;p66"/>
          <p:cNvSpPr txBox="1">
            <a:spLocks noGrp="1"/>
          </p:cNvSpPr>
          <p:nvPr>
            <p:ph type="body" idx="4"/>
          </p:nvPr>
        </p:nvSpPr>
        <p:spPr>
          <a:xfrm>
            <a:off x="3511115" y="5296804"/>
            <a:ext cx="1103823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4000"/>
              <a:buNone/>
              <a:defRPr sz="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51" name="Google Shape;551;p66"/>
          <p:cNvSpPr txBox="1">
            <a:spLocks noGrp="1"/>
          </p:cNvSpPr>
          <p:nvPr>
            <p:ph type="body" idx="5"/>
          </p:nvPr>
        </p:nvSpPr>
        <p:spPr>
          <a:xfrm>
            <a:off x="6711951" y="1314451"/>
            <a:ext cx="4984749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52" name="Google Shape;552;p66"/>
          <p:cNvSpPr txBox="1">
            <a:spLocks noGrp="1"/>
          </p:cNvSpPr>
          <p:nvPr>
            <p:ph type="body" idx="6"/>
          </p:nvPr>
        </p:nvSpPr>
        <p:spPr>
          <a:xfrm>
            <a:off x="6057630" y="2641901"/>
            <a:ext cx="4984749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53" name="Google Shape;553;p66"/>
          <p:cNvSpPr txBox="1">
            <a:spLocks noGrp="1"/>
          </p:cNvSpPr>
          <p:nvPr>
            <p:ph type="body" idx="7"/>
          </p:nvPr>
        </p:nvSpPr>
        <p:spPr>
          <a:xfrm>
            <a:off x="5403307" y="3969352"/>
            <a:ext cx="4984749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54" name="Google Shape;554;p66"/>
          <p:cNvSpPr txBox="1">
            <a:spLocks noGrp="1"/>
          </p:cNvSpPr>
          <p:nvPr>
            <p:ph type="body" idx="8"/>
          </p:nvPr>
        </p:nvSpPr>
        <p:spPr>
          <a:xfrm>
            <a:off x="4748984" y="5296804"/>
            <a:ext cx="4984749" cy="7768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02794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Smartphone 01">
  <p:cSld name="Mockup Smartphone 01">
    <p:bg>
      <p:bgPr>
        <a:solidFill>
          <a:schemeClr val="accent1"/>
        </a:solidFill>
        <a:effectLst/>
      </p:bgPr>
    </p:bg>
    <p:spTree>
      <p:nvGrpSpPr>
        <p:cNvPr id="1" name="Shape 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Google Shape;556;p67"/>
          <p:cNvSpPr>
            <a:spLocks noGrp="1"/>
          </p:cNvSpPr>
          <p:nvPr>
            <p:ph type="pic" idx="2"/>
          </p:nvPr>
        </p:nvSpPr>
        <p:spPr>
          <a:xfrm>
            <a:off x="6427963" y="872269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57" name="Google Shape;557;p67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58" name="Google Shape;558;p67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9" name="Google Shape;559;p67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060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Smartphone 02">
  <p:cSld name="Mockup Smartphone 02">
    <p:bg>
      <p:bgPr>
        <a:solidFill>
          <a:schemeClr val="accent2"/>
        </a:solidFill>
        <a:effectLst/>
      </p:bgPr>
    </p:bg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68"/>
          <p:cNvSpPr>
            <a:spLocks noGrp="1"/>
          </p:cNvSpPr>
          <p:nvPr>
            <p:ph type="pic" idx="2"/>
          </p:nvPr>
        </p:nvSpPr>
        <p:spPr>
          <a:xfrm>
            <a:off x="6427963" y="872269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62" name="Google Shape;562;p68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63" name="Google Shape;563;p68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" name="Google Shape;564;p68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5236261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931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78712848"/>
      </p:ext>
    </p:extLst>
  </p:cSld>
  <p:clrMapOvr>
    <a:masterClrMapping/>
  </p:clrMapOvr>
  <p:transition spd="slow">
    <p:wip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Smartphone 03">
  <p:cSld name="Mockup Smartphone 03">
    <p:bg>
      <p:bgPr>
        <a:solidFill>
          <a:schemeClr val="lt1"/>
        </a:solidFill>
        <a:effectLst/>
      </p:bgPr>
    </p:bg>
    <p:spTree>
      <p:nvGrpSpPr>
        <p:cNvPr id="1" name="Shape 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" name="Google Shape;566;p69"/>
          <p:cNvSpPr>
            <a:spLocks noGrp="1"/>
          </p:cNvSpPr>
          <p:nvPr>
            <p:ph type="pic" idx="2"/>
          </p:nvPr>
        </p:nvSpPr>
        <p:spPr>
          <a:xfrm>
            <a:off x="6427963" y="872269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67" name="Google Shape;567;p69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68" name="Google Shape;568;p6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" name="Google Shape;569;p69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5236261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330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Three Smartphones 01">
  <p:cSld name="Mockup Three Smartphones 01">
    <p:bg>
      <p:bgPr>
        <a:solidFill>
          <a:schemeClr val="accent1"/>
        </a:solidFill>
        <a:effectLst/>
      </p:bgPr>
    </p:bg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p70"/>
          <p:cNvSpPr>
            <a:spLocks noGrp="1"/>
          </p:cNvSpPr>
          <p:nvPr>
            <p:ph type="pic" idx="2"/>
          </p:nvPr>
        </p:nvSpPr>
        <p:spPr>
          <a:xfrm>
            <a:off x="1102239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72" name="Google Shape;572;p70"/>
          <p:cNvSpPr>
            <a:spLocks noGrp="1"/>
          </p:cNvSpPr>
          <p:nvPr>
            <p:ph type="pic" idx="3"/>
          </p:nvPr>
        </p:nvSpPr>
        <p:spPr>
          <a:xfrm>
            <a:off x="8465093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73" name="Google Shape;573;p70"/>
          <p:cNvSpPr>
            <a:spLocks noGrp="1"/>
          </p:cNvSpPr>
          <p:nvPr>
            <p:ph type="pic" idx="4"/>
          </p:nvPr>
        </p:nvSpPr>
        <p:spPr>
          <a:xfrm>
            <a:off x="4783667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74" name="Google Shape;574;p70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980767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Three Smartphones 02">
  <p:cSld name="Mockup Three Smartphones 02">
    <p:bg>
      <p:bgPr>
        <a:solidFill>
          <a:schemeClr val="accent2"/>
        </a:solidFill>
        <a:effectLst/>
      </p:bgPr>
    </p:bg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p71"/>
          <p:cNvSpPr>
            <a:spLocks noGrp="1"/>
          </p:cNvSpPr>
          <p:nvPr>
            <p:ph type="pic" idx="2"/>
          </p:nvPr>
        </p:nvSpPr>
        <p:spPr>
          <a:xfrm>
            <a:off x="1102239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77" name="Google Shape;577;p71"/>
          <p:cNvSpPr>
            <a:spLocks noGrp="1"/>
          </p:cNvSpPr>
          <p:nvPr>
            <p:ph type="pic" idx="3"/>
          </p:nvPr>
        </p:nvSpPr>
        <p:spPr>
          <a:xfrm>
            <a:off x="8465093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78" name="Google Shape;578;p71"/>
          <p:cNvSpPr>
            <a:spLocks noGrp="1"/>
          </p:cNvSpPr>
          <p:nvPr>
            <p:ph type="pic" idx="4"/>
          </p:nvPr>
        </p:nvSpPr>
        <p:spPr>
          <a:xfrm>
            <a:off x="4783667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79" name="Google Shape;579;p71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6711950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Three Smartphones 03">
  <p:cSld name="Mockup Three Smartphones 03">
    <p:bg>
      <p:bgPr>
        <a:solidFill>
          <a:schemeClr val="lt1"/>
        </a:solidFill>
        <a:effectLst/>
      </p:bgPr>
    </p:bg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72"/>
          <p:cNvSpPr>
            <a:spLocks noGrp="1"/>
          </p:cNvSpPr>
          <p:nvPr>
            <p:ph type="pic" idx="2"/>
          </p:nvPr>
        </p:nvSpPr>
        <p:spPr>
          <a:xfrm>
            <a:off x="1102239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82" name="Google Shape;582;p72"/>
          <p:cNvSpPr>
            <a:spLocks noGrp="1"/>
          </p:cNvSpPr>
          <p:nvPr>
            <p:ph type="pic" idx="3"/>
          </p:nvPr>
        </p:nvSpPr>
        <p:spPr>
          <a:xfrm>
            <a:off x="8465093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83" name="Google Shape;583;p72"/>
          <p:cNvSpPr>
            <a:spLocks noGrp="1"/>
          </p:cNvSpPr>
          <p:nvPr>
            <p:ph type="pic" idx="4"/>
          </p:nvPr>
        </p:nvSpPr>
        <p:spPr>
          <a:xfrm>
            <a:off x="4783667" y="680406"/>
            <a:ext cx="2624667" cy="5497191"/>
          </a:xfrm>
          <a:prstGeom prst="roundRect">
            <a:avLst>
              <a:gd name="adj" fmla="val 12901"/>
            </a:avLst>
          </a:prstGeom>
          <a:noFill/>
          <a:ln>
            <a:noFill/>
          </a:ln>
        </p:spPr>
      </p:sp>
      <p:sp>
        <p:nvSpPr>
          <p:cNvPr id="584" name="Google Shape;584;p72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5515325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Tablet 01">
  <p:cSld name="Mockup Tablet 01">
    <p:bg>
      <p:bgPr>
        <a:solidFill>
          <a:schemeClr val="accent1"/>
        </a:solidFill>
        <a:effectLst/>
      </p:bgPr>
    </p:bg>
    <p:spTree>
      <p:nvGrpSpPr>
        <p:cNvPr id="1" name="Shape 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" name="Google Shape;586;p73"/>
          <p:cNvSpPr>
            <a:spLocks noGrp="1"/>
          </p:cNvSpPr>
          <p:nvPr>
            <p:ph type="pic" idx="2"/>
          </p:nvPr>
        </p:nvSpPr>
        <p:spPr>
          <a:xfrm>
            <a:off x="5667632" y="1316315"/>
            <a:ext cx="3558747" cy="5093144"/>
          </a:xfrm>
          <a:prstGeom prst="roundRect">
            <a:avLst>
              <a:gd name="adj" fmla="val 1389"/>
            </a:avLst>
          </a:prstGeom>
          <a:noFill/>
          <a:ln>
            <a:noFill/>
          </a:ln>
        </p:spPr>
      </p:sp>
      <p:sp>
        <p:nvSpPr>
          <p:cNvPr id="587" name="Google Shape;587;p73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73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9" name="Google Shape;589;p73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93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Tablet 02">
  <p:cSld name="Mockup Tablet 02">
    <p:bg>
      <p:bgPr>
        <a:solidFill>
          <a:schemeClr val="accent2"/>
        </a:solidFill>
        <a:effectLst/>
      </p:bgPr>
    </p:bg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74"/>
          <p:cNvSpPr>
            <a:spLocks noGrp="1"/>
          </p:cNvSpPr>
          <p:nvPr>
            <p:ph type="pic" idx="2"/>
          </p:nvPr>
        </p:nvSpPr>
        <p:spPr>
          <a:xfrm>
            <a:off x="5667632" y="1316315"/>
            <a:ext cx="3558747" cy="5093144"/>
          </a:xfrm>
          <a:prstGeom prst="roundRect">
            <a:avLst>
              <a:gd name="adj" fmla="val 1389"/>
            </a:avLst>
          </a:prstGeom>
          <a:noFill/>
          <a:ln>
            <a:noFill/>
          </a:ln>
        </p:spPr>
      </p:sp>
      <p:sp>
        <p:nvSpPr>
          <p:cNvPr id="592" name="Google Shape;592;p74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93" name="Google Shape;593;p74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" name="Google Shape;594;p74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222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Tablet 03">
  <p:cSld name="Mockup Tablet 03">
    <p:bg>
      <p:bgPr>
        <a:solidFill>
          <a:schemeClr val="lt1"/>
        </a:solidFill>
        <a:effectLst/>
      </p:bgPr>
    </p:bg>
    <p:spTree>
      <p:nvGrpSpPr>
        <p:cNvPr id="1" name="Shape 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" name="Google Shape;596;p75"/>
          <p:cNvSpPr>
            <a:spLocks noGrp="1"/>
          </p:cNvSpPr>
          <p:nvPr>
            <p:ph type="pic" idx="2"/>
          </p:nvPr>
        </p:nvSpPr>
        <p:spPr>
          <a:xfrm>
            <a:off x="5667632" y="1316315"/>
            <a:ext cx="3558747" cy="5093144"/>
          </a:xfrm>
          <a:prstGeom prst="roundRect">
            <a:avLst>
              <a:gd name="adj" fmla="val 1389"/>
            </a:avLst>
          </a:prstGeom>
          <a:noFill/>
          <a:ln>
            <a:noFill/>
          </a:ln>
        </p:spPr>
      </p:sp>
      <p:sp>
        <p:nvSpPr>
          <p:cNvPr id="597" name="Google Shape;597;p75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98" name="Google Shape;598;p75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p75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31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Labtop 01">
  <p:cSld name="Mockup Labtop 01">
    <p:bg>
      <p:bgPr>
        <a:solidFill>
          <a:schemeClr val="accent1"/>
        </a:solidFill>
        <a:effectLst/>
      </p:bgPr>
    </p:bg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76"/>
          <p:cNvSpPr>
            <a:spLocks noGrp="1"/>
          </p:cNvSpPr>
          <p:nvPr>
            <p:ph type="pic" idx="2"/>
          </p:nvPr>
        </p:nvSpPr>
        <p:spPr>
          <a:xfrm>
            <a:off x="3669009" y="2883245"/>
            <a:ext cx="5123936" cy="3295135"/>
          </a:xfrm>
          <a:prstGeom prst="roundRect">
            <a:avLst>
              <a:gd name="adj" fmla="val 1389"/>
            </a:avLst>
          </a:prstGeom>
          <a:noFill/>
          <a:ln>
            <a:noFill/>
          </a:ln>
        </p:spPr>
      </p:sp>
      <p:sp>
        <p:nvSpPr>
          <p:cNvPr id="602" name="Google Shape;602;p76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5235832" cy="769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76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4" name="Google Shape;604;p76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9033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Labtop 02">
  <p:cSld name="Mockup Labtop 02">
    <p:bg>
      <p:bgPr>
        <a:solidFill>
          <a:schemeClr val="accent2"/>
        </a:solidFill>
        <a:effectLst/>
      </p:bgPr>
    </p:bg>
    <p:spTree>
      <p:nvGrpSpPr>
        <p:cNvPr id="1" name="Shape 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" name="Google Shape;606;p77"/>
          <p:cNvSpPr>
            <a:spLocks noGrp="1"/>
          </p:cNvSpPr>
          <p:nvPr>
            <p:ph type="pic" idx="2"/>
          </p:nvPr>
        </p:nvSpPr>
        <p:spPr>
          <a:xfrm>
            <a:off x="3669009" y="2883245"/>
            <a:ext cx="5123936" cy="3295135"/>
          </a:xfrm>
          <a:prstGeom prst="roundRect">
            <a:avLst>
              <a:gd name="adj" fmla="val 1389"/>
            </a:avLst>
          </a:prstGeom>
          <a:noFill/>
          <a:ln>
            <a:noFill/>
          </a:ln>
        </p:spPr>
      </p:sp>
      <p:sp>
        <p:nvSpPr>
          <p:cNvPr id="607" name="Google Shape;607;p77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5235832" cy="769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08" name="Google Shape;608;p77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9" name="Google Shape;609;p77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7475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Labtop 03">
  <p:cSld name="Mockup Labtop 03">
    <p:bg>
      <p:bgPr>
        <a:solidFill>
          <a:schemeClr val="lt2"/>
        </a:solidFill>
        <a:effectLst/>
      </p:bgPr>
    </p:bg>
    <p:spTree>
      <p:nvGrpSpPr>
        <p:cNvPr id="1" name="Shape 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" name="Google Shape;611;p78"/>
          <p:cNvSpPr>
            <a:spLocks noGrp="1"/>
          </p:cNvSpPr>
          <p:nvPr>
            <p:ph type="pic" idx="2"/>
          </p:nvPr>
        </p:nvSpPr>
        <p:spPr>
          <a:xfrm>
            <a:off x="3669009" y="2883245"/>
            <a:ext cx="5123936" cy="3295135"/>
          </a:xfrm>
          <a:prstGeom prst="roundRect">
            <a:avLst>
              <a:gd name="adj" fmla="val 1389"/>
            </a:avLst>
          </a:prstGeom>
          <a:noFill/>
          <a:ln>
            <a:noFill/>
          </a:ln>
        </p:spPr>
      </p:sp>
      <p:sp>
        <p:nvSpPr>
          <p:cNvPr id="612" name="Google Shape;612;p78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5235832" cy="769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13" name="Google Shape;613;p78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4" name="Google Shape;614;p78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630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5175426"/>
      </p:ext>
    </p:extLst>
  </p:cSld>
  <p:clrMapOvr>
    <a:masterClrMapping/>
  </p:clrMapOvr>
  <p:transition spd="slow">
    <p:wip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Smartwatch 01">
  <p:cSld name="Mockup Smartwatch 01">
    <p:bg>
      <p:bgPr>
        <a:solidFill>
          <a:schemeClr val="accent1"/>
        </a:solidFill>
        <a:effectLst/>
      </p:bgPr>
    </p:bg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" name="Google Shape;616;p79"/>
          <p:cNvSpPr>
            <a:spLocks noGrp="1"/>
          </p:cNvSpPr>
          <p:nvPr>
            <p:ph type="pic" idx="2"/>
          </p:nvPr>
        </p:nvSpPr>
        <p:spPr>
          <a:xfrm>
            <a:off x="6400876" y="2116111"/>
            <a:ext cx="2751585" cy="3095399"/>
          </a:xfrm>
          <a:prstGeom prst="roundRect">
            <a:avLst>
              <a:gd name="adj" fmla="val 19461"/>
            </a:avLst>
          </a:prstGeom>
          <a:noFill/>
          <a:ln>
            <a:noFill/>
          </a:ln>
        </p:spPr>
      </p:sp>
      <p:sp>
        <p:nvSpPr>
          <p:cNvPr id="617" name="Google Shape;617;p79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p7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79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590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Smartwatch 02">
  <p:cSld name="Mockup Smartwatch 02">
    <p:bg>
      <p:bgPr>
        <a:solidFill>
          <a:schemeClr val="accent2"/>
        </a:solidFill>
        <a:effectLst/>
      </p:bgPr>
    </p:bg>
    <p:spTree>
      <p:nvGrpSpPr>
        <p:cNvPr id="1" name="Shape 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1" name="Google Shape;621;p80"/>
          <p:cNvSpPr>
            <a:spLocks noGrp="1"/>
          </p:cNvSpPr>
          <p:nvPr>
            <p:ph type="pic" idx="2"/>
          </p:nvPr>
        </p:nvSpPr>
        <p:spPr>
          <a:xfrm>
            <a:off x="6400876" y="2116111"/>
            <a:ext cx="2751585" cy="3095399"/>
          </a:xfrm>
          <a:prstGeom prst="roundRect">
            <a:avLst>
              <a:gd name="adj" fmla="val 19461"/>
            </a:avLst>
          </a:prstGeom>
          <a:noFill/>
          <a:ln>
            <a:noFill/>
          </a:ln>
        </p:spPr>
      </p:sp>
      <p:sp>
        <p:nvSpPr>
          <p:cNvPr id="622" name="Google Shape;622;p80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23" name="Google Shape;623;p80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" name="Google Shape;624;p80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7979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ockup Smartwatch 03">
  <p:cSld name="Mockup Smartwatch 03">
    <p:bg>
      <p:bgPr>
        <a:solidFill>
          <a:schemeClr val="lt1"/>
        </a:solidFill>
        <a:effectLst/>
      </p:bgPr>
    </p:bg>
    <p:spTree>
      <p:nvGrpSpPr>
        <p:cNvPr id="1" name="Shape 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Google Shape;626;p81"/>
          <p:cNvSpPr>
            <a:spLocks noGrp="1"/>
          </p:cNvSpPr>
          <p:nvPr>
            <p:ph type="pic" idx="2"/>
          </p:nvPr>
        </p:nvSpPr>
        <p:spPr>
          <a:xfrm>
            <a:off x="6400876" y="2116111"/>
            <a:ext cx="2751585" cy="3095399"/>
          </a:xfrm>
          <a:prstGeom prst="roundRect">
            <a:avLst>
              <a:gd name="adj" fmla="val 19461"/>
            </a:avLst>
          </a:prstGeom>
          <a:noFill/>
          <a:ln>
            <a:noFill/>
          </a:ln>
        </p:spPr>
      </p:sp>
      <p:sp>
        <p:nvSpPr>
          <p:cNvPr id="627" name="Google Shape;627;p81"/>
          <p:cNvSpPr txBox="1">
            <a:spLocks noGrp="1"/>
          </p:cNvSpPr>
          <p:nvPr>
            <p:ph type="body" idx="1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28" name="Google Shape;628;p81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9" name="Google Shape;629;p81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52362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6767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01">
  <p:cSld name="Contact Slide 01">
    <p:bg>
      <p:bgPr>
        <a:solidFill>
          <a:schemeClr val="accent1"/>
        </a:solidFill>
        <a:effectLst/>
      </p:bgPr>
    </p:bg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Google Shape;631;p82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82"/>
          <p:cNvSpPr>
            <a:spLocks noGrp="1"/>
          </p:cNvSpPr>
          <p:nvPr>
            <p:ph type="pic" idx="2"/>
          </p:nvPr>
        </p:nvSpPr>
        <p:spPr>
          <a:xfrm>
            <a:off x="4435384" y="712489"/>
            <a:ext cx="2400000" cy="2400000"/>
          </a:xfrm>
          <a:prstGeom prst="rect">
            <a:avLst/>
          </a:prstGeom>
          <a:noFill/>
          <a:ln>
            <a:noFill/>
          </a:ln>
        </p:spPr>
      </p:sp>
      <p:sp>
        <p:nvSpPr>
          <p:cNvPr id="633" name="Google Shape;633;p82"/>
          <p:cNvSpPr>
            <a:spLocks noGrp="1"/>
          </p:cNvSpPr>
          <p:nvPr>
            <p:ph type="pic" idx="3"/>
          </p:nvPr>
        </p:nvSpPr>
        <p:spPr>
          <a:xfrm>
            <a:off x="8426819" y="712489"/>
            <a:ext cx="2400000" cy="2400000"/>
          </a:xfrm>
          <a:prstGeom prst="rect">
            <a:avLst/>
          </a:prstGeom>
          <a:noFill/>
          <a:ln>
            <a:noFill/>
          </a:ln>
        </p:spPr>
      </p:sp>
      <p:sp>
        <p:nvSpPr>
          <p:cNvPr id="634" name="Google Shape;634;p82"/>
          <p:cNvSpPr txBox="1">
            <a:spLocks noGrp="1"/>
          </p:cNvSpPr>
          <p:nvPr>
            <p:ph type="body" idx="1"/>
          </p:nvPr>
        </p:nvSpPr>
        <p:spPr>
          <a:xfrm>
            <a:off x="4435936" y="3251200"/>
            <a:ext cx="3333381" cy="1559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67" b="0">
                <a:solidFill>
                  <a:schemeClr val="dk2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35" name="Google Shape;635;p82"/>
          <p:cNvSpPr txBox="1">
            <a:spLocks noGrp="1"/>
          </p:cNvSpPr>
          <p:nvPr>
            <p:ph type="body" idx="4"/>
          </p:nvPr>
        </p:nvSpPr>
        <p:spPr>
          <a:xfrm>
            <a:off x="8426819" y="3251200"/>
            <a:ext cx="3333381" cy="1559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400"/>
              <a:buNone/>
              <a:defRPr sz="1867" b="0">
                <a:solidFill>
                  <a:schemeClr val="dk2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36" name="Google Shape;636;p82"/>
          <p:cNvSpPr txBox="1">
            <a:spLocks noGrp="1"/>
          </p:cNvSpPr>
          <p:nvPr>
            <p:ph type="body" idx="5"/>
          </p:nvPr>
        </p:nvSpPr>
        <p:spPr>
          <a:xfrm>
            <a:off x="5016233" y="5147672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37" name="Google Shape;637;p82"/>
          <p:cNvSpPr txBox="1">
            <a:spLocks noGrp="1"/>
          </p:cNvSpPr>
          <p:nvPr>
            <p:ph type="body" idx="6"/>
          </p:nvPr>
        </p:nvSpPr>
        <p:spPr>
          <a:xfrm>
            <a:off x="5016233" y="5693147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p82"/>
          <p:cNvSpPr txBox="1">
            <a:spLocks noGrp="1"/>
          </p:cNvSpPr>
          <p:nvPr>
            <p:ph type="body" idx="7"/>
          </p:nvPr>
        </p:nvSpPr>
        <p:spPr>
          <a:xfrm>
            <a:off x="9007396" y="5147672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39" name="Google Shape;639;p82"/>
          <p:cNvSpPr txBox="1">
            <a:spLocks noGrp="1"/>
          </p:cNvSpPr>
          <p:nvPr>
            <p:ph type="body" idx="8"/>
          </p:nvPr>
        </p:nvSpPr>
        <p:spPr>
          <a:xfrm>
            <a:off x="9007396" y="5693147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40" name="Google Shape;640;p82"/>
          <p:cNvSpPr txBox="1">
            <a:spLocks noGrp="1"/>
          </p:cNvSpPr>
          <p:nvPr>
            <p:ph type="body" idx="9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p82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3505631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076967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 Slide 02">
  <p:cSld name="Contact Slide 02">
    <p:bg>
      <p:bgPr>
        <a:solidFill>
          <a:schemeClr val="dk1"/>
        </a:solidFill>
        <a:effectLst/>
      </p:bgPr>
    </p:bg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" name="Google Shape;643;p83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4" name="Google Shape;644;p83"/>
          <p:cNvSpPr>
            <a:spLocks noGrp="1"/>
          </p:cNvSpPr>
          <p:nvPr>
            <p:ph type="pic" idx="2"/>
          </p:nvPr>
        </p:nvSpPr>
        <p:spPr>
          <a:xfrm>
            <a:off x="4435384" y="712489"/>
            <a:ext cx="2400000" cy="2400000"/>
          </a:xfrm>
          <a:prstGeom prst="rect">
            <a:avLst/>
          </a:prstGeom>
          <a:noFill/>
          <a:ln>
            <a:noFill/>
          </a:ln>
        </p:spPr>
      </p:sp>
      <p:sp>
        <p:nvSpPr>
          <p:cNvPr id="645" name="Google Shape;645;p83"/>
          <p:cNvSpPr>
            <a:spLocks noGrp="1"/>
          </p:cNvSpPr>
          <p:nvPr>
            <p:ph type="pic" idx="3"/>
          </p:nvPr>
        </p:nvSpPr>
        <p:spPr>
          <a:xfrm>
            <a:off x="8426819" y="712489"/>
            <a:ext cx="2400000" cy="2400000"/>
          </a:xfrm>
          <a:prstGeom prst="rect">
            <a:avLst/>
          </a:prstGeom>
          <a:noFill/>
          <a:ln>
            <a:noFill/>
          </a:ln>
        </p:spPr>
      </p:sp>
      <p:sp>
        <p:nvSpPr>
          <p:cNvPr id="646" name="Google Shape;646;p83"/>
          <p:cNvSpPr txBox="1">
            <a:spLocks noGrp="1"/>
          </p:cNvSpPr>
          <p:nvPr>
            <p:ph type="body" idx="1"/>
          </p:nvPr>
        </p:nvSpPr>
        <p:spPr>
          <a:xfrm>
            <a:off x="4435936" y="3251200"/>
            <a:ext cx="3333381" cy="1559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p83"/>
          <p:cNvSpPr txBox="1">
            <a:spLocks noGrp="1"/>
          </p:cNvSpPr>
          <p:nvPr>
            <p:ph type="body" idx="4"/>
          </p:nvPr>
        </p:nvSpPr>
        <p:spPr>
          <a:xfrm>
            <a:off x="8426819" y="3251200"/>
            <a:ext cx="3333381" cy="1559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100"/>
              <a:buNone/>
              <a:defRPr sz="1467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48" name="Google Shape;648;p83"/>
          <p:cNvSpPr txBox="1">
            <a:spLocks noGrp="1"/>
          </p:cNvSpPr>
          <p:nvPr>
            <p:ph type="body" idx="5"/>
          </p:nvPr>
        </p:nvSpPr>
        <p:spPr>
          <a:xfrm>
            <a:off x="5016233" y="5147672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49" name="Google Shape;649;p83"/>
          <p:cNvSpPr txBox="1">
            <a:spLocks noGrp="1"/>
          </p:cNvSpPr>
          <p:nvPr>
            <p:ph type="body" idx="6"/>
          </p:nvPr>
        </p:nvSpPr>
        <p:spPr>
          <a:xfrm>
            <a:off x="5016233" y="5693147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83"/>
          <p:cNvSpPr txBox="1">
            <a:spLocks noGrp="1"/>
          </p:cNvSpPr>
          <p:nvPr>
            <p:ph type="body" idx="7"/>
          </p:nvPr>
        </p:nvSpPr>
        <p:spPr>
          <a:xfrm>
            <a:off x="9007396" y="5147672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51" name="Google Shape;651;p83"/>
          <p:cNvSpPr txBox="1">
            <a:spLocks noGrp="1"/>
          </p:cNvSpPr>
          <p:nvPr>
            <p:ph type="body" idx="8"/>
          </p:nvPr>
        </p:nvSpPr>
        <p:spPr>
          <a:xfrm>
            <a:off x="9007396" y="5693147"/>
            <a:ext cx="2270760" cy="414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400"/>
              <a:buNone/>
              <a:defRPr sz="1867"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52" name="Google Shape;652;p83"/>
          <p:cNvSpPr txBox="1">
            <a:spLocks noGrp="1"/>
          </p:cNvSpPr>
          <p:nvPr>
            <p:ph type="body" idx="9"/>
          </p:nvPr>
        </p:nvSpPr>
        <p:spPr>
          <a:xfrm>
            <a:off x="431800" y="1369484"/>
            <a:ext cx="2863851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b="0">
                <a:solidFill>
                  <a:schemeClr val="accen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53" name="Google Shape;653;p83"/>
          <p:cNvSpPr txBox="1">
            <a:spLocks noGrp="1"/>
          </p:cNvSpPr>
          <p:nvPr>
            <p:ph type="title"/>
          </p:nvPr>
        </p:nvSpPr>
        <p:spPr>
          <a:xfrm>
            <a:off x="431370" y="349829"/>
            <a:ext cx="3632631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Roboto"/>
              <a:buNone/>
              <a:defRPr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86873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02">
  <p:cSld name="Empty Slide 02">
    <p:bg>
      <p:bgPr>
        <a:solidFill>
          <a:schemeClr val="dk1"/>
        </a:solidFill>
        <a:effectLst/>
      </p:bgPr>
    </p:bg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p84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80061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03">
  <p:cSld name="Empty Slide 03">
    <p:bg>
      <p:bgPr>
        <a:solidFill>
          <a:schemeClr val="accent2"/>
        </a:solidFill>
        <a:effectLst/>
      </p:bgPr>
    </p:bg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85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9394546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04">
  <p:cSld name="Empty Slide 04">
    <p:bg>
      <p:bgPr>
        <a:solidFill>
          <a:schemeClr val="accent1"/>
        </a:solidFill>
        <a:effectLst/>
      </p:bgPr>
    </p:bg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Google Shape;659;p86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048782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381" y="5122927"/>
            <a:ext cx="3456384" cy="731435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1" name="Foliennummernplatzhalter 3"/>
          <p:cNvSpPr txBox="1">
            <a:spLocks/>
          </p:cNvSpPr>
          <p:nvPr userDrawn="1"/>
        </p:nvSpPr>
        <p:spPr bwMode="gray">
          <a:xfrm>
            <a:off x="624416" y="6612843"/>
            <a:ext cx="589840" cy="14400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/>
              <a:t>Slide </a:t>
            </a:r>
            <a:fld id="{165E2D8B-FD9B-4A9E-8AEA-D09FA928FD2A}" type="slidenum">
              <a:rPr lang="en-US" sz="800" b="0" smtClean="0"/>
              <a:pPr/>
              <a:t>‹#›</a:t>
            </a:fld>
            <a:endParaRPr lang="en-US" sz="800" b="0"/>
          </a:p>
        </p:txBody>
      </p:sp>
    </p:spTree>
    <p:extLst>
      <p:ext uri="{BB962C8B-B14F-4D97-AF65-F5344CB8AC3E}">
        <p14:creationId xmlns:p14="http://schemas.microsoft.com/office/powerpoint/2010/main" val="85061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4" name="Google Shape;674;g121bba83c51_0_114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675" name="Google Shape;675;g121bba83c51_0_114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676" name="Google Shape;676;g121bba83c51_0_114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77" name="Google Shape;677;g121bba83c51_0_114"/>
          <p:cNvPicPr preferRelativeResize="0"/>
          <p:nvPr/>
        </p:nvPicPr>
        <p:blipFill rotWithShape="1">
          <a:blip r:embed="rId2">
            <a:alphaModFix/>
          </a:blip>
          <a:srcRect l="16125" t="19860" r="16516" b="19884"/>
          <a:stretch/>
        </p:blipFill>
        <p:spPr>
          <a:xfrm>
            <a:off x="11192801" y="311901"/>
            <a:ext cx="668865" cy="5983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17765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solidFill>
                <a:srgbClr val="555555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76060713"/>
      </p:ext>
    </p:extLst>
  </p:cSld>
  <p:clrMapOvr>
    <a:masterClrMapping/>
  </p:clrMapOvr>
  <p:transition spd="slow">
    <p:wip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" name="Google Shape;679;g121bba83c51_0_119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680" name="Google Shape;680;g121bba83c51_0_119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835525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mo item" type="tx">
  <p:cSld name="Demo item"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" name="Google Shape;682;g121bba83c51_0_122" descr="Demo item title" title="Demo item title"/>
          <p:cNvSpPr txBox="1">
            <a:spLocks noGrp="1"/>
          </p:cNvSpPr>
          <p:nvPr>
            <p:ph type="title"/>
          </p:nvPr>
        </p:nvSpPr>
        <p:spPr>
          <a:xfrm>
            <a:off x="417600" y="278400"/>
            <a:ext cx="7890400" cy="76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 b="1">
                <a:solidFill>
                  <a:srgbClr val="00D9AA"/>
                </a:solidFill>
                <a:latin typeface="Inter"/>
                <a:ea typeface="Inter"/>
                <a:cs typeface="Inter"/>
                <a:sym typeface="Inter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83" name="Google Shape;683;g121bba83c51_0_122"/>
          <p:cNvSpPr txBox="1">
            <a:spLocks noGrp="1"/>
          </p:cNvSpPr>
          <p:nvPr>
            <p:ph type="body" idx="1"/>
          </p:nvPr>
        </p:nvSpPr>
        <p:spPr>
          <a:xfrm>
            <a:off x="415600" y="1151400"/>
            <a:ext cx="11360800" cy="4978400"/>
          </a:xfrm>
          <a:prstGeom prst="rect">
            <a:avLst/>
          </a:prstGeom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  <a:defRPr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SzPts val="1800"/>
              <a:buChar char="⁕"/>
              <a:defRPr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𑇑"/>
              <a:defRPr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AutoNum type="arabicPeriod"/>
              <a:defRPr/>
            </a:lvl4pPr>
            <a:lvl5pPr marL="3047924" lvl="4" indent="-414856" rtl="0">
              <a:spcBef>
                <a:spcPts val="0"/>
              </a:spcBef>
              <a:spcAft>
                <a:spcPts val="0"/>
              </a:spcAft>
              <a:buSzPts val="1300"/>
              <a:buAutoNum type="alphaLcPeriod"/>
              <a:defRPr/>
            </a:lvl5pPr>
            <a:lvl6pPr marL="3657509" lvl="5" indent="-414856" rtl="0">
              <a:spcBef>
                <a:spcPts val="0"/>
              </a:spcBef>
              <a:spcAft>
                <a:spcPts val="0"/>
              </a:spcAft>
              <a:buSzPts val="1300"/>
              <a:buAutoNum type="romanLcPeriod"/>
              <a:defRPr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AutoNum type="arabicPeriod"/>
              <a:defRPr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AutoNum type="alphaLcPeriod"/>
              <a:defRPr/>
            </a:lvl8pPr>
            <a:lvl9pPr marL="5486263" lvl="8" indent="-389457" rtl="0">
              <a:spcBef>
                <a:spcPts val="0"/>
              </a:spcBef>
              <a:spcAft>
                <a:spcPts val="0"/>
              </a:spcAft>
              <a:buSzPts val="1000"/>
              <a:buAutoNum type="romanLcPeriod"/>
              <a:defRPr/>
            </a:lvl9pPr>
          </a:lstStyle>
          <a:p>
            <a:endParaRPr/>
          </a:p>
        </p:txBody>
      </p:sp>
      <p:sp>
        <p:nvSpPr>
          <p:cNvPr id="684" name="Google Shape;684;g121bba83c51_0_122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16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">
          <p15:clr>
            <a:srgbClr val="FA7B17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 1">
  <p:cSld name="Title and body 1">
    <p:spTree>
      <p:nvGrpSpPr>
        <p:cNvPr id="1" name="Shape 6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" name="Google Shape;686;g121bba83c51_0_126"/>
          <p:cNvSpPr txBox="1">
            <a:spLocks noGrp="1"/>
          </p:cNvSpPr>
          <p:nvPr>
            <p:ph type="title"/>
          </p:nvPr>
        </p:nvSpPr>
        <p:spPr>
          <a:xfrm>
            <a:off x="417600" y="278400"/>
            <a:ext cx="10396800" cy="76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 b="1">
                <a:solidFill>
                  <a:srgbClr val="00D9AA"/>
                </a:solidFill>
                <a:latin typeface="Inter"/>
                <a:ea typeface="Inter"/>
                <a:cs typeface="Inter"/>
                <a:sym typeface="Inter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87" name="Google Shape;687;g121bba83c51_0_126"/>
          <p:cNvSpPr txBox="1">
            <a:spLocks noGrp="1"/>
          </p:cNvSpPr>
          <p:nvPr>
            <p:ph type="body" idx="1"/>
          </p:nvPr>
        </p:nvSpPr>
        <p:spPr>
          <a:xfrm>
            <a:off x="415600" y="1151400"/>
            <a:ext cx="11360800" cy="4978400"/>
          </a:xfrm>
          <a:prstGeom prst="rect">
            <a:avLst/>
          </a:prstGeom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SzPts val="1800"/>
              <a:buChar char="⁕"/>
              <a:defRPr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𑇑"/>
              <a:defRPr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↦"/>
              <a:defRPr/>
            </a:lvl4pPr>
            <a:lvl5pPr marL="3047924" lvl="4" indent="-414856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5pPr>
            <a:lvl6pPr marL="3657509" lvl="5" indent="-414856" rtl="0">
              <a:spcBef>
                <a:spcPts val="0"/>
              </a:spcBef>
              <a:spcAft>
                <a:spcPts val="0"/>
              </a:spcAft>
              <a:buSzPts val="1300"/>
              <a:buChar char="✓"/>
              <a:defRPr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·"/>
              <a:defRPr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￫"/>
              <a:defRPr/>
            </a:lvl8pPr>
            <a:lvl9pPr marL="5486263" lvl="8" indent="-389457" rtl="0">
              <a:spcBef>
                <a:spcPts val="0"/>
              </a:spcBef>
              <a:spcAft>
                <a:spcPts val="0"/>
              </a:spcAft>
              <a:buSzPts val="1000"/>
              <a:buChar char="𑁦"/>
              <a:defRPr/>
            </a:lvl9pPr>
          </a:lstStyle>
          <a:p>
            <a:endParaRPr/>
          </a:p>
        </p:txBody>
      </p:sp>
      <p:sp>
        <p:nvSpPr>
          <p:cNvPr id="688" name="Google Shape;688;g121bba83c51_0_126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0182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">
          <p15:clr>
            <a:srgbClr val="FA7B17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Google Shape;690;g121bba83c51_0_130"/>
          <p:cNvSpPr txBox="1">
            <a:spLocks noGrp="1"/>
          </p:cNvSpPr>
          <p:nvPr>
            <p:ph type="title"/>
          </p:nvPr>
        </p:nvSpPr>
        <p:spPr>
          <a:xfrm>
            <a:off x="417600" y="278400"/>
            <a:ext cx="10574800" cy="76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91" name="Google Shape;691;g121bba83c51_0_130"/>
          <p:cNvSpPr txBox="1">
            <a:spLocks noGrp="1"/>
          </p:cNvSpPr>
          <p:nvPr>
            <p:ph type="body" idx="1"/>
          </p:nvPr>
        </p:nvSpPr>
        <p:spPr>
          <a:xfrm>
            <a:off x="415600" y="1334333"/>
            <a:ext cx="5333200" cy="4555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⁕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𑇑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↦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✓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·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￫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𑁦"/>
              <a:defRPr sz="1600"/>
            </a:lvl9pPr>
          </a:lstStyle>
          <a:p>
            <a:endParaRPr/>
          </a:p>
        </p:txBody>
      </p:sp>
      <p:sp>
        <p:nvSpPr>
          <p:cNvPr id="692" name="Google Shape;692;g121bba83c51_0_130"/>
          <p:cNvSpPr txBox="1">
            <a:spLocks noGrp="1"/>
          </p:cNvSpPr>
          <p:nvPr>
            <p:ph type="body" idx="2"/>
          </p:nvPr>
        </p:nvSpPr>
        <p:spPr>
          <a:xfrm>
            <a:off x="6443200" y="1334333"/>
            <a:ext cx="5333200" cy="4555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⁕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𑇑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↦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✓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·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￫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𑁦"/>
              <a:defRPr sz="1600"/>
            </a:lvl9pPr>
          </a:lstStyle>
          <a:p>
            <a:endParaRPr/>
          </a:p>
        </p:txBody>
      </p:sp>
      <p:sp>
        <p:nvSpPr>
          <p:cNvPr id="693" name="Google Shape;693;g121bba83c51_0_130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594529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g121bba83c51_0_135"/>
          <p:cNvSpPr txBox="1">
            <a:spLocks noGrp="1"/>
          </p:cNvSpPr>
          <p:nvPr>
            <p:ph type="title"/>
          </p:nvPr>
        </p:nvSpPr>
        <p:spPr>
          <a:xfrm>
            <a:off x="415600" y="278400"/>
            <a:ext cx="11360800" cy="76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96" name="Google Shape;696;g121bba83c51_0_135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02332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Google Shape;698;g121bba83c51_0_138"/>
          <p:cNvSpPr txBox="1">
            <a:spLocks noGrp="1"/>
          </p:cNvSpPr>
          <p:nvPr>
            <p:ph type="title"/>
          </p:nvPr>
        </p:nvSpPr>
        <p:spPr>
          <a:xfrm>
            <a:off x="415600" y="278400"/>
            <a:ext cx="3744000" cy="10076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Font typeface="Inter"/>
              <a:buNone/>
              <a:defRPr sz="3200">
                <a:latin typeface="Inter"/>
                <a:ea typeface="Inter"/>
                <a:cs typeface="Inter"/>
                <a:sym typeface="Inter"/>
              </a:defRPr>
            </a:lvl9pPr>
          </a:lstStyle>
          <a:p>
            <a:endParaRPr/>
          </a:p>
        </p:txBody>
      </p:sp>
      <p:sp>
        <p:nvSpPr>
          <p:cNvPr id="699" name="Google Shape;699;g121bba83c51_0_138"/>
          <p:cNvSpPr txBox="1">
            <a:spLocks noGrp="1"/>
          </p:cNvSpPr>
          <p:nvPr>
            <p:ph type="body" idx="1"/>
          </p:nvPr>
        </p:nvSpPr>
        <p:spPr>
          <a:xfrm>
            <a:off x="415600" y="1558567"/>
            <a:ext cx="5138000" cy="4239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●"/>
              <a:defRPr sz="1600">
                <a:latin typeface="Inter"/>
                <a:ea typeface="Inter"/>
                <a:cs typeface="Inter"/>
                <a:sym typeface="Inter"/>
              </a:defRPr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⁕"/>
              <a:defRPr sz="1600">
                <a:latin typeface="Inter"/>
                <a:ea typeface="Inter"/>
                <a:cs typeface="Inter"/>
                <a:sym typeface="Inter"/>
              </a:defRPr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𑇑"/>
              <a:defRPr sz="1600">
                <a:latin typeface="Inter"/>
                <a:ea typeface="Inter"/>
                <a:cs typeface="Inter"/>
                <a:sym typeface="Inter"/>
              </a:defRPr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↦"/>
              <a:defRPr sz="1600">
                <a:latin typeface="Inter"/>
                <a:ea typeface="Inter"/>
                <a:cs typeface="Inter"/>
                <a:sym typeface="Inter"/>
              </a:defRPr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●"/>
              <a:defRPr sz="1600">
                <a:latin typeface="Inter"/>
                <a:ea typeface="Inter"/>
                <a:cs typeface="Inter"/>
                <a:sym typeface="Inter"/>
              </a:defRPr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✓"/>
              <a:defRPr sz="1600">
                <a:latin typeface="Inter"/>
                <a:ea typeface="Inter"/>
                <a:cs typeface="Inter"/>
                <a:sym typeface="Inter"/>
              </a:defRPr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·"/>
              <a:defRPr sz="1600">
                <a:latin typeface="Inter"/>
                <a:ea typeface="Inter"/>
                <a:cs typeface="Inter"/>
                <a:sym typeface="Inter"/>
              </a:defRPr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￫"/>
              <a:defRPr sz="1600">
                <a:latin typeface="Inter"/>
                <a:ea typeface="Inter"/>
                <a:cs typeface="Inter"/>
                <a:sym typeface="Inter"/>
              </a:defRPr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Font typeface="Inter"/>
              <a:buChar char="𑁦"/>
              <a:defRPr sz="1600">
                <a:latin typeface="Inter"/>
                <a:ea typeface="Inter"/>
                <a:cs typeface="Inter"/>
                <a:sym typeface="Inter"/>
              </a:defRPr>
            </a:lvl9pPr>
          </a:lstStyle>
          <a:p>
            <a:endParaRPr/>
          </a:p>
        </p:txBody>
      </p:sp>
      <p:sp>
        <p:nvSpPr>
          <p:cNvPr id="700" name="Google Shape;700;g121bba83c51_0_138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>
                <a:latin typeface="Inter"/>
                <a:ea typeface="Inter"/>
                <a:cs typeface="Inter"/>
                <a:sym typeface="Inter"/>
              </a:defRPr>
            </a:lvl1pPr>
            <a:lvl2pPr lvl="1" rtl="0">
              <a:buNone/>
              <a:defRPr>
                <a:latin typeface="Inter"/>
                <a:ea typeface="Inter"/>
                <a:cs typeface="Inter"/>
                <a:sym typeface="Inter"/>
              </a:defRPr>
            </a:lvl2pPr>
            <a:lvl3pPr lvl="2" rtl="0">
              <a:buNone/>
              <a:defRPr>
                <a:latin typeface="Inter"/>
                <a:ea typeface="Inter"/>
                <a:cs typeface="Inter"/>
                <a:sym typeface="Inter"/>
              </a:defRPr>
            </a:lvl3pPr>
            <a:lvl4pPr lvl="3" rtl="0">
              <a:buNone/>
              <a:defRPr>
                <a:latin typeface="Inter"/>
                <a:ea typeface="Inter"/>
                <a:cs typeface="Inter"/>
                <a:sym typeface="Inter"/>
              </a:defRPr>
            </a:lvl4pPr>
            <a:lvl5pPr lvl="4" rtl="0">
              <a:buNone/>
              <a:defRPr>
                <a:latin typeface="Inter"/>
                <a:ea typeface="Inter"/>
                <a:cs typeface="Inter"/>
                <a:sym typeface="Inter"/>
              </a:defRPr>
            </a:lvl5pPr>
            <a:lvl6pPr lvl="5" rtl="0">
              <a:buNone/>
              <a:defRPr>
                <a:latin typeface="Inter"/>
                <a:ea typeface="Inter"/>
                <a:cs typeface="Inter"/>
                <a:sym typeface="Inter"/>
              </a:defRPr>
            </a:lvl6pPr>
            <a:lvl7pPr lvl="6" rtl="0">
              <a:buNone/>
              <a:defRPr>
                <a:latin typeface="Inter"/>
                <a:ea typeface="Inter"/>
                <a:cs typeface="Inter"/>
                <a:sym typeface="Inter"/>
              </a:defRPr>
            </a:lvl7pPr>
            <a:lvl8pPr lvl="7" rtl="0">
              <a:buNone/>
              <a:defRPr>
                <a:latin typeface="Inter"/>
                <a:ea typeface="Inter"/>
                <a:cs typeface="Inter"/>
                <a:sym typeface="Inter"/>
              </a:defRPr>
            </a:lvl8pPr>
            <a:lvl9pPr lvl="8" rtl="0">
              <a:buNone/>
              <a:defRPr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245786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" name="Google Shape;702;g121bba83c51_0_14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703" name="Google Shape;703;g121bba83c51_0_142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69073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Google Shape;705;g121bba83c51_0_145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06" name="Google Shape;706;g121bba83c51_0_145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707" name="Google Shape;707;g121bba83c51_0_145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708" name="Google Shape;708;g121bba83c51_0_145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SzPts val="1800"/>
              <a:buChar char="⁕"/>
              <a:defRPr/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Char char="𑇑"/>
              <a:defRPr/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Char char="↦"/>
              <a:defRPr/>
            </a:lvl4pPr>
            <a:lvl5pPr marL="3047924" lvl="4" indent="-414856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5pPr>
            <a:lvl6pPr marL="3657509" lvl="5" indent="-414856" rtl="0">
              <a:spcBef>
                <a:spcPts val="0"/>
              </a:spcBef>
              <a:spcAft>
                <a:spcPts val="0"/>
              </a:spcAft>
              <a:buSzPts val="1300"/>
              <a:buChar char="✓"/>
              <a:defRPr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·"/>
              <a:defRPr/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Char char="￫"/>
              <a:defRPr/>
            </a:lvl8pPr>
            <a:lvl9pPr marL="5486263" lvl="8" indent="-389457" rtl="0">
              <a:spcBef>
                <a:spcPts val="0"/>
              </a:spcBef>
              <a:spcAft>
                <a:spcPts val="0"/>
              </a:spcAft>
              <a:buSzPts val="1000"/>
              <a:buChar char="𑁦"/>
              <a:defRPr/>
            </a:lvl9pPr>
          </a:lstStyle>
          <a:p>
            <a:endParaRPr/>
          </a:p>
        </p:txBody>
      </p:sp>
      <p:sp>
        <p:nvSpPr>
          <p:cNvPr id="709" name="Google Shape;709;g121bba83c51_0_145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717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1" name="Google Shape;711;g121bba83c51_0_151"/>
          <p:cNvSpPr txBox="1">
            <a:spLocks noGrp="1"/>
          </p:cNvSpPr>
          <p:nvPr>
            <p:ph type="body" idx="1"/>
          </p:nvPr>
        </p:nvSpPr>
        <p:spPr>
          <a:xfrm>
            <a:off x="415600" y="5935633"/>
            <a:ext cx="7998400" cy="8068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609585" lvl="0" indent="-30479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712" name="Google Shape;712;g121bba83c51_0_151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21904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" name="Google Shape;714;g121bba83c51_0_154"/>
          <p:cNvSpPr txBox="1">
            <a:spLocks noGrp="1"/>
          </p:cNvSpPr>
          <p:nvPr>
            <p:ph type="title" hasCustomPrompt="1"/>
          </p:nvPr>
        </p:nvSpPr>
        <p:spPr>
          <a:xfrm>
            <a:off x="415600" y="1042700"/>
            <a:ext cx="11360800" cy="26180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715" name="Google Shape;715;g121bba83c51_0_154"/>
          <p:cNvSpPr txBox="1">
            <a:spLocks noGrp="1"/>
          </p:cNvSpPr>
          <p:nvPr>
            <p:ph type="body" idx="1"/>
          </p:nvPr>
        </p:nvSpPr>
        <p:spPr>
          <a:xfrm>
            <a:off x="415600" y="3660700"/>
            <a:ext cx="11360800" cy="424732"/>
          </a:xfrm>
          <a:prstGeom prst="rect">
            <a:avLst/>
          </a:prstGeom>
        </p:spPr>
        <p:txBody>
          <a:bodyPr spcFirstLastPara="1" wrap="square" lIns="0" tIns="0" rIns="0" bIns="0" anchor="t" anchorCtr="0">
            <a:spAutoFit/>
          </a:bodyPr>
          <a:lstStyle>
            <a:lvl1pPr marL="609585" lvl="0" indent="-457189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57189" algn="ctr" rtl="0">
              <a:spcBef>
                <a:spcPts val="0"/>
              </a:spcBef>
              <a:spcAft>
                <a:spcPts val="0"/>
              </a:spcAft>
              <a:buSzPts val="1800"/>
              <a:buChar char="⁕"/>
              <a:defRPr/>
            </a:lvl2pPr>
            <a:lvl3pPr marL="1828754" lvl="2" indent="-440256" algn="ctr" rtl="0">
              <a:spcBef>
                <a:spcPts val="0"/>
              </a:spcBef>
              <a:spcAft>
                <a:spcPts val="0"/>
              </a:spcAft>
              <a:buSzPts val="1600"/>
              <a:buChar char="𑇑"/>
              <a:defRPr/>
            </a:lvl3pPr>
            <a:lvl4pPr marL="2438339" lvl="3" indent="-431789" algn="ctr" rtl="0">
              <a:spcBef>
                <a:spcPts val="0"/>
              </a:spcBef>
              <a:spcAft>
                <a:spcPts val="0"/>
              </a:spcAft>
              <a:buSzPts val="1500"/>
              <a:buChar char="↦"/>
              <a:defRPr/>
            </a:lvl4pPr>
            <a:lvl5pPr marL="3047924" lvl="4" indent="-414856" algn="ctr" rtl="0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5pPr>
            <a:lvl6pPr marL="3657509" lvl="5" indent="-414856" algn="ctr" rtl="0">
              <a:spcBef>
                <a:spcPts val="0"/>
              </a:spcBef>
              <a:spcAft>
                <a:spcPts val="0"/>
              </a:spcAft>
              <a:buSzPts val="1300"/>
              <a:buChar char="✓"/>
              <a:defRPr/>
            </a:lvl6pPr>
            <a:lvl7pPr marL="4267093" lvl="6" indent="-406390" algn="ctr" rtl="0">
              <a:spcBef>
                <a:spcPts val="0"/>
              </a:spcBef>
              <a:spcAft>
                <a:spcPts val="0"/>
              </a:spcAft>
              <a:buSzPts val="1200"/>
              <a:buChar char="·"/>
              <a:defRPr/>
            </a:lvl7pPr>
            <a:lvl8pPr marL="4876678" lvl="7" indent="-431789" algn="ctr" rtl="0">
              <a:spcBef>
                <a:spcPts val="0"/>
              </a:spcBef>
              <a:spcAft>
                <a:spcPts val="0"/>
              </a:spcAft>
              <a:buSzPts val="1500"/>
              <a:buChar char="￫"/>
              <a:defRPr/>
            </a:lvl8pPr>
            <a:lvl9pPr marL="5486263" lvl="8" indent="-389457" algn="ctr" rtl="0">
              <a:spcBef>
                <a:spcPts val="0"/>
              </a:spcBef>
              <a:spcAft>
                <a:spcPts val="0"/>
              </a:spcAft>
              <a:buSzPts val="1000"/>
              <a:buChar char="𑁦"/>
              <a:defRPr/>
            </a:lvl9pPr>
          </a:lstStyle>
          <a:p>
            <a:endParaRPr/>
          </a:p>
        </p:txBody>
      </p:sp>
      <p:sp>
        <p:nvSpPr>
          <p:cNvPr id="716" name="Google Shape;716;g121bba83c51_0_154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07534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solidFill>
                <a:srgbClr val="555555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5212464"/>
      </p:ext>
    </p:extLst>
  </p:cSld>
  <p:clrMapOvr>
    <a:masterClrMapping/>
  </p:clrMapOvr>
  <p:transition spd="slow">
    <p:wip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g121bba83c51_0_158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978100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 1">
  <p:cSld name="Title slide 1 1">
    <p:spTree>
      <p:nvGrpSpPr>
        <p:cNvPr id="1" name="Shape 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0" name="Google Shape;720;g121bba83c51_0_160"/>
          <p:cNvSpPr txBox="1">
            <a:spLocks noGrp="1"/>
          </p:cNvSpPr>
          <p:nvPr>
            <p:ph type="title"/>
          </p:nvPr>
        </p:nvSpPr>
        <p:spPr>
          <a:xfrm>
            <a:off x="101600" y="101600"/>
            <a:ext cx="10626000" cy="846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rgbClr val="4285F4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Font typeface="Roboto"/>
              <a:buNone/>
              <a:defRPr sz="3200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721" name="Google Shape;721;g121bba83c51_0_160"/>
          <p:cNvSpPr txBox="1">
            <a:spLocks noGrp="1"/>
          </p:cNvSpPr>
          <p:nvPr>
            <p:ph type="body" idx="1"/>
          </p:nvPr>
        </p:nvSpPr>
        <p:spPr>
          <a:xfrm>
            <a:off x="492233" y="1018100"/>
            <a:ext cx="11106400" cy="4793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Font typeface="Roboto"/>
              <a:buChar char="●"/>
              <a:defRPr sz="1867"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57189" rtl="0"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⁕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440256" rtl="0">
              <a:spcBef>
                <a:spcPts val="0"/>
              </a:spcBef>
              <a:spcAft>
                <a:spcPts val="0"/>
              </a:spcAft>
              <a:buSzPts val="1600"/>
              <a:buFont typeface="Roboto"/>
              <a:buChar char="𑇑"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431789" rtl="0">
              <a:spcBef>
                <a:spcPts val="0"/>
              </a:spcBef>
              <a:spcAft>
                <a:spcPts val="0"/>
              </a:spcAft>
              <a:buSzPts val="1500"/>
              <a:buFont typeface="Roboto"/>
              <a:buChar char="↦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414856" rtl="0">
              <a:spcBef>
                <a:spcPts val="0"/>
              </a:spcBef>
              <a:spcAft>
                <a:spcPts val="0"/>
              </a:spcAft>
              <a:buSzPts val="13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414856" rtl="0">
              <a:spcBef>
                <a:spcPts val="0"/>
              </a:spcBef>
              <a:spcAft>
                <a:spcPts val="0"/>
              </a:spcAft>
              <a:buSzPts val="1300"/>
              <a:buFont typeface="Roboto"/>
              <a:buChar char="✓"/>
              <a:defRPr>
                <a:latin typeface="Roboto"/>
                <a:ea typeface="Roboto"/>
                <a:cs typeface="Roboto"/>
                <a:sym typeface="Roboto"/>
              </a:defRPr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Font typeface="Roboto"/>
              <a:buChar char="·"/>
              <a:defRPr>
                <a:latin typeface="Roboto"/>
                <a:ea typeface="Roboto"/>
                <a:cs typeface="Roboto"/>
                <a:sym typeface="Roboto"/>
              </a:defRPr>
            </a:lvl7pPr>
            <a:lvl8pPr marL="4876678" lvl="7" indent="-431789" rtl="0">
              <a:spcBef>
                <a:spcPts val="0"/>
              </a:spcBef>
              <a:spcAft>
                <a:spcPts val="0"/>
              </a:spcAft>
              <a:buSzPts val="1500"/>
              <a:buFont typeface="Roboto"/>
              <a:buChar char="￫"/>
              <a:defRPr>
                <a:latin typeface="Roboto"/>
                <a:ea typeface="Roboto"/>
                <a:cs typeface="Roboto"/>
                <a:sym typeface="Roboto"/>
              </a:defRPr>
            </a:lvl8pPr>
            <a:lvl9pPr marL="5486263" lvl="8" indent="-389457" rtl="0">
              <a:spcBef>
                <a:spcPts val="0"/>
              </a:spcBef>
              <a:spcAft>
                <a:spcPts val="0"/>
              </a:spcAft>
              <a:buSzPts val="1000"/>
              <a:buFont typeface="Roboto"/>
              <a:buChar char="𑁦"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722" name="Google Shape;722;g121bba83c51_0_160"/>
          <p:cNvSpPr txBox="1">
            <a:spLocks noGrp="1"/>
          </p:cNvSpPr>
          <p:nvPr>
            <p:ph type="sldNum" idx="12"/>
          </p:nvPr>
        </p:nvSpPr>
        <p:spPr>
          <a:xfrm>
            <a:off x="11409045" y="6333135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2pPr>
            <a:lvl3pPr lvl="2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3pPr>
            <a:lvl4pPr lvl="3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4pPr>
            <a:lvl5pPr lvl="4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5pPr>
            <a:lvl6pPr lvl="5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6pPr>
            <a:lvl7pPr lvl="6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7pPr>
            <a:lvl8pPr lvl="7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8pPr>
            <a:lvl9pPr lvl="8" rtl="0">
              <a:buNone/>
              <a:defRPr sz="1733"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433535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7CC96E30-4326-40E9-9137-BAA6A3AE9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7CC96E30-4326-40E9-9137-BAA6A3AE91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34FE56AF-8F93-4F04-A25A-CBD21A4B5E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41878F3E-B0D2-453A-AF5B-1BD4CC1177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FAB9C6E2-4803-405D-80CA-20B928B4545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7C06B340-9FA7-4977-AC37-62DBCFE3B3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4">
            <a:extLst>
              <a:ext uri="{FF2B5EF4-FFF2-40B4-BE49-F238E27FC236}">
                <a16:creationId xmlns:a16="http://schemas.microsoft.com/office/drawing/2014/main" id="{13C4AF77-5592-4302-8618-B9D753C208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A124838-ED75-48AC-AB00-957C73EFA5C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D15936B2-E2BA-4D57-A13D-3EB1AF8D309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919B58D-1129-456F-AE5D-01F1777159C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796798069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739EF9A5-1AB0-47B9-BF6B-91329CE7C3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739EF9A5-1AB0-47B9-BF6B-91329CE7C3B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DC2DF8E-3FF4-4B6C-A024-995C4B4A06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FCDC6229-7E0C-4771-B62C-B8EEF6EAA2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639C3609-BA85-4827-9E8D-2CE04BDE4DF5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EC89D79D-7408-40FA-9906-58C2722EA35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2062B547-4C30-44C5-9CCB-672E6AB6B91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21330B05-B196-48F0-AD47-70840F574D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4B64CA9-6021-4E40-ABD1-A2388982E05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86231648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AC10BC6D-0DEF-4133-BA07-1E1127232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AC10BC6D-0DEF-4133-BA07-1E11272328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21F956F7-4E8F-4D84-B315-3E1EE6411B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C8D5EE12-9266-4C96-9918-FCE9A8A0A2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7E2E5B5-7AFC-40DC-98EF-CB8B0D2B5BCC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4E6BE9C-C567-4233-89B8-F98DB2059D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4">
            <a:extLst>
              <a:ext uri="{FF2B5EF4-FFF2-40B4-BE49-F238E27FC236}">
                <a16:creationId xmlns:a16="http://schemas.microsoft.com/office/drawing/2014/main" id="{3E9C2783-D764-4375-AB34-13C77A5B2FB9}"/>
              </a:ext>
            </a:extLst>
          </p:cNvPr>
          <p:cNvSpPr/>
          <p:nvPr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4554E764-BCC7-47B7-8A77-2A6E13D192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201B0F93-7002-41B5-B970-206F4594B4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06E7B08F-C2BB-4FB9-A27F-0F85C4FF5F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D72B8F55-9731-43C6-8897-9A92312AA4A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808668377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4" hidden="1">
            <a:extLst>
              <a:ext uri="{FF2B5EF4-FFF2-40B4-BE49-F238E27FC236}">
                <a16:creationId xmlns:a16="http://schemas.microsoft.com/office/drawing/2014/main" id="{857A87BE-9863-4350-8A4E-1CE0EFB2D1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7" name="Object 4" hidden="1">
                        <a:extLst>
                          <a:ext uri="{FF2B5EF4-FFF2-40B4-BE49-F238E27FC236}">
                            <a16:creationId xmlns:a16="http://schemas.microsoft.com/office/drawing/2014/main" id="{857A87BE-9863-4350-8A4E-1CE0EFB2D19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9506A6C-EF4D-4D27-9D14-DA733ABF32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30FD3137-B9D4-4ACE-B316-C5E458F139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hteck 7">
            <a:extLst>
              <a:ext uri="{FF2B5EF4-FFF2-40B4-BE49-F238E27FC236}">
                <a16:creationId xmlns:a16="http://schemas.microsoft.com/office/drawing/2014/main" id="{22391908-93A7-402D-B744-E6C3BA82C73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1" name="Grafik 9">
            <a:extLst>
              <a:ext uri="{FF2B5EF4-FFF2-40B4-BE49-F238E27FC236}">
                <a16:creationId xmlns:a16="http://schemas.microsoft.com/office/drawing/2014/main" id="{C225E208-58AB-4335-B6B8-F98FB0F5A6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4">
            <a:extLst>
              <a:ext uri="{FF2B5EF4-FFF2-40B4-BE49-F238E27FC236}">
                <a16:creationId xmlns:a16="http://schemas.microsoft.com/office/drawing/2014/main" id="{C589D043-3B3A-4202-B759-F1A241906564}"/>
              </a:ext>
            </a:extLst>
          </p:cNvPr>
          <p:cNvSpPr/>
          <p:nvPr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3" name="Grafik 16">
            <a:extLst>
              <a:ext uri="{FF2B5EF4-FFF2-40B4-BE49-F238E27FC236}">
                <a16:creationId xmlns:a16="http://schemas.microsoft.com/office/drawing/2014/main" id="{2CFB9FDC-C9DB-488B-A93A-51D8D31098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540CF4A9-6C7E-4239-BE24-1D1648BB77C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BB0F2373-F395-40CB-BD0A-00310F65A65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D54E9676-F2FD-4136-9053-863C0872212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076154310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9CB62A59-D5A0-497A-A7B7-309C6D6A2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9CB62A59-D5A0-497A-A7B7-309C6D6A26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F58E627-0114-499E-AB05-C092B2E4DA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AE36D326-9C6F-4176-BE95-95EB228074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696351B9-6FD8-43B6-A470-7864AB57DEA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A29F7CB8-663D-43DE-AD8C-FA7A001767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BB1ADC61-5BF1-4059-B31D-A1C05CD56B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0BFE3726-A5F8-4242-A819-14CA29599F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F016F01-2C48-4D56-A3A5-C0CB6208645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709364232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5B6813E4-B9FF-448F-9689-0A77E7C60F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5B6813E4-B9FF-448F-9689-0A77E7C60F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08F6295A-F5F2-40E6-9500-0A150A9510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FE50204C-AD3B-46D2-9370-5B93E2FC7A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30B8B512-7A2C-41D0-858B-F538F12C2B1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87BD8D2-516C-4952-BC2C-8D630A4650F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8890C2F8-1A3A-42BC-9DF6-13CAA870114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3409DE3F-93BF-4056-8314-AB3F36B42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A2BDF66-272B-403F-9D20-A0B88C9C95CC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62367524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71ACF3DE-838F-4E47-9128-9DE7EA601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71ACF3DE-838F-4E47-9128-9DE7EA601E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D0CC50B-759D-43CA-95EE-332915768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1D29B45E-6A0B-4D8B-9613-C16B3357FF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6FADA1A2-F634-4D41-B4DE-E2C3B8CC909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07B135A4-053E-4263-A431-30954349B5F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54C63805-1A7B-44C9-B4AB-21C6B756C7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4" name="Foliennummernplatzhalter 2">
            <a:extLst>
              <a:ext uri="{FF2B5EF4-FFF2-40B4-BE49-F238E27FC236}">
                <a16:creationId xmlns:a16="http://schemas.microsoft.com/office/drawing/2014/main" id="{A5CF5C3C-8CF2-47AF-B20D-5F192C1EF1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BDF8DAB-4E99-4B24-8397-5504B2CCCD8A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698259107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EC9C5DD3-08D0-47AF-A70D-091F076541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EC9C5DD3-08D0-47AF-A70D-091F076541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971F5476-CAF5-4ACD-899F-AF6E693130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10">
            <a:extLst>
              <a:ext uri="{FF2B5EF4-FFF2-40B4-BE49-F238E27FC236}">
                <a16:creationId xmlns:a16="http://schemas.microsoft.com/office/drawing/2014/main" id="{FBC93869-D78F-4E42-A3F4-F407AEDB90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7">
            <a:extLst>
              <a:ext uri="{FF2B5EF4-FFF2-40B4-BE49-F238E27FC236}">
                <a16:creationId xmlns:a16="http://schemas.microsoft.com/office/drawing/2014/main" id="{8467D819-DAAF-4125-9E3D-64540FDCF5A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4" name="Grafik 9">
            <a:extLst>
              <a:ext uri="{FF2B5EF4-FFF2-40B4-BE49-F238E27FC236}">
                <a16:creationId xmlns:a16="http://schemas.microsoft.com/office/drawing/2014/main" id="{ACACC278-DB94-4744-BCF4-BE00FC99BFE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Gerader Verbinder 6">
            <a:extLst>
              <a:ext uri="{FF2B5EF4-FFF2-40B4-BE49-F238E27FC236}">
                <a16:creationId xmlns:a16="http://schemas.microsoft.com/office/drawing/2014/main" id="{6398CE65-C59F-4CBB-AF6B-78DE02BC4541}"/>
              </a:ext>
            </a:extLst>
          </p:cNvPr>
          <p:cNvCxnSpPr>
            <a:cxnSpLocks/>
          </p:cNvCxnSpPr>
          <p:nvPr/>
        </p:nvCxnSpPr>
        <p:spPr bwMode="gray">
          <a:xfrm>
            <a:off x="603250" y="4203700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7">
            <a:extLst>
              <a:ext uri="{FF2B5EF4-FFF2-40B4-BE49-F238E27FC236}">
                <a16:creationId xmlns:a16="http://schemas.microsoft.com/office/drawing/2014/main" id="{50478672-CD2B-4B31-9017-175496A78844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8">
            <a:extLst>
              <a:ext uri="{FF2B5EF4-FFF2-40B4-BE49-F238E27FC236}">
                <a16:creationId xmlns:a16="http://schemas.microsoft.com/office/drawing/2014/main" id="{02CCBBA2-32A9-43B5-8519-921B3F164522}"/>
              </a:ext>
            </a:extLst>
          </p:cNvPr>
          <p:cNvCxnSpPr>
            <a:cxnSpLocks/>
          </p:cNvCxnSpPr>
          <p:nvPr/>
        </p:nvCxnSpPr>
        <p:spPr bwMode="gray">
          <a:xfrm>
            <a:off x="8320088" y="4203700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9">
            <a:extLst>
              <a:ext uri="{FF2B5EF4-FFF2-40B4-BE49-F238E27FC236}">
                <a16:creationId xmlns:a16="http://schemas.microsoft.com/office/drawing/2014/main" id="{4FAAEDE5-3380-4663-9591-4DF99F944511}"/>
              </a:ext>
            </a:extLst>
          </p:cNvPr>
          <p:cNvCxnSpPr>
            <a:cxnSpLocks/>
          </p:cNvCxnSpPr>
          <p:nvPr/>
        </p:nvCxnSpPr>
        <p:spPr bwMode="gray">
          <a:xfrm>
            <a:off x="8320088" y="58308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85829808-46E7-4D5B-897E-AF8E9368976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9B2BA6EE-3FDF-4F64-A7EE-CCB604A5B15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A7FC2C5F-F72C-4197-A6E9-5A9ECE7F197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56278180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solidFill>
                <a:srgbClr val="555555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327397"/>
      </p:ext>
    </p:extLst>
  </p:cSld>
  <p:clrMapOvr>
    <a:masterClrMapping/>
  </p:clrMapOvr>
  <p:transition spd="slow">
    <p:wip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B1B09ADD-2223-4A7D-B2DF-1EAB1E47B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B1B09ADD-2223-4A7D-B2DF-1EAB1E47B8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167420F-5066-4444-BF37-7DBC060A52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5A217BB9-0D04-45CB-8A04-8D43442157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7">
            <a:extLst>
              <a:ext uri="{FF2B5EF4-FFF2-40B4-BE49-F238E27FC236}">
                <a16:creationId xmlns:a16="http://schemas.microsoft.com/office/drawing/2014/main" id="{05CAD0DD-C75B-4623-8A5F-07E762BBDB1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7" name="Grafik 9">
            <a:extLst>
              <a:ext uri="{FF2B5EF4-FFF2-40B4-BE49-F238E27FC236}">
                <a16:creationId xmlns:a16="http://schemas.microsoft.com/office/drawing/2014/main" id="{8B9EBAED-9E55-4FB9-9C21-F1D4F5995B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Gerader Verbinder 6">
            <a:extLst>
              <a:ext uri="{FF2B5EF4-FFF2-40B4-BE49-F238E27FC236}">
                <a16:creationId xmlns:a16="http://schemas.microsoft.com/office/drawing/2014/main" id="{96D1D12B-7951-4957-882F-F8A988DB3EA5}"/>
              </a:ext>
            </a:extLst>
          </p:cNvPr>
          <p:cNvCxnSpPr>
            <a:cxnSpLocks/>
          </p:cNvCxnSpPr>
          <p:nvPr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20">
            <a:extLst>
              <a:ext uri="{FF2B5EF4-FFF2-40B4-BE49-F238E27FC236}">
                <a16:creationId xmlns:a16="http://schemas.microsoft.com/office/drawing/2014/main" id="{D950D48B-97CF-42EA-976D-EFC434736506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23">
            <a:extLst>
              <a:ext uri="{FF2B5EF4-FFF2-40B4-BE49-F238E27FC236}">
                <a16:creationId xmlns:a16="http://schemas.microsoft.com/office/drawing/2014/main" id="{02A7A8FD-F323-4FB2-B903-D91CD5C4B4A5}"/>
              </a:ext>
            </a:extLst>
          </p:cNvPr>
          <p:cNvCxnSpPr>
            <a:cxnSpLocks/>
          </p:cNvCxnSpPr>
          <p:nvPr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9CE01DC9-EB83-47DE-A3F3-F698B4A9A2EC}"/>
              </a:ext>
            </a:extLst>
          </p:cNvPr>
          <p:cNvCxnSpPr>
            <a:cxnSpLocks/>
          </p:cNvCxnSpPr>
          <p:nvPr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7" name="Fußzeilenplatzhalter 1">
            <a:extLst>
              <a:ext uri="{FF2B5EF4-FFF2-40B4-BE49-F238E27FC236}">
                <a16:creationId xmlns:a16="http://schemas.microsoft.com/office/drawing/2014/main" id="{D965448B-4883-45C6-BFA4-7173103CC5A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7419378B-A736-4959-905F-8FBDD8B667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/>
            </a:lvl1pPr>
          </a:lstStyle>
          <a:p>
            <a:fld id="{64360E54-84B5-473D-9364-BCA7DD260CD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42597902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>
            <a:extLst>
              <a:ext uri="{FF2B5EF4-FFF2-40B4-BE49-F238E27FC236}">
                <a16:creationId xmlns:a16="http://schemas.microsoft.com/office/drawing/2014/main" id="{9893E0EA-7D91-4A7E-B63D-BEDCA37C6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7" name="Object 4" hidden="1">
                        <a:extLst>
                          <a:ext uri="{FF2B5EF4-FFF2-40B4-BE49-F238E27FC236}">
                            <a16:creationId xmlns:a16="http://schemas.microsoft.com/office/drawing/2014/main" id="{9893E0EA-7D91-4A7E-B63D-BEDCA37C6E6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D92D6E2-541C-49E1-B9A7-734EA4C4B3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7A99BFDE-0167-4C6D-ACBD-BFB82034E0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1C92EE9A-BA14-4694-A670-36702DF855EB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1115DE0F-611C-4496-A592-BCB71BAE3EC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8">
            <a:extLst>
              <a:ext uri="{FF2B5EF4-FFF2-40B4-BE49-F238E27FC236}">
                <a16:creationId xmlns:a16="http://schemas.microsoft.com/office/drawing/2014/main" id="{24653268-97D2-4908-867C-7EC109157874}"/>
              </a:ext>
            </a:extLst>
          </p:cNvPr>
          <p:cNvCxnSpPr>
            <a:cxnSpLocks/>
          </p:cNvCxnSpPr>
          <p:nvPr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32018091-E371-4ADF-A8B2-F671DA8196A5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5" name="Fußzeilenplatzhalter 1">
            <a:extLst>
              <a:ext uri="{FF2B5EF4-FFF2-40B4-BE49-F238E27FC236}">
                <a16:creationId xmlns:a16="http://schemas.microsoft.com/office/drawing/2014/main" id="{ED2B3D31-1656-449A-A00E-0556E16C70A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" name="Foliennummernplatzhalter 2">
            <a:extLst>
              <a:ext uri="{FF2B5EF4-FFF2-40B4-BE49-F238E27FC236}">
                <a16:creationId xmlns:a16="http://schemas.microsoft.com/office/drawing/2014/main" id="{51304265-F5F2-4394-9F16-5AC965B8C26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171C0446-6198-464B-975F-2FA08EDE169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655360410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F8783262-B633-46BE-9000-2E3825339C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F8783262-B633-46BE-9000-2E3825339C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82471F8-18CF-4825-B8C7-D0DCC0B388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0">
            <a:extLst>
              <a:ext uri="{FF2B5EF4-FFF2-40B4-BE49-F238E27FC236}">
                <a16:creationId xmlns:a16="http://schemas.microsoft.com/office/drawing/2014/main" id="{18F0B6AC-E987-43DA-BD59-D81E0DF07C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hteck 7">
            <a:extLst>
              <a:ext uri="{FF2B5EF4-FFF2-40B4-BE49-F238E27FC236}">
                <a16:creationId xmlns:a16="http://schemas.microsoft.com/office/drawing/2014/main" id="{50A1B1B8-5130-4E3A-B72A-3D31F0C704F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0" name="Grafik 9">
            <a:extLst>
              <a:ext uri="{FF2B5EF4-FFF2-40B4-BE49-F238E27FC236}">
                <a16:creationId xmlns:a16="http://schemas.microsoft.com/office/drawing/2014/main" id="{D345D316-2F7F-4967-82FB-65874143C3F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392F4FAB-E975-4F33-9ECD-3430AC6DDAC3}"/>
              </a:ext>
            </a:extLst>
          </p:cNvPr>
          <p:cNvCxnSpPr>
            <a:cxnSpLocks/>
          </p:cNvCxnSpPr>
          <p:nvPr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940E07D1-7550-4DC2-8325-2C5459F51EF5}"/>
              </a:ext>
            </a:extLst>
          </p:cNvPr>
          <p:cNvCxnSpPr>
            <a:cxnSpLocks/>
          </p:cNvCxnSpPr>
          <p:nvPr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5" name="Gerader Verbinder 18">
            <a:extLst>
              <a:ext uri="{FF2B5EF4-FFF2-40B4-BE49-F238E27FC236}">
                <a16:creationId xmlns:a16="http://schemas.microsoft.com/office/drawing/2014/main" id="{CB5EA48F-38FB-4B55-A7A0-10BF95BEEFDD}"/>
              </a:ext>
            </a:extLst>
          </p:cNvPr>
          <p:cNvCxnSpPr>
            <a:cxnSpLocks/>
          </p:cNvCxnSpPr>
          <p:nvPr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31">
            <a:extLst>
              <a:ext uri="{FF2B5EF4-FFF2-40B4-BE49-F238E27FC236}">
                <a16:creationId xmlns:a16="http://schemas.microsoft.com/office/drawing/2014/main" id="{841B56C4-60F7-42D9-A70D-187D386A6B76}"/>
              </a:ext>
            </a:extLst>
          </p:cNvPr>
          <p:cNvCxnSpPr>
            <a:cxnSpLocks/>
          </p:cNvCxnSpPr>
          <p:nvPr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34">
            <a:extLst>
              <a:ext uri="{FF2B5EF4-FFF2-40B4-BE49-F238E27FC236}">
                <a16:creationId xmlns:a16="http://schemas.microsoft.com/office/drawing/2014/main" id="{9AAACA16-6BB8-4C1E-A953-B9F33588ED0F}"/>
              </a:ext>
            </a:extLst>
          </p:cNvPr>
          <p:cNvCxnSpPr>
            <a:cxnSpLocks/>
          </p:cNvCxnSpPr>
          <p:nvPr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37">
            <a:extLst>
              <a:ext uri="{FF2B5EF4-FFF2-40B4-BE49-F238E27FC236}">
                <a16:creationId xmlns:a16="http://schemas.microsoft.com/office/drawing/2014/main" id="{E06CB7CC-BFF7-4F74-B302-8A3C5A321B19}"/>
              </a:ext>
            </a:extLst>
          </p:cNvPr>
          <p:cNvCxnSpPr>
            <a:cxnSpLocks/>
          </p:cNvCxnSpPr>
          <p:nvPr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BA061C64-88FA-4FDD-B4B4-FA1A44D7F6CF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2" name="Foliennummernplatzhalter 2">
            <a:extLst>
              <a:ext uri="{FF2B5EF4-FFF2-40B4-BE49-F238E27FC236}">
                <a16:creationId xmlns:a16="http://schemas.microsoft.com/office/drawing/2014/main" id="{4B98F573-C673-4C65-8BA1-88A86BB0892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/>
            </a:lvl1pPr>
          </a:lstStyle>
          <a:p>
            <a:fld id="{85BD0F20-E59D-459D-8D94-3DB7A00AD33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324339430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0810C08E-AB60-4FA1-91C1-D2C00525F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0810C08E-AB60-4FA1-91C1-D2C00525F69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5D6012E-317E-4071-81D8-0826A0FB4A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7D742EB1-0881-4562-A5BD-95D70AC89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9401968B-576E-4CFC-827E-A6DFA9608530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A026D697-0BFB-4926-9CB5-6908F2EF0C4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20CC4BF0-631F-4989-9CE0-1CAEE834C4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2FC1D37F-5ECB-4756-BD18-72883F64C2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55D499A3-7BAC-4CB7-9C34-EF3642A02B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330DD35-8F2D-424F-AF7C-06F38536AFE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213187415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8FC86ACD-B29E-4134-80F2-0E1011ACFD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8FC86ACD-B29E-4134-80F2-0E1011ACFD4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456DF89-D224-43C4-94F8-6D1A1B14CC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97E82CB1-D9C6-4A4C-BD35-58FB600524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44E4892E-96BE-438E-88E8-1DB81C4A94E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483E141D-E6C0-4087-B7B7-4A342B7D240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Rest">
            <a:extLst>
              <a:ext uri="{FF2B5EF4-FFF2-40B4-BE49-F238E27FC236}">
                <a16:creationId xmlns:a16="http://schemas.microsoft.com/office/drawing/2014/main" id="{70B8150C-C439-47AB-8DA0-4BF3BC21F2CA}"/>
              </a:ext>
            </a:extLst>
          </p:cNvPr>
          <p:cNvGrpSpPr>
            <a:grpSpLocks/>
          </p:cNvGrpSpPr>
          <p:nvPr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10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E8D1CE99-3635-4855-8AA7-BCD3AC9EB2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95AC327C-FF93-4221-AB7D-3D6A2A8427F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A36E0F4D-2C14-4F2C-8022-E55935BE474C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A9B8E5F-5180-4E53-9250-30453F43B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A425C73-6A03-4DD2-9820-F1E42899E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F1549A51-888D-4818-B966-5EBFC2E66F8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2A4C80-D224-495B-9250-07D296B9BF7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EB7E27B1-090A-48F1-85E0-54C08E9133C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2BAF815F-D1DC-4E67-8F84-C29DA8254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C64905E-3F12-4E6A-ACAD-49C187678D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CEC26A-964C-46C3-8E22-6E50DD71F78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6841D10B-89EC-46AC-9777-77A7768A1A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7A44AD4-7DE6-431C-8C70-469A8B116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3B529CAC-2272-46A5-BA87-0590FD596FF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C59DFEA-4A41-4685-A1F1-7892729EF2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814ECC70-9BA5-4DEA-B5A1-904BE2B63F3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22495ABB-FFAD-48D5-9A68-D8E74C15F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6129ECF-589D-4871-AD8E-28F214283F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C0A94FB-C40A-4076-AF53-0216C3E171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6CF4125-B1AE-4FF8-8F6A-911798C41D32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69485F7E-88B4-4B2B-B0A3-CCC311B714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4CFB204D-8642-45FA-88CB-F72AAA397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B0DA43F1-4F4F-45AB-975B-3010A3568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6DC87F7C-296B-4B52-87A9-0DABFCB7745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437B3D1F-A0D1-4557-A5DB-CE967176AE2C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5A5926E7-C326-49F3-95E0-5FDE7497C7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E58EEF57-49B5-4182-BF35-649FF070CC3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D99944-F792-4FB0-9901-DB4AA0E3DA4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B4F0DB64-4383-4165-B633-C138A9F41EB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AFD1E4F1-AF4C-40B3-A3CA-D906E13A5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DC0F28F-0BAD-4C7E-BD3A-18F7094334B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E96714CC-FB5D-49F3-BD6C-D87107C9F1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0F46BB7-2133-4846-BACB-9F21FB08A91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56F49BC2-A57F-4BE7-A149-57D2810C6432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482FFFD-F523-441D-B7CD-97C1C2E95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6FAAFF0-96C7-496F-ADBB-67EB7BB401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F15596DD-9185-4FFC-9110-7F59E73E19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662F303C-4A03-45C8-897E-14CF2E07D9F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A1DD43E1-2411-4C39-AEBE-9853148EE45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BAB2D79-FD98-41A8-90B8-618E9D30EC3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A4CA145-FFC5-4254-B843-F181984FEF4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AA699AAC-41CE-4EDB-B076-453212F73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DFD4045-F376-409D-ACFA-2A2ED3E7939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AD2690D4-4796-4A9A-A6EE-4416521A91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7E50655-A5D6-4B9D-B303-BA0B2577D63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8D72BAA5-00C5-400C-A965-4D3938046F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26519269-E56C-4A90-A531-267043D08A7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5F728DE5-8647-45B2-8637-C83710C138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8A19E5E3-5C3D-4FB5-B998-4CBBFFEB616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E845985-E496-4DE9-ADB1-27E517AB27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60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9D2E782F-1705-4055-8E0B-F437F578D0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7CC63764-520E-4EFF-AD76-A14F86B832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987EF92-F678-42C3-A8E8-8E8CF2B51BD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1248D230-50BE-4BE1-B057-71B309ECB2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451DD634-BCCF-44D3-84BC-F84DE35010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2DF2DB43-9858-42CE-8BD3-CEE387A62D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F67596-115A-485C-BCFE-6BD867669C7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A1BCA28-D4E1-441C-9460-ACDF7A79ECF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DB9A33C9-14C3-489E-A345-13187E506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CC824666-FCC8-4F14-8DBF-93F378DF30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EAAEFBEC-D1A4-48F2-92D5-39D009759A3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4A4337D0-55C7-4125-B85A-A920F4B035FB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248DDC08-CD58-4B61-8438-D2AAF87D45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3777174F-070C-4A25-80C3-331D98210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151B5286-898D-4A8F-A64E-B03F983F1A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BDFF105-E181-4B44-B3DF-AC7D1A9CF8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9B3E8AB0-9186-4A9D-8567-A9FBCB796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5C4D0CD3-24AE-47D2-A276-C27370C4C2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092B3E0F-A2C5-4D35-A603-2EA14B1183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C848B40-2CC4-4C46-AD71-7C0E375738A9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Freeform 8">
              <a:extLst>
                <a:ext uri="{FF2B5EF4-FFF2-40B4-BE49-F238E27FC236}">
                  <a16:creationId xmlns:a16="http://schemas.microsoft.com/office/drawing/2014/main" id="{DD43B507-E51A-4C71-B2D8-E3A97A15C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6833A06F-08A1-4B4E-9D8B-4CB33F5B5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FADBB1E7-5833-4F3E-9FE6-BC82A69DDDFD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3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2C71A92-D490-44C1-94CB-EA3D7E2183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5F192EDF-9FBC-4458-AB48-49EC36489E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5" name="Central_East_Europe_Middle_East">
            <a:extLst>
              <a:ext uri="{FF2B5EF4-FFF2-40B4-BE49-F238E27FC236}">
                <a16:creationId xmlns:a16="http://schemas.microsoft.com/office/drawing/2014/main" id="{E51E22A5-5ECA-4C33-A358-0DB85F920AA9}"/>
              </a:ext>
            </a:extLst>
          </p:cNvPr>
          <p:cNvGrpSpPr>
            <a:grpSpLocks/>
          </p:cNvGrpSpPr>
          <p:nvPr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9E090E64-B855-4823-9D79-30D4464406A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C512517E-F9A5-46EF-B353-C99DFBB49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E524E534-D1D6-4E12-9008-7C1952A9F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1520033-1DC8-4247-A15B-AB0C070C3D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596C3D9F-D23B-419C-91D8-605CC0DB1D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1636E1E8-D373-4133-8375-17C509A9AE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2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6A21D3AC-C252-48C8-A2F4-20E8E6D33B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AAA41F2-3F8A-4053-A05B-74B7BBB84B7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746FCE1B-B2A6-4E47-B73B-0399C187FB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5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165184A-8EB3-4D57-BEAA-2EC6A52E42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ED84704-295D-4225-9970-7CA0894CCB4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4AF9A795-3D75-4740-9903-8943992CD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5D84C90B-5033-436D-A8DD-401E558C35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B8E7B4FB-5B14-47D4-AC0F-F45F3A9D016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2F1E691-9D20-4E50-9865-DD213FF01C5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7FCE8A58-092F-4104-BD49-9DB06C910C8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D5E10A21-35A9-40FF-B456-981C67AFC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3B85402F-8EB7-4502-82F2-9E4A4CD997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587E351C-68BB-48CC-8BDD-A244C58DE1E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280D9D5F-DF60-4A06-AB54-3458CA0A4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C467BDFE-3D9F-43A3-AECB-6C27EC91D7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7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089CAF37-C905-4807-ADE6-02D7CD04FD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D4390F21-CA8E-47B6-9B68-8E21F9F782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668CE34E-5767-4D63-A41E-E56A428F1A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E19439DC-23D5-491A-A5FD-56011323DE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6CB585B7-6FE1-4ACB-8818-D1D590D89A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22B402-B2FA-453B-8979-9F2C76218A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B2F52B4A-7706-4C55-ABE9-4EB5430C09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4B36E73D-F53F-48D9-88D4-195F699967F8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5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51FAC341-203B-4E1E-A8EE-9A44984717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6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34FB77C-9EF7-4312-9388-94D3C4F67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7" name="Group 340">
              <a:extLst>
                <a:ext uri="{FF2B5EF4-FFF2-40B4-BE49-F238E27FC236}">
                  <a16:creationId xmlns:a16="http://schemas.microsoft.com/office/drawing/2014/main" id="{E25BEEB9-AC6C-4174-B9F2-92F4CA9EA93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8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35F5D3F-0C96-4C44-9015-4D488556BF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9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F474F4C-D0C7-48CD-B4CD-00C42D40C94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20" name="South_africa_Oceanea">
            <a:extLst>
              <a:ext uri="{FF2B5EF4-FFF2-40B4-BE49-F238E27FC236}">
                <a16:creationId xmlns:a16="http://schemas.microsoft.com/office/drawing/2014/main" id="{557875A7-56C7-4CAF-8F21-DB4141B66FAA}"/>
              </a:ext>
            </a:extLst>
          </p:cNvPr>
          <p:cNvGrpSpPr>
            <a:grpSpLocks/>
          </p:cNvGrpSpPr>
          <p:nvPr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21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4D502B89-699D-4187-8442-F6822BB19DC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99CA718F-E9A2-4750-A62E-415E281E92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3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15F1040-66A1-49B7-8A55-9497B61A958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627ECAA4-7DE2-442B-A8A0-4A19A897AC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8493A65-E6ED-40D3-9C9E-4D2254274C76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0ADBE680-3054-4A23-B960-095F298249E5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44B50550-AB1A-48D3-9BEE-BEE84744CE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909B73E9-FC07-4C2B-87B1-D3788FF3760F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F13C0DC7-321D-4359-8E08-DB9F05F5F3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2F1B9358-6B97-4D7F-ACA1-20247DCE8B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63ADA231-B15A-4EB4-A356-B8A3D8A72A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A4E1F45-9727-4077-BBE5-F4FF9B55DCE9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3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F75BB96D-DB52-47DC-8144-95E9636DF228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067E367C-25D3-4DB7-95D8-66FF51A801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5" name="Asia">
            <a:extLst>
              <a:ext uri="{FF2B5EF4-FFF2-40B4-BE49-F238E27FC236}">
                <a16:creationId xmlns:a16="http://schemas.microsoft.com/office/drawing/2014/main" id="{F6F9ADCE-8F65-4C6A-9380-D87A38381237}"/>
              </a:ext>
            </a:extLst>
          </p:cNvPr>
          <p:cNvGrpSpPr>
            <a:grpSpLocks/>
          </p:cNvGrpSpPr>
          <p:nvPr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D15A1A9C-B279-4B11-B45F-2F79813DCB2B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8F33537D-270C-43B0-902B-1635E95EA8C4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09CF6D5E-602E-4B7D-AAD4-D7A6E958C77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1A13CEF-38B3-4841-A901-4710990D26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40D19A66-6CE8-4F82-B610-9C2AB42EA9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4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6ADC6B62-07A7-46F3-AA1F-87B753685A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2" name="South_West_Europe">
            <a:extLst>
              <a:ext uri="{FF2B5EF4-FFF2-40B4-BE49-F238E27FC236}">
                <a16:creationId xmlns:a16="http://schemas.microsoft.com/office/drawing/2014/main" id="{A6BF6D38-A118-4EF1-8971-5DA8AFBE2021}"/>
              </a:ext>
            </a:extLst>
          </p:cNvPr>
          <p:cNvGrpSpPr>
            <a:grpSpLocks/>
          </p:cNvGrpSpPr>
          <p:nvPr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4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E941CD6-5543-4008-BCB5-6F55CA42AC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5F81E2CA-A29D-4242-A5FB-A47AA83136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BCD99E0E-A7EF-4DFD-97CD-0A69104CF2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947B6C8-DB26-47DB-93F6-82C951EE0F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3640837-0D04-4596-BFA9-B403CCA9F0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8" name="North_West_Europe">
            <a:extLst>
              <a:ext uri="{FF2B5EF4-FFF2-40B4-BE49-F238E27FC236}">
                <a16:creationId xmlns:a16="http://schemas.microsoft.com/office/drawing/2014/main" id="{F8A60A73-20D3-4F83-9AB8-7A253F78BEE0}"/>
              </a:ext>
            </a:extLst>
          </p:cNvPr>
          <p:cNvGrpSpPr>
            <a:grpSpLocks/>
          </p:cNvGrpSpPr>
          <p:nvPr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51216A2D-AE31-4E39-AB6C-C20995F656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C25C3172-CD82-4AD8-8A1C-E1E8422D9E3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51685B1F-5FC1-41E0-83CC-272C92975D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ED306C12-286F-449F-A0E6-32C7D8B629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4615EC69-1A11-4D89-8EEB-4B3FD4CB9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4A98667-B991-4E89-A945-4D121554BC0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FD40027-0AB9-4D89-B795-5E28960880F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5D67AC-C813-4B8A-9B2D-5BC6E9FC34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B9B3E22-8A93-4775-8F4B-1011B88DC6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520DC63-8378-425F-ABA8-13B5F2351F3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8807BD9A-90D2-448A-86F8-1425425AC16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0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D2634E8-9711-4A74-AEB9-EC62DF0CF97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1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7BC85CA6-D238-44FD-8C52-A2CE59C76A2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2" name="South_america">
            <a:extLst>
              <a:ext uri="{FF2B5EF4-FFF2-40B4-BE49-F238E27FC236}">
                <a16:creationId xmlns:a16="http://schemas.microsoft.com/office/drawing/2014/main" id="{BE37F57E-A9CE-4AB9-8C9F-802644E4A992}"/>
              </a:ext>
            </a:extLst>
          </p:cNvPr>
          <p:cNvGrpSpPr>
            <a:grpSpLocks/>
          </p:cNvGrpSpPr>
          <p:nvPr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6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A8877C8-E010-4292-BC24-B0B1DBA1982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F3E66AEC-E88F-4178-9CED-0D5634573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295FCD82-F6AD-4E78-AE20-9960D52168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A097DDCA-85F9-42BA-AD0F-44FD81568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A8FB0D9E-6FA2-464D-B52F-916AB4BDBE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0AD03A74-FD8F-4414-9020-2764442141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D59DDEF-FC72-4F31-BD53-2EC34E0221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CA0584EA-7931-44E5-A08C-D4E7151CEF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02E3EF08-E172-4707-90E3-B39BC5F4EC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0ECAED1-4225-40E5-A58A-7DC9A145CF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3" name="North_America">
            <a:extLst>
              <a:ext uri="{FF2B5EF4-FFF2-40B4-BE49-F238E27FC236}">
                <a16:creationId xmlns:a16="http://schemas.microsoft.com/office/drawing/2014/main" id="{20438D1E-117D-4454-BBA2-8521BBA5B191}"/>
              </a:ext>
            </a:extLst>
          </p:cNvPr>
          <p:cNvGrpSpPr>
            <a:grpSpLocks/>
          </p:cNvGrpSpPr>
          <p:nvPr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54E5549E-CEDD-4364-AF2A-5E7F45DDC5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7C47EFDE-E44C-4E7B-B503-C06577D2E6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C4183FCB-73C9-4A08-B88B-C743B888107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DA739B49-4E42-437D-8A55-8038E5E7561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8AEA82C7-C1B1-4D9F-BA0D-D62A1FCF71B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836BECC-1B76-4701-AD55-56DB8BF21F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7F254B96-B2CB-45A2-97EB-5E25D4E1E3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6686131-F90D-4850-9DB5-3EA42E7204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1B864CEE-BD9E-41DF-A981-B8B64472F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7252956A-111A-4B13-8006-34EC1B14357A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8CC77DE5-F73F-4F7C-8558-35A7872C86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DD726C31-28EF-4F1F-82C8-99EC34365FE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2A940726-E023-4C8D-BD3E-897CBF787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7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D4FEA3FE-C701-4C50-BB73-CEF5EACDEB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8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1F9A5F34-2F46-403E-AE33-DA50360D98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9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30F06738-B595-4B37-8E59-C2E14BC2BF6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90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C2279D3A-ED0E-407A-A67A-CC729313EDEE}"/>
              </a:ext>
            </a:extLst>
          </p:cNvPr>
          <p:cNvSpPr>
            <a:spLocks/>
          </p:cNvSpPr>
          <p:nvPr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91" name="Link_North_america">
            <a:extLst>
              <a:ext uri="{FF2B5EF4-FFF2-40B4-BE49-F238E27FC236}">
                <a16:creationId xmlns:a16="http://schemas.microsoft.com/office/drawing/2014/main" id="{7708E59A-3EB3-48C7-9EFE-704A85EC6511}"/>
              </a:ext>
            </a:extLst>
          </p:cNvPr>
          <p:cNvSpPr/>
          <p:nvPr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2" name="Link_South_America">
            <a:extLst>
              <a:ext uri="{FF2B5EF4-FFF2-40B4-BE49-F238E27FC236}">
                <a16:creationId xmlns:a16="http://schemas.microsoft.com/office/drawing/2014/main" id="{1BC00C1E-1302-402E-A98F-BC8CA224CC2E}"/>
              </a:ext>
            </a:extLst>
          </p:cNvPr>
          <p:cNvSpPr/>
          <p:nvPr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3" name="Link_South_Africa">
            <a:extLst>
              <a:ext uri="{FF2B5EF4-FFF2-40B4-BE49-F238E27FC236}">
                <a16:creationId xmlns:a16="http://schemas.microsoft.com/office/drawing/2014/main" id="{03630FC3-C82B-4E94-AA0A-3892928C36B7}"/>
              </a:ext>
            </a:extLst>
          </p:cNvPr>
          <p:cNvSpPr/>
          <p:nvPr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4" name="Link_Asia">
            <a:extLst>
              <a:ext uri="{FF2B5EF4-FFF2-40B4-BE49-F238E27FC236}">
                <a16:creationId xmlns:a16="http://schemas.microsoft.com/office/drawing/2014/main" id="{FD8EED7B-A20A-4130-9977-E988D17F0925}"/>
              </a:ext>
            </a:extLst>
          </p:cNvPr>
          <p:cNvSpPr/>
          <p:nvPr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5" name="Link_Central_East_Europe_Middle_East">
            <a:extLst>
              <a:ext uri="{FF2B5EF4-FFF2-40B4-BE49-F238E27FC236}">
                <a16:creationId xmlns:a16="http://schemas.microsoft.com/office/drawing/2014/main" id="{F77427A3-363E-4DEA-A9A0-C91D84A6FC67}"/>
              </a:ext>
            </a:extLst>
          </p:cNvPr>
          <p:cNvSpPr/>
          <p:nvPr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6" name="Link_North_West_Europe">
            <a:extLst>
              <a:ext uri="{FF2B5EF4-FFF2-40B4-BE49-F238E27FC236}">
                <a16:creationId xmlns:a16="http://schemas.microsoft.com/office/drawing/2014/main" id="{B158C669-1C35-4FF1-9755-39903500CF32}"/>
              </a:ext>
            </a:extLst>
          </p:cNvPr>
          <p:cNvSpPr/>
          <p:nvPr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7" name="Link_South_West_Europe">
            <a:extLst>
              <a:ext uri="{FF2B5EF4-FFF2-40B4-BE49-F238E27FC236}">
                <a16:creationId xmlns:a16="http://schemas.microsoft.com/office/drawing/2014/main" id="{67CFDC69-60AE-477A-81F1-21771C7D93B2}"/>
              </a:ext>
            </a:extLst>
          </p:cNvPr>
          <p:cNvSpPr/>
          <p:nvPr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8" name="Link_Germany">
            <a:extLst>
              <a:ext uri="{FF2B5EF4-FFF2-40B4-BE49-F238E27FC236}">
                <a16:creationId xmlns:a16="http://schemas.microsoft.com/office/drawing/2014/main" id="{6B44E0A2-411C-4315-AD7B-B98987300AB9}"/>
              </a:ext>
            </a:extLst>
          </p:cNvPr>
          <p:cNvSpPr/>
          <p:nvPr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99" name="Fußzeilenplatzhalter 1">
            <a:extLst>
              <a:ext uri="{FF2B5EF4-FFF2-40B4-BE49-F238E27FC236}">
                <a16:creationId xmlns:a16="http://schemas.microsoft.com/office/drawing/2014/main" id="{5FDBF0A5-ED5D-4D97-BDAA-846738863A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00" name="Foliennummernplatzhalter 2">
            <a:extLst>
              <a:ext uri="{FF2B5EF4-FFF2-40B4-BE49-F238E27FC236}">
                <a16:creationId xmlns:a16="http://schemas.microsoft.com/office/drawing/2014/main" id="{2966B155-20AA-4051-8E5F-AD763B76EF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A719CAE-939C-431E-A083-34DA367B8D3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75215486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48AB1643-168B-4331-BCBB-62CD77024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48AB1643-168B-4331-BCBB-62CD77024C4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2EA8C8BE-9FD4-415C-9794-8CAC38896C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5FE0CED2-BAFE-469A-8107-EF903A1418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12DFCD81-CC45-4A40-B585-30E73D68473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901383B5-426A-40B5-9A4A-6C999E88E3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bject 27">
            <a:extLst>
              <a:ext uri="{FF2B5EF4-FFF2-40B4-BE49-F238E27FC236}">
                <a16:creationId xmlns:a16="http://schemas.microsoft.com/office/drawing/2014/main" id="{BD88857D-A063-4733-901B-791E01824004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97C4A8B0-F709-4B35-B8AA-D65458CE8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1D4FCB38-2E51-47F0-8D6D-13E858294E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01EBE67-74B4-4DAB-8AFC-F59F0E401BD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03234363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AB900EF6-E039-4E2F-ACB3-9FEFFD074D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AB900EF6-E039-4E2F-ACB3-9FEFFD074D6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4B98BFA-E2B0-4103-9146-F028FEB988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B318F9C9-A0B0-4888-B71A-4CF7EDFA5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68F46698-F72A-44DB-A563-A273BFF502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D71CC5E-A163-428B-861C-5D9CC654B9B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bject 27">
            <a:extLst>
              <a:ext uri="{FF2B5EF4-FFF2-40B4-BE49-F238E27FC236}">
                <a16:creationId xmlns:a16="http://schemas.microsoft.com/office/drawing/2014/main" id="{AAED4501-6E26-4532-8207-1CE46B07D192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29F92120-91F5-4355-A17D-ABC7B5591F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EAA53F94-F352-4AA5-A48E-5FDAFDC287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B444E9F-1DCB-4B81-A640-C43C49AC2534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40009478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638E2E1B-3574-4F6B-A167-6C65739AB2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638E2E1B-3574-4F6B-A167-6C65739AB24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89637113-C838-4FD8-9CA9-8108CFD5C0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6605F8E2-14D9-4EE2-AB59-03DDF2EF71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71062F1F-9D60-459B-ADAA-AD1D30E112A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5177B7EC-AF22-4E2E-87C9-A978664B20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bject 27">
            <a:extLst>
              <a:ext uri="{FF2B5EF4-FFF2-40B4-BE49-F238E27FC236}">
                <a16:creationId xmlns:a16="http://schemas.microsoft.com/office/drawing/2014/main" id="{06325EB3-E681-44F6-8E65-6241FDD886F6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A5EFD723-943F-4D5B-BB06-F28F8D10D4A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EB61E185-68F0-4BED-8C9A-6EC6A7C1660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3332048C-6896-45C1-B66E-F39E2674C6C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02702490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E112D67E-E538-4DAA-B60D-3F6DE19E5C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D3B95FE4-A5EA-4680-A258-C9F7773FA7C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601DACCE-D4F1-45A1-B1C5-BA9D78E3CD81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557246745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F5721DB-164C-4EF2-8BEF-3DA3738B55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7A5DD4E6-6493-45ED-BF57-ED8D98A151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6C240481-F913-45B9-8205-1412E9D0AACA}"/>
              </a:ext>
            </a:extLst>
          </p:cNvPr>
          <p:cNvSpPr/>
          <p:nvPr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AE2AF79D-5A5E-4152-BADA-6505B15C07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1DD4EF1D-3928-43FD-BE23-CD7EE29DBE6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F96F05AE-E9D2-4E07-86E1-C902CE696F83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890706697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5AD6811-CEFC-4941-846B-5AA2217BEB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0269DCD-0B77-4466-9843-15BD2EDC1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Dekra">
            <a:extLst>
              <a:ext uri="{FF2B5EF4-FFF2-40B4-BE49-F238E27FC236}">
                <a16:creationId xmlns:a16="http://schemas.microsoft.com/office/drawing/2014/main" id="{764122F8-766A-42DE-9536-7663201637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2189101"/>
      </p:ext>
    </p:extLst>
  </p:cSld>
  <p:clrMapOvr>
    <a:masterClrMapping/>
  </p:clrMapOvr>
  <p:transition spd="slow">
    <p:wip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A5DD682C-30BC-464A-B9C2-EE5D6658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A5DD682C-30BC-464A-B9C2-EE5D66582C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BCE23D2-5301-4421-BDBC-920910350C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6C864A33-5202-4B42-9C1A-CDD4BC0D34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65F6F164-C7E1-4593-8DED-EF907096998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6B350DD5-CAF2-4341-90A1-C28FF29276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9C0B4B8E-AEEF-417A-9451-E20503B5B8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2230AE2B-B092-4796-A6D3-8849D3BAC2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0959E4A-9D6C-4178-98D3-0968AE44A4C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88228147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>
            <a:extLst>
              <a:ext uri="{FF2B5EF4-FFF2-40B4-BE49-F238E27FC236}">
                <a16:creationId xmlns:a16="http://schemas.microsoft.com/office/drawing/2014/main" id="{85229AE2-F986-4590-901A-E3F37ED237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9">
            <a:extLst>
              <a:ext uri="{FF2B5EF4-FFF2-40B4-BE49-F238E27FC236}">
                <a16:creationId xmlns:a16="http://schemas.microsoft.com/office/drawing/2014/main" id="{32A08820-6A2A-47AF-9688-DBB6BE80B8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53EBC82A-C138-409E-AC42-B24B7DAB61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0281BCE9-1722-4F40-9434-8F41FA0A99E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B14AEFE3-D105-4979-B5FE-D9ACC35660C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336F46-453C-4B41-8DC7-603E9728863A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633303444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A402D886-B964-4CCF-A573-0A5E2CDA18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93EAFC17-4D65-4635-8A45-DFBF734140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C8023538-9A05-453C-B162-76DE5FFCC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87DF69D7-29EF-4939-A8F4-339A2AD110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D8A0BA-0797-4C00-BE76-013DB11CB87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59902196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804240FF-99DD-45A1-8D1C-9DB9ED0B26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352FC7CB-CF4C-43A1-9FD6-3DC785A834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E4CDB4F7-6739-4839-9381-D166AEB4E1E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BD96BA7E-C7DF-405A-95DC-D0883A279E2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6E8DE-FA49-474B-9C19-D54C0E87ECD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08075488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9">
            <a:extLst>
              <a:ext uri="{FF2B5EF4-FFF2-40B4-BE49-F238E27FC236}">
                <a16:creationId xmlns:a16="http://schemas.microsoft.com/office/drawing/2014/main" id="{904F328D-22D3-41E2-B868-E97DC90AB5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1">
            <a:extLst>
              <a:ext uri="{FF2B5EF4-FFF2-40B4-BE49-F238E27FC236}">
                <a16:creationId xmlns:a16="http://schemas.microsoft.com/office/drawing/2014/main" id="{AAE6C13C-BA23-445C-9E5A-F6B1024DC4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701A76A8-7A36-405D-B3A8-D9430DA4DD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6845C844-FCE8-4CEB-B93F-757F668753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EBA388F-5F9B-4FB6-B866-F98F06BC707C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828367107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0">
            <a:extLst>
              <a:ext uri="{FF2B5EF4-FFF2-40B4-BE49-F238E27FC236}">
                <a16:creationId xmlns:a16="http://schemas.microsoft.com/office/drawing/2014/main" id="{BFE232D4-8D3E-49FA-8B9D-41E9413EAF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02E5F1CC-BEB7-4C77-ADAF-447087D53D59}"/>
              </a:ext>
            </a:extLst>
          </p:cNvPr>
          <p:cNvCxnSpPr>
            <a:cxnSpLocks/>
          </p:cNvCxnSpPr>
          <p:nvPr/>
        </p:nvCxnSpPr>
        <p:spPr bwMode="gray">
          <a:xfrm>
            <a:off x="603250" y="40020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8D95657A-D9CD-4F70-932B-1A732B88345D}"/>
              </a:ext>
            </a:extLst>
          </p:cNvPr>
          <p:cNvCxnSpPr>
            <a:cxnSpLocks/>
          </p:cNvCxnSpPr>
          <p:nvPr/>
        </p:nvCxnSpPr>
        <p:spPr bwMode="gray">
          <a:xfrm>
            <a:off x="603250" y="5629275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834D5C9B-5035-4107-9422-34380F4AD0F4}"/>
              </a:ext>
            </a:extLst>
          </p:cNvPr>
          <p:cNvCxnSpPr>
            <a:cxnSpLocks/>
          </p:cNvCxnSpPr>
          <p:nvPr/>
        </p:nvCxnSpPr>
        <p:spPr bwMode="gray">
          <a:xfrm>
            <a:off x="8320088" y="40020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9">
            <a:extLst>
              <a:ext uri="{FF2B5EF4-FFF2-40B4-BE49-F238E27FC236}">
                <a16:creationId xmlns:a16="http://schemas.microsoft.com/office/drawing/2014/main" id="{D20BDD7F-B5A7-49F2-BA1B-AA49AF97BABA}"/>
              </a:ext>
            </a:extLst>
          </p:cNvPr>
          <p:cNvCxnSpPr>
            <a:cxnSpLocks/>
          </p:cNvCxnSpPr>
          <p:nvPr/>
        </p:nvCxnSpPr>
        <p:spPr bwMode="gray">
          <a:xfrm>
            <a:off x="8320088" y="5629275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2">
            <a:extLst>
              <a:ext uri="{FF2B5EF4-FFF2-40B4-BE49-F238E27FC236}">
                <a16:creationId xmlns:a16="http://schemas.microsoft.com/office/drawing/2014/main" id="{2B00A604-68C7-43B8-B029-2DE513BFE5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4D207145-F4ED-48C3-AC53-8CC9EB7E58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13FA10D1-712C-4F25-B0C0-B8563900640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5C700F-307C-482F-9E37-84C1F5CFF9F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55479974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3">
            <a:extLst>
              <a:ext uri="{FF2B5EF4-FFF2-40B4-BE49-F238E27FC236}">
                <a16:creationId xmlns:a16="http://schemas.microsoft.com/office/drawing/2014/main" id="{9ABDDA31-E0FB-4DEE-BFD7-5C21DEDF9E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r Verbinder 6">
            <a:extLst>
              <a:ext uri="{FF2B5EF4-FFF2-40B4-BE49-F238E27FC236}">
                <a16:creationId xmlns:a16="http://schemas.microsoft.com/office/drawing/2014/main" id="{B9E02A83-A7D0-4389-8C55-B95F0FA1B4E9}"/>
              </a:ext>
            </a:extLst>
          </p:cNvPr>
          <p:cNvCxnSpPr>
            <a:cxnSpLocks/>
          </p:cNvCxnSpPr>
          <p:nvPr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5D16655F-45B9-4B01-98E3-C950386F9C1C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0" name="Grafik 14">
            <a:extLst>
              <a:ext uri="{FF2B5EF4-FFF2-40B4-BE49-F238E27FC236}">
                <a16:creationId xmlns:a16="http://schemas.microsoft.com/office/drawing/2014/main" id="{A0E6880F-A2ED-48C9-B71E-4A92E80FEA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73BF8E7C-4347-462F-9B29-92012AE1C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820C1EA4-51BC-471A-BAB2-F7F55F4240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FC1368-854C-43DD-A2AC-3462A3BB0373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052855778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0">
            <a:extLst>
              <a:ext uri="{FF2B5EF4-FFF2-40B4-BE49-F238E27FC236}">
                <a16:creationId xmlns:a16="http://schemas.microsoft.com/office/drawing/2014/main" id="{3B8AB486-9D57-46B4-876D-625EFE601E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9A236C0A-DAF5-4FCE-9760-4F6B025B0F8F}"/>
              </a:ext>
            </a:extLst>
          </p:cNvPr>
          <p:cNvCxnSpPr>
            <a:cxnSpLocks/>
          </p:cNvCxnSpPr>
          <p:nvPr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94CC4324-7801-4F5A-AAAE-0EE9046A6881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3">
            <a:extLst>
              <a:ext uri="{FF2B5EF4-FFF2-40B4-BE49-F238E27FC236}">
                <a16:creationId xmlns:a16="http://schemas.microsoft.com/office/drawing/2014/main" id="{4B53145B-9504-419B-A9D3-AA27CEB6D0FE}"/>
              </a:ext>
            </a:extLst>
          </p:cNvPr>
          <p:cNvCxnSpPr>
            <a:cxnSpLocks/>
          </p:cNvCxnSpPr>
          <p:nvPr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6">
            <a:extLst>
              <a:ext uri="{FF2B5EF4-FFF2-40B4-BE49-F238E27FC236}">
                <a16:creationId xmlns:a16="http://schemas.microsoft.com/office/drawing/2014/main" id="{5C75F54B-BA6F-4377-BF15-EACFC0F7E3A3}"/>
              </a:ext>
            </a:extLst>
          </p:cNvPr>
          <p:cNvCxnSpPr>
            <a:cxnSpLocks/>
          </p:cNvCxnSpPr>
          <p:nvPr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8" name="Grafik 31">
            <a:extLst>
              <a:ext uri="{FF2B5EF4-FFF2-40B4-BE49-F238E27FC236}">
                <a16:creationId xmlns:a16="http://schemas.microsoft.com/office/drawing/2014/main" id="{11B9B63A-02B7-425C-BBAF-14E172FA48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9" name="Fußzeilenplatzhalter 1">
            <a:extLst>
              <a:ext uri="{FF2B5EF4-FFF2-40B4-BE49-F238E27FC236}">
                <a16:creationId xmlns:a16="http://schemas.microsoft.com/office/drawing/2014/main" id="{1D778FD6-962A-4C82-AEEB-0B0D1A2ABB7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1" name="Foliennummernplatzhalter 2">
            <a:extLst>
              <a:ext uri="{FF2B5EF4-FFF2-40B4-BE49-F238E27FC236}">
                <a16:creationId xmlns:a16="http://schemas.microsoft.com/office/drawing/2014/main" id="{CB1E3652-C539-4D4A-86AD-4C2EED7B14D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6A3E19-1DCB-425E-A3AC-A8A0213B004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567179136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3">
            <a:extLst>
              <a:ext uri="{FF2B5EF4-FFF2-40B4-BE49-F238E27FC236}">
                <a16:creationId xmlns:a16="http://schemas.microsoft.com/office/drawing/2014/main" id="{D2D0C22C-93BC-4B4F-9207-F581EB3FC3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Gerader Verbinder 6">
            <a:extLst>
              <a:ext uri="{FF2B5EF4-FFF2-40B4-BE49-F238E27FC236}">
                <a16:creationId xmlns:a16="http://schemas.microsoft.com/office/drawing/2014/main" id="{FA78A500-D7D1-4300-BDD6-503EAA324D39}"/>
              </a:ext>
            </a:extLst>
          </p:cNvPr>
          <p:cNvCxnSpPr>
            <a:cxnSpLocks/>
          </p:cNvCxnSpPr>
          <p:nvPr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20">
            <a:extLst>
              <a:ext uri="{FF2B5EF4-FFF2-40B4-BE49-F238E27FC236}">
                <a16:creationId xmlns:a16="http://schemas.microsoft.com/office/drawing/2014/main" id="{66775353-C88D-4664-9AF0-1CD211C49A93}"/>
              </a:ext>
            </a:extLst>
          </p:cNvPr>
          <p:cNvCxnSpPr>
            <a:cxnSpLocks/>
          </p:cNvCxnSpPr>
          <p:nvPr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11">
            <a:extLst>
              <a:ext uri="{FF2B5EF4-FFF2-40B4-BE49-F238E27FC236}">
                <a16:creationId xmlns:a16="http://schemas.microsoft.com/office/drawing/2014/main" id="{6EEAD910-1347-47CE-9592-67AFCCEE9C94}"/>
              </a:ext>
            </a:extLst>
          </p:cNvPr>
          <p:cNvCxnSpPr>
            <a:cxnSpLocks/>
          </p:cNvCxnSpPr>
          <p:nvPr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225D78DF-E066-4B96-B6A2-9F8143ACF435}"/>
              </a:ext>
            </a:extLst>
          </p:cNvPr>
          <p:cNvCxnSpPr>
            <a:cxnSpLocks/>
          </p:cNvCxnSpPr>
          <p:nvPr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39CDAD1F-E2CA-4CB1-B886-736D7547B3A1}"/>
              </a:ext>
            </a:extLst>
          </p:cNvPr>
          <p:cNvCxnSpPr>
            <a:cxnSpLocks/>
          </p:cNvCxnSpPr>
          <p:nvPr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37">
            <a:extLst>
              <a:ext uri="{FF2B5EF4-FFF2-40B4-BE49-F238E27FC236}">
                <a16:creationId xmlns:a16="http://schemas.microsoft.com/office/drawing/2014/main" id="{4606C4AA-B43C-44C9-A4C5-CB321A900FFC}"/>
              </a:ext>
            </a:extLst>
          </p:cNvPr>
          <p:cNvCxnSpPr>
            <a:cxnSpLocks/>
          </p:cNvCxnSpPr>
          <p:nvPr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5">
            <a:extLst>
              <a:ext uri="{FF2B5EF4-FFF2-40B4-BE49-F238E27FC236}">
                <a16:creationId xmlns:a16="http://schemas.microsoft.com/office/drawing/2014/main" id="{D7630056-9C65-48E5-8C4D-6081B41224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3084B7D3-BD85-439C-BC6C-5D4184FEC08F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4A6EE968-7C96-4DBD-84F5-9401E8CF502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AF1419B-BC52-45AB-A9D3-17609D49972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53249592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0199DB6F-D0E7-4D0C-9842-A10F4D7793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8">
            <a:extLst>
              <a:ext uri="{FF2B5EF4-FFF2-40B4-BE49-F238E27FC236}">
                <a16:creationId xmlns:a16="http://schemas.microsoft.com/office/drawing/2014/main" id="{547C0EA1-C06D-478B-B907-86A875F04E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E7282E61-D584-429E-9D57-C76214C22C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28E70FFC-D143-4126-9E21-19EBDD98C3A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BB6DC4-F8B6-4BBF-B883-EFB1B4835B6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3166169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0730729-371B-49CF-95E5-5547541C16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600FAB-1FF2-4271-9940-1DEDB4EB3C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0EF63F6-8B55-4D0D-81CC-A9194C6F26E7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Dekra">
            <a:extLst>
              <a:ext uri="{FF2B5EF4-FFF2-40B4-BE49-F238E27FC236}">
                <a16:creationId xmlns:a16="http://schemas.microsoft.com/office/drawing/2014/main" id="{764122F8-766A-42DE-9536-7663201637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4258667"/>
      </p:ext>
    </p:extLst>
  </p:cSld>
  <p:clrMapOvr>
    <a:masterClrMapping/>
  </p:clrMapOvr>
  <p:transition spd="slow">
    <p:wip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FA9D5B31-2950-44DB-95F1-67774F088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2061892F-3C63-4BA8-83B8-628AE41715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843DB29B-C692-46E4-8616-43CD3C94AE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4F9E3A32-693C-46F9-BB4D-63F57F5A69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A7D2DA68-D179-48E3-B019-9CFA92B85C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E37589-65FE-4D56-BD07-D06E5864D05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98529017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>
            <a:extLst>
              <a:ext uri="{FF2B5EF4-FFF2-40B4-BE49-F238E27FC236}">
                <a16:creationId xmlns:a16="http://schemas.microsoft.com/office/drawing/2014/main" id="{FB75F2C9-5752-4E35-94D9-815BE0F593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6808BC0E-4972-4A7B-BAF3-AB75459E1578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C1579D15-0B3B-4C4E-89C4-46E264D8EC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54572601-83A5-4AA1-B09D-A32738807D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C80E4F84-A363-4C08-BB6C-7E4A171B41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ABBB81-F792-4D76-A142-B30F5834307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2838264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97">
            <a:extLst>
              <a:ext uri="{FF2B5EF4-FFF2-40B4-BE49-F238E27FC236}">
                <a16:creationId xmlns:a16="http://schemas.microsoft.com/office/drawing/2014/main" id="{3D432B04-A0FE-428A-B602-60D3FEAD2C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Rest">
            <a:extLst>
              <a:ext uri="{FF2B5EF4-FFF2-40B4-BE49-F238E27FC236}">
                <a16:creationId xmlns:a16="http://schemas.microsoft.com/office/drawing/2014/main" id="{9D638CF1-BBFD-40BC-AF0B-972EF7E6698B}"/>
              </a:ext>
            </a:extLst>
          </p:cNvPr>
          <p:cNvGrpSpPr>
            <a:grpSpLocks/>
          </p:cNvGrpSpPr>
          <p:nvPr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482D8C97-D0DC-4D9E-8D2B-54BC1F4E8C6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4A03199B-75BD-4D91-AB2A-CF006B67C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B70F735E-B3FE-47B0-9565-AC4337EEF8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19AD03D-5D5B-40C4-A5F2-7B4AEAD4B7C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577FE1B7-702E-4653-8070-5A499923D1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27A9344-3095-40EC-B518-3748BD95D0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8955A01-8993-4A50-B906-7A93C5C72160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82F8EE51-56FC-45FE-AEE7-FE9C2843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E513518-F7AE-4735-9A03-A481AB67933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3571922-F898-4DA6-89C0-737D5E4441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9C84850-7334-44AE-8CFC-F4B74EFC6FF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68C6BFE0-5C6D-40ED-AFE9-6F485323586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70937FE-F291-4532-8560-44FF77F04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21AAD390-CE2B-40AE-A7C2-5A464B11C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C9216C08-FD31-4BBE-B392-2E4BE083D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F7704C-DD7F-4CEC-BA73-B93FC92F11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A1E4518A-11C7-49F1-8E24-6E4E6A71C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C470987-10A8-4EC5-AAFE-6319EDFC77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8743EC60-FF6E-4380-A43D-054580C136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25A2A71-8B7F-41D2-89A3-2696C8BB5DAE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C3495D87-450B-4E9C-A5FE-BEEA866608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ACF45083-905C-4642-801A-07806CF0D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B5007645-AADA-41F7-9CED-EE328523862A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48A3E35A-19C4-4277-82DF-A943D60EE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AAC6F-634C-499F-A959-4924C70905F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1969D49-D7D2-46C9-AF2B-513375C477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846FFEDA-0E1A-4E28-813F-77D46BD0A3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9DE71D24-A89C-41CE-B405-2CFE28E78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CBF5BABD-1F35-4A9A-A925-12DF8988E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DDC3937-055F-467D-A1C3-FB95BD247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A6D9EA7-DD21-4713-B06E-9F0C66C634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A857F757-77C6-475E-8852-4C02CADF78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1D9B7B8-1D2A-433C-9580-37FDDA64C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69B2B3A9-AEB8-43C1-A5C6-AC230968F717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AA5607AD-14D6-42DE-BD5E-A47F896C2DF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A7E01C-70F3-4D86-A4A5-F3E5A9AF16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2EDAFD61-BB57-4931-9080-6DD931F566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7934126B-D356-4633-BF72-C1C061645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5AECED80-365F-4371-B41D-ABC04CB87E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995B1BA-401F-4862-B047-97AA3CB9C2E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9E7CDAD-B8A9-407B-A5F8-502918D584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7E19EFCE-857D-40D4-928A-D7CD573F6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0224C851-8E19-4D62-BDC2-8019A3B7490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1F4B8632-EB9D-495C-BD36-542905959F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7CAAF51-3AA7-4973-980F-8BCA76405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DC165DA2-AF70-48FB-B438-A2C4C4CDC0A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C661168-45DA-4E19-BBB6-3EDC7E79BE0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924ED68A-9B64-4B23-9AD1-946B055C72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A014A331-4009-4375-9958-CD3AB5869A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200F72BE-48CC-4627-BA61-F89AFF8C0F7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6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3A84ED8A-5A64-4A5D-BD33-660B58B156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A11F15B8-6C3D-4F65-9F18-4381C9588AD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CDB7BB2E-3517-46DD-BCA0-306721A4FC2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402F3FBD-C3D6-487A-8053-0CDAFD2CD2E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BAB12FF9-E3E6-44FF-A8E8-BC4D7F0BE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A3C3BD51-C3AF-4731-954C-ABC53A0227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087BAA7B-E69B-43D9-A79E-33AD4924A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73507B5-4154-46A8-BD4C-5B52F187FA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74A599C7-254E-4F21-A3CC-858F9C471A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39FD8C47-7057-4C31-B8DF-16AF5D4222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7634C8C7-BA17-44DD-9983-9CB1372A5E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184C6B3F-8892-459D-99EC-2148E45916E2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8512B0AE-2347-4276-9A74-86A6A41CA2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36887945-6436-4DCF-A4CB-28B2484B4D6F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F314828A-A79E-4074-A850-9FFBC6728D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A202FFBA-A06F-4BC5-B043-6828A89E65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3B0F5A8-6F40-460C-84B1-546E888E42A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12D6D707-3D04-45AC-AA8F-72F891877B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75205A3D-B1AB-4EF2-BB9F-F3B34A52E307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62C15CA-8CB3-4013-BD2C-38FC519527B4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68A31A19-6F6A-477C-B03B-C30B130E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6F16AC2E-AE5F-4CEB-B5BA-1CE26379D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9992E2DD-E1F8-464A-962F-76B6764657F2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B0D1176E-049D-41B1-9DC9-5485D11F037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275065D1-1A05-407F-AAEF-F1D37D1F9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1" name="Central_East_Europe_Middle_East">
            <a:extLst>
              <a:ext uri="{FF2B5EF4-FFF2-40B4-BE49-F238E27FC236}">
                <a16:creationId xmlns:a16="http://schemas.microsoft.com/office/drawing/2014/main" id="{84028207-F517-4721-B06E-00EB3BD3DD95}"/>
              </a:ext>
            </a:extLst>
          </p:cNvPr>
          <p:cNvGrpSpPr>
            <a:grpSpLocks/>
          </p:cNvGrpSpPr>
          <p:nvPr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2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F4C79CD4-707A-4B6E-869A-EFC128A4761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3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FEE54A6D-1F7C-4C33-9E96-9FA123088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F230F28B-397C-4EAE-A45B-60FC62D09CF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A0F751-01E8-4608-8BEF-B546BCE3E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A1A1973-4892-47E6-A1D6-AA04FDAF7A8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7F70F8AF-9083-4779-886F-81871BF67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A012CDCA-EE9B-4848-9B00-5F2DB38499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EAF593E-FB33-46CE-8469-F0DE8E5CC0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13EDEC04-C696-458D-A009-979DB1494CC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925C02A-3A69-4C0F-B85C-B007B44A31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A8DCFF4D-D09A-494A-AEDA-0C77A218D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883DA00-4B40-4B35-9FD7-F455926719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40779BF5-ED47-4943-A186-1025C020F2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5FEBE7CE-BA05-4724-8AFE-1E528DF041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FCECCEE8-30BD-43B1-9F0D-EDF5A19C04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619E96F1-FEF9-4A2E-904D-1978AE279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E87094E2-ED32-4F0F-A77D-44DC8F92CC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EF8AD898-C65F-4AD7-99E1-1C4D3771D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45AE3A2B-7BE7-408A-A361-6184FEABF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160D4485-FDE3-4387-87E5-DD767E128E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036E273-D7E1-488B-8653-83C4E502CC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5BE37C50-DC4F-474B-8C2D-6884F760A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151A3509-762D-41E7-8FE6-F10209892E6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8AE7B068-D3E6-4D09-BF60-B2779DA6687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4EE6C38-E819-4934-89AC-42B9329AE7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A550D2B6-4489-4EE0-9A1D-A3B33EB25C7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A2184592-AE36-4ABB-8890-8982598CA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9BD652DC-6DF4-4B76-B87F-7E2F86B61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A59E37FA-4015-45BF-A08F-8ED4CC8CC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C8887924-6B09-4E17-9926-E5EDE55D2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11A54A0-97F3-4A7C-A5CD-9607CD7930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3" name="Group 340">
              <a:extLst>
                <a:ext uri="{FF2B5EF4-FFF2-40B4-BE49-F238E27FC236}">
                  <a16:creationId xmlns:a16="http://schemas.microsoft.com/office/drawing/2014/main" id="{75FEAA06-72DA-463E-AEE1-27BCEFDDEE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6BC6F6E-D117-438D-94A7-4245792DBE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95EB649-4633-41B7-A3A1-227F0B8F7FC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6" name="South_africa_Oceanea">
            <a:extLst>
              <a:ext uri="{FF2B5EF4-FFF2-40B4-BE49-F238E27FC236}">
                <a16:creationId xmlns:a16="http://schemas.microsoft.com/office/drawing/2014/main" id="{AAC8C1D3-3E06-4864-B777-DF29E1412524}"/>
              </a:ext>
            </a:extLst>
          </p:cNvPr>
          <p:cNvGrpSpPr>
            <a:grpSpLocks/>
          </p:cNvGrpSpPr>
          <p:nvPr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B6316944-5A4E-4C0A-A286-43472CE615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A707A2BB-B0D6-4106-8BF8-052F31723A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9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A1464E8-2598-4AD4-ADC1-04AD11C062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D7FDBA0A-A1F8-48EB-8F4B-53859ABBE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D298E2-E33E-4105-B522-CF21DA0BC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CD85C92-83F5-4A95-B627-322547C18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0603F3F-F1ED-4463-B5E5-E35CAED0C4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745C5CA7-A3F0-4CB7-9BCF-089B3D2D3459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AF14FD9-21EB-4E10-8754-2B1187DF8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7DF6318F-71E1-4077-BAC2-1F0A396FF1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CB6A3AE-D458-499A-A73D-7AFB9C13A9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7449C6F-ADAF-45B0-9E47-6A698454F957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9230F61C-074D-474C-A927-069B6EA9E2B4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01108037-9F26-42AB-B064-49B325E2233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1" name="Asia">
            <a:extLst>
              <a:ext uri="{FF2B5EF4-FFF2-40B4-BE49-F238E27FC236}">
                <a16:creationId xmlns:a16="http://schemas.microsoft.com/office/drawing/2014/main" id="{A25591F4-9761-4389-BDFA-DFC97A2CEEDC}"/>
              </a:ext>
            </a:extLst>
          </p:cNvPr>
          <p:cNvGrpSpPr>
            <a:grpSpLocks/>
          </p:cNvGrpSpPr>
          <p:nvPr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2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773B1E93-CFCB-47F0-85D8-E4B2F985A8DB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B0E9E494-497B-4532-A77A-03F291B131C3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49C5C0DF-EFF8-4C43-A6F6-60D0669AC7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01BEE6B3-E984-435F-ADF9-76B5CE5DB9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45C1A946-378A-4BD8-B962-3741529EF1A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EEECB5-529C-40A3-8AF1-99345EA008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8" name="South_West_Europe">
            <a:extLst>
              <a:ext uri="{FF2B5EF4-FFF2-40B4-BE49-F238E27FC236}">
                <a16:creationId xmlns:a16="http://schemas.microsoft.com/office/drawing/2014/main" id="{5F52633B-CC1B-4859-9706-3B8C1989BE82}"/>
              </a:ext>
            </a:extLst>
          </p:cNvPr>
          <p:cNvGrpSpPr>
            <a:grpSpLocks/>
          </p:cNvGrpSpPr>
          <p:nvPr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3E45A74-473A-4224-8D1B-B0F8E993E7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254B6E90-D897-4732-91AA-B1F0509823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9814608A-A39B-46A5-8B7F-DD1A7FD5D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2D14B3AF-366B-4936-933F-B326F17DB1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1E6815A2-9A41-410C-BBF0-FC0E805D34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4" name="North_West_Europe">
            <a:extLst>
              <a:ext uri="{FF2B5EF4-FFF2-40B4-BE49-F238E27FC236}">
                <a16:creationId xmlns:a16="http://schemas.microsoft.com/office/drawing/2014/main" id="{355F8DA4-3B80-40AC-977E-7D3488EED3F0}"/>
              </a:ext>
            </a:extLst>
          </p:cNvPr>
          <p:cNvGrpSpPr>
            <a:grpSpLocks/>
          </p:cNvGrpSpPr>
          <p:nvPr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5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E487FE43-E47F-4D73-AF11-92EF722D25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8C112D30-20B5-4E12-AC3B-3D67158A7C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A08D6B8E-E1AE-4193-A672-429D0EC7446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8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C451676B-DC24-4D3E-A08C-71A85E069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A01605F9-08AF-4AAF-B8C0-EF576A97C7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E850862B-15B1-4E5E-B155-DE7FE08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841C504-B2CD-480D-B070-12D47DD000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7539993-DB6E-42F5-8DA3-25AB6575267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FD71536-D8E0-4025-800F-BB9118472D4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1A8DA2D4-37CE-4267-BF58-AC50FE97EB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654B2B47-7D5F-41BA-8BE4-2A58791EC0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08665D8-C8A5-4F1E-AF87-045F755FD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86D68DD0-2C0C-4FA0-A476-129861DC7B3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8" name="South_america">
            <a:extLst>
              <a:ext uri="{FF2B5EF4-FFF2-40B4-BE49-F238E27FC236}">
                <a16:creationId xmlns:a16="http://schemas.microsoft.com/office/drawing/2014/main" id="{2F37AAC3-04F2-4A5A-9C93-249258D70683}"/>
              </a:ext>
            </a:extLst>
          </p:cNvPr>
          <p:cNvGrpSpPr>
            <a:grpSpLocks/>
          </p:cNvGrpSpPr>
          <p:nvPr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6D9E7BA8-75B9-41C8-B34A-6BE9A0E75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30E395A4-C0A1-4ECC-92F0-AA4CB30FDE0C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ABB2415A-A31B-4773-9B17-AE66CC81F4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5F94EAE9-C4B8-4341-B43A-3DEAE3A8EC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CA53CE15-F0C1-4A40-B4DB-2664165F21C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B77670E2-3CC3-4963-B2B4-AD131AB07A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201491-E903-44E1-950A-441DAEA532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22C7B8DD-4FEB-4EF3-9CD2-D6DAD7DECC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75EEC228-E940-4F61-9CFA-46AE3E5F78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CA0D0C1A-8225-4376-822F-508F13E2FD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9" name="North_America">
            <a:extLst>
              <a:ext uri="{FF2B5EF4-FFF2-40B4-BE49-F238E27FC236}">
                <a16:creationId xmlns:a16="http://schemas.microsoft.com/office/drawing/2014/main" id="{3AA50FBD-1496-4C7A-8E16-E95648296B22}"/>
              </a:ext>
            </a:extLst>
          </p:cNvPr>
          <p:cNvGrpSpPr>
            <a:grpSpLocks/>
          </p:cNvGrpSpPr>
          <p:nvPr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0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74B4BA32-CEA1-43E1-BF07-29D283E9944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A5BEECF3-9ECC-4BBC-AF93-3C0BC9AB7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E818AE6-3B41-44C8-B9AF-AFA4062F4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B88ABB1-7C29-49EF-9ED0-E1E17128B4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DDBC02C2-70F7-4AFA-8513-3327AA9A42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EA1C3A1-3075-45F5-8A1B-88A4F01AD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2F6A09DE-DC9F-46E5-A53C-4913444A25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2F4C3AAC-0CDC-41B5-808D-27BF0A1DB8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37A850A2-F551-49FA-B26B-9EEFB150382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3E6B37C-A7F3-4FCB-8A33-97C7EA94DF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30EFE30B-CBC8-4EE1-A30F-80BD14FA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19E43F80-D5AC-403B-BAE3-DCC4F1663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F6A2A25A-C499-4B9E-B575-4D1192A65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AF56305-8FB7-4207-9C67-E57F3C535A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8BBBC43C-5A24-4038-A31E-8664F521F1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8745C167-0609-4A5C-A615-16D9B3997C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6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6A42787E-7E94-47B8-926A-30D02FF8A36B}"/>
              </a:ext>
            </a:extLst>
          </p:cNvPr>
          <p:cNvSpPr>
            <a:spLocks/>
          </p:cNvSpPr>
          <p:nvPr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7" name="Link_North_america">
            <a:extLst>
              <a:ext uri="{FF2B5EF4-FFF2-40B4-BE49-F238E27FC236}">
                <a16:creationId xmlns:a16="http://schemas.microsoft.com/office/drawing/2014/main" id="{70A062BC-E440-4980-BCDB-694FDF7BBE28}"/>
              </a:ext>
            </a:extLst>
          </p:cNvPr>
          <p:cNvSpPr/>
          <p:nvPr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88" name="Link_South_America">
            <a:extLst>
              <a:ext uri="{FF2B5EF4-FFF2-40B4-BE49-F238E27FC236}">
                <a16:creationId xmlns:a16="http://schemas.microsoft.com/office/drawing/2014/main" id="{2321220F-BF6C-4CB3-A231-7C1F4AF306CC}"/>
              </a:ext>
            </a:extLst>
          </p:cNvPr>
          <p:cNvSpPr/>
          <p:nvPr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89" name="Link_South_Africa">
            <a:extLst>
              <a:ext uri="{FF2B5EF4-FFF2-40B4-BE49-F238E27FC236}">
                <a16:creationId xmlns:a16="http://schemas.microsoft.com/office/drawing/2014/main" id="{EF29D201-2277-4488-A8D9-FDD75788D226}"/>
              </a:ext>
            </a:extLst>
          </p:cNvPr>
          <p:cNvSpPr/>
          <p:nvPr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0" name="Link_Asia">
            <a:extLst>
              <a:ext uri="{FF2B5EF4-FFF2-40B4-BE49-F238E27FC236}">
                <a16:creationId xmlns:a16="http://schemas.microsoft.com/office/drawing/2014/main" id="{9D879D98-D916-4163-80EF-2B14CF5E748A}"/>
              </a:ext>
            </a:extLst>
          </p:cNvPr>
          <p:cNvSpPr/>
          <p:nvPr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1" name="Link_Central_East_Europe_Middle_East">
            <a:extLst>
              <a:ext uri="{FF2B5EF4-FFF2-40B4-BE49-F238E27FC236}">
                <a16:creationId xmlns:a16="http://schemas.microsoft.com/office/drawing/2014/main" id="{FDC86D17-26FC-4104-A2C5-7F37F1652D22}"/>
              </a:ext>
            </a:extLst>
          </p:cNvPr>
          <p:cNvSpPr/>
          <p:nvPr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2" name="Link_North_West_Europe">
            <a:extLst>
              <a:ext uri="{FF2B5EF4-FFF2-40B4-BE49-F238E27FC236}">
                <a16:creationId xmlns:a16="http://schemas.microsoft.com/office/drawing/2014/main" id="{B0782C26-60FB-4C6A-8CDB-468E1208E139}"/>
              </a:ext>
            </a:extLst>
          </p:cNvPr>
          <p:cNvSpPr/>
          <p:nvPr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3" name="Link_South_West_Europe">
            <a:extLst>
              <a:ext uri="{FF2B5EF4-FFF2-40B4-BE49-F238E27FC236}">
                <a16:creationId xmlns:a16="http://schemas.microsoft.com/office/drawing/2014/main" id="{93C3D898-C42C-4D9E-9A93-1114D039575B}"/>
              </a:ext>
            </a:extLst>
          </p:cNvPr>
          <p:cNvSpPr/>
          <p:nvPr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4" name="Link_Germany">
            <a:extLst>
              <a:ext uri="{FF2B5EF4-FFF2-40B4-BE49-F238E27FC236}">
                <a16:creationId xmlns:a16="http://schemas.microsoft.com/office/drawing/2014/main" id="{0363BAA5-2743-4023-A33A-830C2043D283}"/>
              </a:ext>
            </a:extLst>
          </p:cNvPr>
          <p:cNvSpPr/>
          <p:nvPr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95" name="Grafik 196">
            <a:extLst>
              <a:ext uri="{FF2B5EF4-FFF2-40B4-BE49-F238E27FC236}">
                <a16:creationId xmlns:a16="http://schemas.microsoft.com/office/drawing/2014/main" id="{53123BCD-B2F5-4C91-9549-7CC68E0D9E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96" name="Fußzeilenplatzhalter 1">
            <a:extLst>
              <a:ext uri="{FF2B5EF4-FFF2-40B4-BE49-F238E27FC236}">
                <a16:creationId xmlns:a16="http://schemas.microsoft.com/office/drawing/2014/main" id="{5D9D885A-09C8-43A4-A227-A7928E1002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97" name="Foliennummernplatzhalter 2">
            <a:extLst>
              <a:ext uri="{FF2B5EF4-FFF2-40B4-BE49-F238E27FC236}">
                <a16:creationId xmlns:a16="http://schemas.microsoft.com/office/drawing/2014/main" id="{CD801F3D-78C4-48EA-B119-45DFB41F59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CD803F-AFDE-4797-B38C-1086800DB23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887989324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23A5289A-3132-4518-88A6-5571005EAB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6">
            <a:extLst>
              <a:ext uri="{FF2B5EF4-FFF2-40B4-BE49-F238E27FC236}">
                <a16:creationId xmlns:a16="http://schemas.microsoft.com/office/drawing/2014/main" id="{30CEF49A-8D3A-46AC-9427-2C7B68DC8E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DD5C2DAC-34C6-4A18-8787-903A9A4DE5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0D633A0C-7EE4-489D-940F-E789C959CA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75B24F-74EA-48FB-A8F5-FA84D8550C72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093246215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80FC0F1-F4D6-4A2C-A794-E3043E8535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73A075-E600-440F-A1F3-295CFC9DF3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169CFDC-42BF-471D-BFE9-8E251EF58B1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70249167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F9F06339-8B9C-4D0F-ACD7-79EB90AB3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F9F06339-8B9C-4D0F-ACD7-79EB90AB36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92BA6E5-62F7-4102-8200-5ABBE59E58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57BDE270-4112-43F9-BA3C-38EC968C2B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34D34920-7AFF-493D-85E8-AB90EED155E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C71B803-EE64-445E-A72A-BC1925C93A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418" y="1892303"/>
            <a:ext cx="7195607" cy="4032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670841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E4AA7A-E2F2-462A-852C-AED5C3F4E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1E0CD883-7A90-404E-893D-0D87AA318E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3CD733C-3FAF-4DDA-AB65-FA89B8ECBA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B05341D-5FBE-432A-BB4E-471E0E3799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DD84E2-54C9-46BE-B602-712CB45A61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2F3C03-1081-4155-A277-14FC17ADBD0C}" type="slidenum">
              <a:rPr lang="de-DE" altLang="fr-FR" smtClean="0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975901959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01">
  <p:cSld name="Empty Slide 01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441099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381" y="5122927"/>
            <a:ext cx="3456384" cy="731435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1" name="Foliennummernplatzhalter 3"/>
          <p:cNvSpPr txBox="1">
            <a:spLocks/>
          </p:cNvSpPr>
          <p:nvPr userDrawn="1"/>
        </p:nvSpPr>
        <p:spPr bwMode="gray">
          <a:xfrm>
            <a:off x="624416" y="6612843"/>
            <a:ext cx="589840" cy="14400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/>
              <a:t>Slide </a:t>
            </a:r>
            <a:fld id="{165E2D8B-FD9B-4A9E-8AEA-D09FA928FD2A}" type="slidenum">
              <a:rPr lang="en-US" sz="800" b="0" smtClean="0"/>
              <a:pPr/>
              <a:t>‹#›</a:t>
            </a:fld>
            <a:endParaRPr lang="en-US" sz="800" b="0"/>
          </a:p>
        </p:txBody>
      </p:sp>
    </p:spTree>
    <p:extLst>
      <p:ext uri="{BB962C8B-B14F-4D97-AF65-F5344CB8AC3E}">
        <p14:creationId xmlns:p14="http://schemas.microsoft.com/office/powerpoint/2010/main" val="115038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with title 01">
  <p:cSld name="Empty Slide with title 0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23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3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3"/>
          <p:cNvSpPr txBox="1">
            <a:spLocks noGrp="1"/>
          </p:cNvSpPr>
          <p:nvPr>
            <p:ph type="body" idx="1"/>
          </p:nvPr>
        </p:nvSpPr>
        <p:spPr>
          <a:xfrm>
            <a:off x="431799" y="1444119"/>
            <a:ext cx="5306391" cy="4333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23"/>
          <p:cNvSpPr>
            <a:spLocks noGrp="1"/>
          </p:cNvSpPr>
          <p:nvPr>
            <p:ph type="pic" idx="2"/>
          </p:nvPr>
        </p:nvSpPr>
        <p:spPr>
          <a:xfrm>
            <a:off x="6096000" y="1444119"/>
            <a:ext cx="5664200" cy="4333829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2730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6720595"/>
      </p:ext>
    </p:extLst>
  </p:cSld>
  <p:clrMapOvr>
    <a:masterClrMapping/>
  </p:clrMapOvr>
  <p:transition spd="slow">
    <p:wip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AB19C7F3-F1ED-4CD9-A279-D9548B0B07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2 w 12192000"/>
              <a:gd name="connsiteY0" fmla="*/ 6552261 h 6858000"/>
              <a:gd name="connsiteX1" fmla="*/ 2 w 12192000"/>
              <a:gd name="connsiteY1" fmla="*/ 6610700 h 6858000"/>
              <a:gd name="connsiteX2" fmla="*/ 693177 w 12192000"/>
              <a:gd name="connsiteY2" fmla="*/ 6610700 h 6858000"/>
              <a:gd name="connsiteX3" fmla="*/ 693177 w 12192000"/>
              <a:gd name="connsiteY3" fmla="*/ 6552261 h 6858000"/>
              <a:gd name="connsiteX4" fmla="*/ 11404600 w 12192000"/>
              <a:gd name="connsiteY4" fmla="*/ 6134101 h 6858000"/>
              <a:gd name="connsiteX5" fmla="*/ 11404600 w 12192000"/>
              <a:gd name="connsiteY5" fmla="*/ 6610351 h 6858000"/>
              <a:gd name="connsiteX6" fmla="*/ 11880850 w 12192000"/>
              <a:gd name="connsiteY6" fmla="*/ 6610351 h 6858000"/>
              <a:gd name="connsiteX7" fmla="*/ 11880850 w 12192000"/>
              <a:gd name="connsiteY7" fmla="*/ 61341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2" y="6552261"/>
                </a:moveTo>
                <a:lnTo>
                  <a:pt x="2" y="6610700"/>
                </a:lnTo>
                <a:lnTo>
                  <a:pt x="693177" y="6610700"/>
                </a:lnTo>
                <a:lnTo>
                  <a:pt x="693177" y="6552261"/>
                </a:lnTo>
                <a:close/>
                <a:moveTo>
                  <a:pt x="11404600" y="6134101"/>
                </a:moveTo>
                <a:lnTo>
                  <a:pt x="11404600" y="6610351"/>
                </a:lnTo>
                <a:lnTo>
                  <a:pt x="11880850" y="6610351"/>
                </a:lnTo>
                <a:lnTo>
                  <a:pt x="11880850" y="61341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65777" y="857251"/>
            <a:ext cx="5838825" cy="630303"/>
          </a:xfrm>
        </p:spPr>
        <p:txBody>
          <a:bodyPr anchor="b">
            <a:noAutofit/>
          </a:bodyPr>
          <a:lstStyle>
            <a:lvl1pPr>
              <a:defRPr lang="en-US" sz="4000" b="1" kern="1200" dirty="0">
                <a:solidFill>
                  <a:srgbClr val="57AB27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Tite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064177" y="1387903"/>
            <a:ext cx="2892425" cy="50158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lang="de-DE" sz="3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onat | Jah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5BC28E-FF07-4614-A4F0-3E0E3C91E6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6C297C-8501-406A-9939-AC2A7603F43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30C2ED9B-0464-41B0-9E1B-05C50314D9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5761" y="6134101"/>
            <a:ext cx="476251" cy="476251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2C0F572C-D94D-491A-847C-2F64E7B72B63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</p:spTree>
    <p:extLst>
      <p:ext uri="{BB962C8B-B14F-4D97-AF65-F5344CB8AC3E}">
        <p14:creationId xmlns:p14="http://schemas.microsoft.com/office/powerpoint/2010/main" val="351768998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43025"/>
            <a:ext cx="12192000" cy="43513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 marL="914377" indent="0">
              <a:buNone/>
              <a:defRPr/>
            </a:lvl3pPr>
          </a:lstStyle>
          <a:p>
            <a:pPr lvl="2"/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170177E-B953-43F0-8A6F-50F41403F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F3A28DC-3034-40C2-B09B-86673214C1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CD4103-78D7-4CFD-8217-1B3794655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8D17BC2-DBD8-470C-BC28-29CA116B8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2879876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55725"/>
            <a:ext cx="5181600" cy="43513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55725"/>
            <a:ext cx="5181600" cy="43513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en-US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2934A4B-EBA1-4886-A112-D5A5912A38D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960F62-512E-43D8-81B9-B5BF50B29F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E927212-7DCC-4FF0-83F6-2C4E661D60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24CBBBB-CCEF-4C68-8BBE-2521469FA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0" y="450001"/>
            <a:ext cx="5296800" cy="45690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4106382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AED8AFA-0AB9-4F8F-BE49-63606EEDE219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F5F99063-69AF-4779-AB72-FC86018E03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B1A58D-A2B8-4D15-9F89-02298A18C1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773E4B-C2B1-48FB-9A4C-AA771268A7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632D3405-BBA1-4D55-B934-459F0275C7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E25F445-BE4C-46D0-93C5-AE7BBA16F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79718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AED8AFA-0AB9-4F8F-BE49-63606EEDE219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B1A58D-A2B8-4D15-9F89-02298A18C1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773E4B-C2B1-48FB-9A4C-AA771268A7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ADC09CD-049C-4469-B4BB-753AABE65088}"/>
              </a:ext>
            </a:extLst>
          </p:cNvPr>
          <p:cNvSpPr/>
          <p:nvPr userDrawn="1"/>
        </p:nvSpPr>
        <p:spPr>
          <a:xfrm>
            <a:off x="0" y="2487443"/>
            <a:ext cx="12192000" cy="25486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7535DBE-C18C-4AA9-A957-EE80FB4674BA}"/>
              </a:ext>
            </a:extLst>
          </p:cNvPr>
          <p:cNvSpPr/>
          <p:nvPr userDrawn="1"/>
        </p:nvSpPr>
        <p:spPr>
          <a:xfrm>
            <a:off x="2541835" y="1778001"/>
            <a:ext cx="9450140" cy="39243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016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195" name="Gruppieren 194">
            <a:extLst>
              <a:ext uri="{FF2B5EF4-FFF2-40B4-BE49-F238E27FC236}">
                <a16:creationId xmlns:a16="http://schemas.microsoft.com/office/drawing/2014/main" id="{84C9F40E-398C-4373-B310-99DB7B1069CA}"/>
              </a:ext>
            </a:extLst>
          </p:cNvPr>
          <p:cNvGrpSpPr/>
          <p:nvPr userDrawn="1"/>
        </p:nvGrpSpPr>
        <p:grpSpPr>
          <a:xfrm>
            <a:off x="5682297" y="2338755"/>
            <a:ext cx="6140000" cy="3036724"/>
            <a:chOff x="247243" y="891905"/>
            <a:chExt cx="11539427" cy="5707176"/>
          </a:xfrm>
        </p:grpSpPr>
        <p:grpSp>
          <p:nvGrpSpPr>
            <p:cNvPr id="196" name="Rest">
              <a:extLst>
                <a:ext uri="{FF2B5EF4-FFF2-40B4-BE49-F238E27FC236}">
                  <a16:creationId xmlns:a16="http://schemas.microsoft.com/office/drawing/2014/main" id="{8016D79B-1855-4EBB-977C-549335A5ECF8}"/>
                </a:ext>
              </a:extLst>
            </p:cNvPr>
            <p:cNvGrpSpPr/>
            <p:nvPr/>
          </p:nvGrpSpPr>
          <p:grpSpPr>
            <a:xfrm>
              <a:off x="2455865" y="891905"/>
              <a:ext cx="8906866" cy="4654638"/>
              <a:chOff x="2932179" y="1697550"/>
              <a:chExt cx="7525080" cy="3932531"/>
            </a:xfrm>
          </p:grpSpPr>
          <p:sp>
            <p:nvSpPr>
              <p:cNvPr id="304" name="Zimbabw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D56C3B6-956B-42F9-8C22-04DF6ACD46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37421" y="5086260"/>
                <a:ext cx="244605" cy="247997"/>
              </a:xfrm>
              <a:custGeom>
                <a:avLst/>
                <a:gdLst>
                  <a:gd name="T0" fmla="*/ 2147483647 w 552"/>
                  <a:gd name="T1" fmla="*/ 2147483647 h 552"/>
                  <a:gd name="T2" fmla="*/ 2147483647 w 552"/>
                  <a:gd name="T3" fmla="*/ 2147483647 h 552"/>
                  <a:gd name="T4" fmla="*/ 2147483647 w 552"/>
                  <a:gd name="T5" fmla="*/ 2147483647 h 552"/>
                  <a:gd name="T6" fmla="*/ 2147483647 w 552"/>
                  <a:gd name="T7" fmla="*/ 2147483647 h 552"/>
                  <a:gd name="T8" fmla="*/ 2147483647 w 552"/>
                  <a:gd name="T9" fmla="*/ 2147483647 h 552"/>
                  <a:gd name="T10" fmla="*/ 2147483647 w 552"/>
                  <a:gd name="T11" fmla="*/ 2147483647 h 552"/>
                  <a:gd name="T12" fmla="*/ 2147483647 w 552"/>
                  <a:gd name="T13" fmla="*/ 2147483647 h 552"/>
                  <a:gd name="T14" fmla="*/ 2147483647 w 552"/>
                  <a:gd name="T15" fmla="*/ 2147483647 h 552"/>
                  <a:gd name="T16" fmla="*/ 2147483647 w 552"/>
                  <a:gd name="T17" fmla="*/ 2147483647 h 552"/>
                  <a:gd name="T18" fmla="*/ 2147483647 w 552"/>
                  <a:gd name="T19" fmla="*/ 2147483647 h 552"/>
                  <a:gd name="T20" fmla="*/ 2147483647 w 552"/>
                  <a:gd name="T21" fmla="*/ 2147483647 h 552"/>
                  <a:gd name="T22" fmla="*/ 2147483647 w 552"/>
                  <a:gd name="T23" fmla="*/ 2147483647 h 552"/>
                  <a:gd name="T24" fmla="*/ 2147483647 w 552"/>
                  <a:gd name="T25" fmla="*/ 2147483647 h 552"/>
                  <a:gd name="T26" fmla="*/ 2147483647 w 552"/>
                  <a:gd name="T27" fmla="*/ 2147483647 h 552"/>
                  <a:gd name="T28" fmla="*/ 2147483647 w 552"/>
                  <a:gd name="T29" fmla="*/ 2147483647 h 552"/>
                  <a:gd name="T30" fmla="*/ 2147483647 w 552"/>
                  <a:gd name="T31" fmla="*/ 2147483647 h 552"/>
                  <a:gd name="T32" fmla="*/ 2147483647 w 552"/>
                  <a:gd name="T33" fmla="*/ 2147483647 h 552"/>
                  <a:gd name="T34" fmla="*/ 2147483647 w 552"/>
                  <a:gd name="T35" fmla="*/ 2147483647 h 552"/>
                  <a:gd name="T36" fmla="*/ 2147483647 w 552"/>
                  <a:gd name="T37" fmla="*/ 2147483647 h 552"/>
                  <a:gd name="T38" fmla="*/ 2147483647 w 552"/>
                  <a:gd name="T39" fmla="*/ 2147483647 h 552"/>
                  <a:gd name="T40" fmla="*/ 2147483647 w 552"/>
                  <a:gd name="T41" fmla="*/ 2147483647 h 552"/>
                  <a:gd name="T42" fmla="*/ 2147483647 w 552"/>
                  <a:gd name="T43" fmla="*/ 2147483647 h 552"/>
                  <a:gd name="T44" fmla="*/ 2147483647 w 552"/>
                  <a:gd name="T45" fmla="*/ 2147483647 h 552"/>
                  <a:gd name="T46" fmla="*/ 2147483647 w 552"/>
                  <a:gd name="T47" fmla="*/ 2147483647 h 552"/>
                  <a:gd name="T48" fmla="*/ 2147483647 w 552"/>
                  <a:gd name="T49" fmla="*/ 2147483647 h 552"/>
                  <a:gd name="T50" fmla="*/ 2147483647 w 552"/>
                  <a:gd name="T51" fmla="*/ 2147483647 h 552"/>
                  <a:gd name="T52" fmla="*/ 2147483647 w 552"/>
                  <a:gd name="T53" fmla="*/ 2147483647 h 552"/>
                  <a:gd name="T54" fmla="*/ 2147483647 w 552"/>
                  <a:gd name="T55" fmla="*/ 2147483647 h 552"/>
                  <a:gd name="T56" fmla="*/ 2147483647 w 552"/>
                  <a:gd name="T57" fmla="*/ 2147483647 h 552"/>
                  <a:gd name="T58" fmla="*/ 2147483647 w 552"/>
                  <a:gd name="T59" fmla="*/ 2147483647 h 552"/>
                  <a:gd name="T60" fmla="*/ 2147483647 w 552"/>
                  <a:gd name="T61" fmla="*/ 2147483647 h 552"/>
                  <a:gd name="T62" fmla="*/ 2147483647 w 552"/>
                  <a:gd name="T63" fmla="*/ 2147483647 h 552"/>
                  <a:gd name="T64" fmla="*/ 2147483647 w 552"/>
                  <a:gd name="T65" fmla="*/ 2147483647 h 552"/>
                  <a:gd name="T66" fmla="*/ 2147483647 w 552"/>
                  <a:gd name="T67" fmla="*/ 2147483647 h 552"/>
                  <a:gd name="T68" fmla="*/ 2147483647 w 552"/>
                  <a:gd name="T69" fmla="*/ 2147483647 h 552"/>
                  <a:gd name="T70" fmla="*/ 2147483647 w 552"/>
                  <a:gd name="T71" fmla="*/ 2147483647 h 552"/>
                  <a:gd name="T72" fmla="*/ 2147483647 w 552"/>
                  <a:gd name="T73" fmla="*/ 2147483647 h 552"/>
                  <a:gd name="T74" fmla="*/ 2147483647 w 552"/>
                  <a:gd name="T75" fmla="*/ 0 h 552"/>
                  <a:gd name="T76" fmla="*/ 2147483647 w 552"/>
                  <a:gd name="T77" fmla="*/ 2147483647 h 552"/>
                  <a:gd name="T78" fmla="*/ 2147483647 w 552"/>
                  <a:gd name="T79" fmla="*/ 2147483647 h 552"/>
                  <a:gd name="T80" fmla="*/ 2147483647 w 552"/>
                  <a:gd name="T81" fmla="*/ 2147483647 h 552"/>
                  <a:gd name="T82" fmla="*/ 2147483647 w 552"/>
                  <a:gd name="T83" fmla="*/ 2147483647 h 552"/>
                  <a:gd name="T84" fmla="*/ 2147483647 w 552"/>
                  <a:gd name="T85" fmla="*/ 2147483647 h 552"/>
                  <a:gd name="T86" fmla="*/ 2147483647 w 552"/>
                  <a:gd name="T87" fmla="*/ 2147483647 h 552"/>
                  <a:gd name="T88" fmla="*/ 2147483647 w 552"/>
                  <a:gd name="T89" fmla="*/ 2147483647 h 552"/>
                  <a:gd name="T90" fmla="*/ 2147483647 w 552"/>
                  <a:gd name="T91" fmla="*/ 2147483647 h 552"/>
                  <a:gd name="T92" fmla="*/ 2147483647 w 552"/>
                  <a:gd name="T93" fmla="*/ 2147483647 h 552"/>
                  <a:gd name="T94" fmla="*/ 2147483647 w 552"/>
                  <a:gd name="T95" fmla="*/ 2147483647 h 552"/>
                  <a:gd name="T96" fmla="*/ 2147483647 w 552"/>
                  <a:gd name="T97" fmla="*/ 2147483647 h 552"/>
                  <a:gd name="T98" fmla="*/ 2147483647 w 552"/>
                  <a:gd name="T99" fmla="*/ 2147483647 h 552"/>
                  <a:gd name="T100" fmla="*/ 2147483647 w 552"/>
                  <a:gd name="T101" fmla="*/ 2147483647 h 552"/>
                  <a:gd name="T102" fmla="*/ 2147483647 w 552"/>
                  <a:gd name="T103" fmla="*/ 2147483647 h 55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52"/>
                  <a:gd name="T157" fmla="*/ 0 h 552"/>
                  <a:gd name="T158" fmla="*/ 552 w 552"/>
                  <a:gd name="T159" fmla="*/ 552 h 55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52" h="552">
                    <a:moveTo>
                      <a:pt x="18" y="204"/>
                    </a:moveTo>
                    <a:lnTo>
                      <a:pt x="18" y="234"/>
                    </a:lnTo>
                    <a:lnTo>
                      <a:pt x="30" y="234"/>
                    </a:lnTo>
                    <a:lnTo>
                      <a:pt x="36" y="240"/>
                    </a:lnTo>
                    <a:lnTo>
                      <a:pt x="48" y="264"/>
                    </a:lnTo>
                    <a:lnTo>
                      <a:pt x="54" y="270"/>
                    </a:lnTo>
                    <a:lnTo>
                      <a:pt x="54" y="294"/>
                    </a:lnTo>
                    <a:lnTo>
                      <a:pt x="72" y="330"/>
                    </a:lnTo>
                    <a:lnTo>
                      <a:pt x="84" y="336"/>
                    </a:lnTo>
                    <a:lnTo>
                      <a:pt x="102" y="354"/>
                    </a:lnTo>
                    <a:lnTo>
                      <a:pt x="132" y="354"/>
                    </a:lnTo>
                    <a:lnTo>
                      <a:pt x="138" y="360"/>
                    </a:lnTo>
                    <a:lnTo>
                      <a:pt x="138" y="390"/>
                    </a:lnTo>
                    <a:lnTo>
                      <a:pt x="168" y="390"/>
                    </a:lnTo>
                    <a:lnTo>
                      <a:pt x="174" y="414"/>
                    </a:lnTo>
                    <a:lnTo>
                      <a:pt x="168" y="420"/>
                    </a:lnTo>
                    <a:lnTo>
                      <a:pt x="168" y="450"/>
                    </a:lnTo>
                    <a:lnTo>
                      <a:pt x="186" y="450"/>
                    </a:lnTo>
                    <a:lnTo>
                      <a:pt x="186" y="480"/>
                    </a:lnTo>
                    <a:lnTo>
                      <a:pt x="198" y="480"/>
                    </a:lnTo>
                    <a:lnTo>
                      <a:pt x="216" y="486"/>
                    </a:lnTo>
                    <a:lnTo>
                      <a:pt x="228" y="486"/>
                    </a:lnTo>
                    <a:lnTo>
                      <a:pt x="246" y="492"/>
                    </a:lnTo>
                    <a:lnTo>
                      <a:pt x="264" y="510"/>
                    </a:lnTo>
                    <a:lnTo>
                      <a:pt x="270" y="522"/>
                    </a:lnTo>
                    <a:lnTo>
                      <a:pt x="270" y="528"/>
                    </a:lnTo>
                    <a:lnTo>
                      <a:pt x="252" y="528"/>
                    </a:lnTo>
                    <a:lnTo>
                      <a:pt x="312" y="528"/>
                    </a:lnTo>
                    <a:lnTo>
                      <a:pt x="324" y="534"/>
                    </a:lnTo>
                    <a:lnTo>
                      <a:pt x="330" y="534"/>
                    </a:lnTo>
                    <a:lnTo>
                      <a:pt x="342" y="540"/>
                    </a:lnTo>
                    <a:lnTo>
                      <a:pt x="402" y="540"/>
                    </a:lnTo>
                    <a:lnTo>
                      <a:pt x="420" y="552"/>
                    </a:lnTo>
                    <a:lnTo>
                      <a:pt x="486" y="468"/>
                    </a:lnTo>
                    <a:lnTo>
                      <a:pt x="504" y="462"/>
                    </a:lnTo>
                    <a:lnTo>
                      <a:pt x="492" y="444"/>
                    </a:lnTo>
                    <a:lnTo>
                      <a:pt x="504" y="432"/>
                    </a:lnTo>
                    <a:lnTo>
                      <a:pt x="504" y="402"/>
                    </a:lnTo>
                    <a:lnTo>
                      <a:pt x="516" y="396"/>
                    </a:lnTo>
                    <a:lnTo>
                      <a:pt x="528" y="384"/>
                    </a:lnTo>
                    <a:lnTo>
                      <a:pt x="528" y="372"/>
                    </a:lnTo>
                    <a:lnTo>
                      <a:pt x="540" y="360"/>
                    </a:lnTo>
                    <a:lnTo>
                      <a:pt x="546" y="348"/>
                    </a:lnTo>
                    <a:lnTo>
                      <a:pt x="546" y="342"/>
                    </a:lnTo>
                    <a:lnTo>
                      <a:pt x="522" y="318"/>
                    </a:lnTo>
                    <a:lnTo>
                      <a:pt x="522" y="306"/>
                    </a:lnTo>
                    <a:lnTo>
                      <a:pt x="540" y="288"/>
                    </a:lnTo>
                    <a:lnTo>
                      <a:pt x="522" y="264"/>
                    </a:lnTo>
                    <a:lnTo>
                      <a:pt x="540" y="252"/>
                    </a:lnTo>
                    <a:lnTo>
                      <a:pt x="540" y="240"/>
                    </a:lnTo>
                    <a:lnTo>
                      <a:pt x="546" y="240"/>
                    </a:lnTo>
                    <a:lnTo>
                      <a:pt x="546" y="234"/>
                    </a:lnTo>
                    <a:lnTo>
                      <a:pt x="552" y="228"/>
                    </a:lnTo>
                    <a:lnTo>
                      <a:pt x="552" y="216"/>
                    </a:lnTo>
                    <a:lnTo>
                      <a:pt x="540" y="192"/>
                    </a:lnTo>
                    <a:lnTo>
                      <a:pt x="540" y="180"/>
                    </a:lnTo>
                    <a:lnTo>
                      <a:pt x="546" y="174"/>
                    </a:lnTo>
                    <a:lnTo>
                      <a:pt x="546" y="168"/>
                    </a:lnTo>
                    <a:lnTo>
                      <a:pt x="552" y="162"/>
                    </a:lnTo>
                    <a:lnTo>
                      <a:pt x="540" y="150"/>
                    </a:lnTo>
                    <a:lnTo>
                      <a:pt x="552" y="138"/>
                    </a:lnTo>
                    <a:lnTo>
                      <a:pt x="540" y="120"/>
                    </a:lnTo>
                    <a:lnTo>
                      <a:pt x="546" y="114"/>
                    </a:lnTo>
                    <a:lnTo>
                      <a:pt x="552" y="102"/>
                    </a:lnTo>
                    <a:lnTo>
                      <a:pt x="552" y="96"/>
                    </a:lnTo>
                    <a:lnTo>
                      <a:pt x="540" y="84"/>
                    </a:lnTo>
                    <a:lnTo>
                      <a:pt x="528" y="84"/>
                    </a:lnTo>
                    <a:lnTo>
                      <a:pt x="510" y="66"/>
                    </a:lnTo>
                    <a:lnTo>
                      <a:pt x="498" y="66"/>
                    </a:lnTo>
                    <a:lnTo>
                      <a:pt x="486" y="72"/>
                    </a:lnTo>
                    <a:lnTo>
                      <a:pt x="480" y="72"/>
                    </a:lnTo>
                    <a:lnTo>
                      <a:pt x="462" y="48"/>
                    </a:lnTo>
                    <a:lnTo>
                      <a:pt x="444" y="48"/>
                    </a:lnTo>
                    <a:lnTo>
                      <a:pt x="432" y="30"/>
                    </a:lnTo>
                    <a:lnTo>
                      <a:pt x="372" y="30"/>
                    </a:lnTo>
                    <a:lnTo>
                      <a:pt x="366" y="0"/>
                    </a:lnTo>
                    <a:lnTo>
                      <a:pt x="330" y="0"/>
                    </a:lnTo>
                    <a:lnTo>
                      <a:pt x="294" y="12"/>
                    </a:lnTo>
                    <a:lnTo>
                      <a:pt x="282" y="24"/>
                    </a:lnTo>
                    <a:lnTo>
                      <a:pt x="258" y="36"/>
                    </a:lnTo>
                    <a:lnTo>
                      <a:pt x="258" y="72"/>
                    </a:lnTo>
                    <a:lnTo>
                      <a:pt x="252" y="78"/>
                    </a:lnTo>
                    <a:lnTo>
                      <a:pt x="240" y="78"/>
                    </a:lnTo>
                    <a:lnTo>
                      <a:pt x="228" y="84"/>
                    </a:lnTo>
                    <a:lnTo>
                      <a:pt x="210" y="90"/>
                    </a:lnTo>
                    <a:lnTo>
                      <a:pt x="198" y="96"/>
                    </a:lnTo>
                    <a:lnTo>
                      <a:pt x="192" y="102"/>
                    </a:lnTo>
                    <a:lnTo>
                      <a:pt x="180" y="126"/>
                    </a:lnTo>
                    <a:lnTo>
                      <a:pt x="174" y="132"/>
                    </a:lnTo>
                    <a:lnTo>
                      <a:pt x="174" y="138"/>
                    </a:lnTo>
                    <a:lnTo>
                      <a:pt x="168" y="144"/>
                    </a:lnTo>
                    <a:lnTo>
                      <a:pt x="162" y="156"/>
                    </a:lnTo>
                    <a:lnTo>
                      <a:pt x="132" y="186"/>
                    </a:lnTo>
                    <a:lnTo>
                      <a:pt x="108" y="198"/>
                    </a:lnTo>
                    <a:lnTo>
                      <a:pt x="90" y="198"/>
                    </a:lnTo>
                    <a:lnTo>
                      <a:pt x="90" y="192"/>
                    </a:lnTo>
                    <a:lnTo>
                      <a:pt x="78" y="180"/>
                    </a:lnTo>
                    <a:lnTo>
                      <a:pt x="66" y="180"/>
                    </a:lnTo>
                    <a:lnTo>
                      <a:pt x="66" y="192"/>
                    </a:lnTo>
                    <a:lnTo>
                      <a:pt x="54" y="192"/>
                    </a:lnTo>
                    <a:lnTo>
                      <a:pt x="42" y="180"/>
                    </a:lnTo>
                    <a:lnTo>
                      <a:pt x="42" y="174"/>
                    </a:lnTo>
                    <a:lnTo>
                      <a:pt x="0" y="174"/>
                    </a:lnTo>
                    <a:lnTo>
                      <a:pt x="6" y="192"/>
                    </a:lnTo>
                    <a:lnTo>
                      <a:pt x="18" y="20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05" name="Zamb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2726B9F-DD74-43C3-8525-E86D928EA4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39578" y="4815233"/>
                <a:ext cx="368653" cy="359597"/>
              </a:xfrm>
              <a:custGeom>
                <a:avLst/>
                <a:gdLst>
                  <a:gd name="T0" fmla="*/ 2147483647 w 834"/>
                  <a:gd name="T1" fmla="*/ 2147483647 h 798"/>
                  <a:gd name="T2" fmla="*/ 2147483647 w 834"/>
                  <a:gd name="T3" fmla="*/ 2147483647 h 798"/>
                  <a:gd name="T4" fmla="*/ 2147483647 w 834"/>
                  <a:gd name="T5" fmla="*/ 2147483647 h 798"/>
                  <a:gd name="T6" fmla="*/ 2147483647 w 834"/>
                  <a:gd name="T7" fmla="*/ 2147483647 h 798"/>
                  <a:gd name="T8" fmla="*/ 2147483647 w 834"/>
                  <a:gd name="T9" fmla="*/ 2147483647 h 798"/>
                  <a:gd name="T10" fmla="*/ 2147483647 w 834"/>
                  <a:gd name="T11" fmla="*/ 2147483647 h 798"/>
                  <a:gd name="T12" fmla="*/ 2147483647 w 834"/>
                  <a:gd name="T13" fmla="*/ 2147483647 h 798"/>
                  <a:gd name="T14" fmla="*/ 2147483647 w 834"/>
                  <a:gd name="T15" fmla="*/ 2147483647 h 798"/>
                  <a:gd name="T16" fmla="*/ 2147483647 w 834"/>
                  <a:gd name="T17" fmla="*/ 2147483647 h 798"/>
                  <a:gd name="T18" fmla="*/ 2147483647 w 834"/>
                  <a:gd name="T19" fmla="*/ 2147483647 h 798"/>
                  <a:gd name="T20" fmla="*/ 2147483647 w 834"/>
                  <a:gd name="T21" fmla="*/ 2147483647 h 798"/>
                  <a:gd name="T22" fmla="*/ 2147483647 w 834"/>
                  <a:gd name="T23" fmla="*/ 2147483647 h 798"/>
                  <a:gd name="T24" fmla="*/ 2147483647 w 834"/>
                  <a:gd name="T25" fmla="*/ 2147483647 h 798"/>
                  <a:gd name="T26" fmla="*/ 2147483647 w 834"/>
                  <a:gd name="T27" fmla="*/ 2147483647 h 798"/>
                  <a:gd name="T28" fmla="*/ 2147483647 w 834"/>
                  <a:gd name="T29" fmla="*/ 2147483647 h 798"/>
                  <a:gd name="T30" fmla="*/ 2147483647 w 834"/>
                  <a:gd name="T31" fmla="*/ 2147483647 h 798"/>
                  <a:gd name="T32" fmla="*/ 2147483647 w 834"/>
                  <a:gd name="T33" fmla="*/ 2147483647 h 798"/>
                  <a:gd name="T34" fmla="*/ 2147483647 w 834"/>
                  <a:gd name="T35" fmla="*/ 2147483647 h 798"/>
                  <a:gd name="T36" fmla="*/ 2147483647 w 834"/>
                  <a:gd name="T37" fmla="*/ 2147483647 h 798"/>
                  <a:gd name="T38" fmla="*/ 2147483647 w 834"/>
                  <a:gd name="T39" fmla="*/ 2147483647 h 798"/>
                  <a:gd name="T40" fmla="*/ 2147483647 w 834"/>
                  <a:gd name="T41" fmla="*/ 2147483647 h 798"/>
                  <a:gd name="T42" fmla="*/ 2147483647 w 834"/>
                  <a:gd name="T43" fmla="*/ 2147483647 h 798"/>
                  <a:gd name="T44" fmla="*/ 2147483647 w 834"/>
                  <a:gd name="T45" fmla="*/ 2147483647 h 798"/>
                  <a:gd name="T46" fmla="*/ 2147483647 w 834"/>
                  <a:gd name="T47" fmla="*/ 2147483647 h 798"/>
                  <a:gd name="T48" fmla="*/ 2147483647 w 834"/>
                  <a:gd name="T49" fmla="*/ 2147483647 h 798"/>
                  <a:gd name="T50" fmla="*/ 2147483647 w 834"/>
                  <a:gd name="T51" fmla="*/ 2147483647 h 798"/>
                  <a:gd name="T52" fmla="*/ 2147483647 w 834"/>
                  <a:gd name="T53" fmla="*/ 2147483647 h 798"/>
                  <a:gd name="T54" fmla="*/ 2147483647 w 834"/>
                  <a:gd name="T55" fmla="*/ 2147483647 h 798"/>
                  <a:gd name="T56" fmla="*/ 2147483647 w 834"/>
                  <a:gd name="T57" fmla="*/ 2147483647 h 798"/>
                  <a:gd name="T58" fmla="*/ 2147483647 w 834"/>
                  <a:gd name="T59" fmla="*/ 2147483647 h 798"/>
                  <a:gd name="T60" fmla="*/ 2147483647 w 834"/>
                  <a:gd name="T61" fmla="*/ 2147483647 h 798"/>
                  <a:gd name="T62" fmla="*/ 2147483647 w 834"/>
                  <a:gd name="T63" fmla="*/ 2147483647 h 798"/>
                  <a:gd name="T64" fmla="*/ 2147483647 w 834"/>
                  <a:gd name="T65" fmla="*/ 2147483647 h 798"/>
                  <a:gd name="T66" fmla="*/ 2147483647 w 834"/>
                  <a:gd name="T67" fmla="*/ 2147483647 h 798"/>
                  <a:gd name="T68" fmla="*/ 2147483647 w 834"/>
                  <a:gd name="T69" fmla="*/ 2147483647 h 798"/>
                  <a:gd name="T70" fmla="*/ 2147483647 w 834"/>
                  <a:gd name="T71" fmla="*/ 2147483647 h 798"/>
                  <a:gd name="T72" fmla="*/ 2147483647 w 834"/>
                  <a:gd name="T73" fmla="*/ 2147483647 h 798"/>
                  <a:gd name="T74" fmla="*/ 2147483647 w 834"/>
                  <a:gd name="T75" fmla="*/ 2147483647 h 798"/>
                  <a:gd name="T76" fmla="*/ 2147483647 w 834"/>
                  <a:gd name="T77" fmla="*/ 2147483647 h 798"/>
                  <a:gd name="T78" fmla="*/ 2147483647 w 834"/>
                  <a:gd name="T79" fmla="*/ 2147483647 h 798"/>
                  <a:gd name="T80" fmla="*/ 2147483647 w 834"/>
                  <a:gd name="T81" fmla="*/ 2147483647 h 798"/>
                  <a:gd name="T82" fmla="*/ 2147483647 w 834"/>
                  <a:gd name="T83" fmla="*/ 2147483647 h 798"/>
                  <a:gd name="T84" fmla="*/ 2147483647 w 834"/>
                  <a:gd name="T85" fmla="*/ 2147483647 h 798"/>
                  <a:gd name="T86" fmla="*/ 2147483647 w 834"/>
                  <a:gd name="T87" fmla="*/ 2147483647 h 798"/>
                  <a:gd name="T88" fmla="*/ 2147483647 w 834"/>
                  <a:gd name="T89" fmla="*/ 2147483647 h 798"/>
                  <a:gd name="T90" fmla="*/ 2147483647 w 834"/>
                  <a:gd name="T91" fmla="*/ 2147483647 h 798"/>
                  <a:gd name="T92" fmla="*/ 2147483647 w 834"/>
                  <a:gd name="T93" fmla="*/ 2147483647 h 798"/>
                  <a:gd name="T94" fmla="*/ 2147483647 w 834"/>
                  <a:gd name="T95" fmla="*/ 2147483647 h 798"/>
                  <a:gd name="T96" fmla="*/ 2147483647 w 834"/>
                  <a:gd name="T97" fmla="*/ 2147483647 h 798"/>
                  <a:gd name="T98" fmla="*/ 2147483647 w 834"/>
                  <a:gd name="T99" fmla="*/ 2147483647 h 798"/>
                  <a:gd name="T100" fmla="*/ 2147483647 w 834"/>
                  <a:gd name="T101" fmla="*/ 2147483647 h 798"/>
                  <a:gd name="T102" fmla="*/ 2147483647 w 834"/>
                  <a:gd name="T103" fmla="*/ 2147483647 h 79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834"/>
                  <a:gd name="T157" fmla="*/ 0 h 798"/>
                  <a:gd name="T158" fmla="*/ 834 w 834"/>
                  <a:gd name="T159" fmla="*/ 798 h 79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834" h="798">
                    <a:moveTo>
                      <a:pt x="822" y="186"/>
                    </a:moveTo>
                    <a:lnTo>
                      <a:pt x="822" y="162"/>
                    </a:lnTo>
                    <a:lnTo>
                      <a:pt x="816" y="168"/>
                    </a:lnTo>
                    <a:lnTo>
                      <a:pt x="810" y="168"/>
                    </a:lnTo>
                    <a:lnTo>
                      <a:pt x="810" y="126"/>
                    </a:lnTo>
                    <a:lnTo>
                      <a:pt x="798" y="114"/>
                    </a:lnTo>
                    <a:lnTo>
                      <a:pt x="786" y="114"/>
                    </a:lnTo>
                    <a:lnTo>
                      <a:pt x="786" y="102"/>
                    </a:lnTo>
                    <a:lnTo>
                      <a:pt x="768" y="90"/>
                    </a:lnTo>
                    <a:lnTo>
                      <a:pt x="750" y="90"/>
                    </a:lnTo>
                    <a:lnTo>
                      <a:pt x="750" y="72"/>
                    </a:lnTo>
                    <a:lnTo>
                      <a:pt x="738" y="78"/>
                    </a:lnTo>
                    <a:lnTo>
                      <a:pt x="726" y="78"/>
                    </a:lnTo>
                    <a:lnTo>
                      <a:pt x="708" y="60"/>
                    </a:lnTo>
                    <a:lnTo>
                      <a:pt x="690" y="60"/>
                    </a:lnTo>
                    <a:lnTo>
                      <a:pt x="684" y="54"/>
                    </a:lnTo>
                    <a:lnTo>
                      <a:pt x="684" y="36"/>
                    </a:lnTo>
                    <a:lnTo>
                      <a:pt x="672" y="42"/>
                    </a:lnTo>
                    <a:lnTo>
                      <a:pt x="654" y="42"/>
                    </a:lnTo>
                    <a:lnTo>
                      <a:pt x="648" y="54"/>
                    </a:lnTo>
                    <a:lnTo>
                      <a:pt x="642" y="60"/>
                    </a:lnTo>
                    <a:lnTo>
                      <a:pt x="636" y="60"/>
                    </a:lnTo>
                    <a:lnTo>
                      <a:pt x="624" y="48"/>
                    </a:lnTo>
                    <a:lnTo>
                      <a:pt x="624" y="36"/>
                    </a:lnTo>
                    <a:lnTo>
                      <a:pt x="618" y="30"/>
                    </a:lnTo>
                    <a:lnTo>
                      <a:pt x="606" y="30"/>
                    </a:lnTo>
                    <a:lnTo>
                      <a:pt x="600" y="24"/>
                    </a:lnTo>
                    <a:lnTo>
                      <a:pt x="594" y="24"/>
                    </a:lnTo>
                    <a:lnTo>
                      <a:pt x="594" y="6"/>
                    </a:lnTo>
                    <a:lnTo>
                      <a:pt x="600" y="0"/>
                    </a:lnTo>
                    <a:lnTo>
                      <a:pt x="576" y="12"/>
                    </a:lnTo>
                    <a:lnTo>
                      <a:pt x="558" y="12"/>
                    </a:lnTo>
                    <a:lnTo>
                      <a:pt x="546" y="18"/>
                    </a:lnTo>
                    <a:lnTo>
                      <a:pt x="528" y="18"/>
                    </a:lnTo>
                    <a:lnTo>
                      <a:pt x="510" y="24"/>
                    </a:lnTo>
                    <a:lnTo>
                      <a:pt x="498" y="24"/>
                    </a:lnTo>
                    <a:lnTo>
                      <a:pt x="498" y="54"/>
                    </a:lnTo>
                    <a:lnTo>
                      <a:pt x="480" y="72"/>
                    </a:lnTo>
                    <a:lnTo>
                      <a:pt x="468" y="78"/>
                    </a:lnTo>
                    <a:lnTo>
                      <a:pt x="462" y="84"/>
                    </a:lnTo>
                    <a:lnTo>
                      <a:pt x="456" y="84"/>
                    </a:lnTo>
                    <a:lnTo>
                      <a:pt x="468" y="96"/>
                    </a:lnTo>
                    <a:lnTo>
                      <a:pt x="468" y="102"/>
                    </a:lnTo>
                    <a:lnTo>
                      <a:pt x="474" y="108"/>
                    </a:lnTo>
                    <a:lnTo>
                      <a:pt x="474" y="114"/>
                    </a:lnTo>
                    <a:lnTo>
                      <a:pt x="480" y="120"/>
                    </a:lnTo>
                    <a:lnTo>
                      <a:pt x="480" y="144"/>
                    </a:lnTo>
                    <a:lnTo>
                      <a:pt x="486" y="162"/>
                    </a:lnTo>
                    <a:lnTo>
                      <a:pt x="486" y="216"/>
                    </a:lnTo>
                    <a:lnTo>
                      <a:pt x="474" y="228"/>
                    </a:lnTo>
                    <a:lnTo>
                      <a:pt x="468" y="240"/>
                    </a:lnTo>
                    <a:lnTo>
                      <a:pt x="462" y="258"/>
                    </a:lnTo>
                    <a:lnTo>
                      <a:pt x="456" y="270"/>
                    </a:lnTo>
                    <a:lnTo>
                      <a:pt x="456" y="294"/>
                    </a:lnTo>
                    <a:lnTo>
                      <a:pt x="468" y="306"/>
                    </a:lnTo>
                    <a:lnTo>
                      <a:pt x="474" y="306"/>
                    </a:lnTo>
                    <a:lnTo>
                      <a:pt x="474" y="312"/>
                    </a:lnTo>
                    <a:lnTo>
                      <a:pt x="480" y="312"/>
                    </a:lnTo>
                    <a:lnTo>
                      <a:pt x="510" y="342"/>
                    </a:lnTo>
                    <a:lnTo>
                      <a:pt x="522" y="348"/>
                    </a:lnTo>
                    <a:lnTo>
                      <a:pt x="528" y="348"/>
                    </a:lnTo>
                    <a:lnTo>
                      <a:pt x="534" y="342"/>
                    </a:lnTo>
                    <a:lnTo>
                      <a:pt x="534" y="324"/>
                    </a:lnTo>
                    <a:lnTo>
                      <a:pt x="558" y="324"/>
                    </a:lnTo>
                    <a:lnTo>
                      <a:pt x="558" y="372"/>
                    </a:lnTo>
                    <a:lnTo>
                      <a:pt x="552" y="408"/>
                    </a:lnTo>
                    <a:lnTo>
                      <a:pt x="546" y="426"/>
                    </a:lnTo>
                    <a:lnTo>
                      <a:pt x="540" y="426"/>
                    </a:lnTo>
                    <a:lnTo>
                      <a:pt x="540" y="420"/>
                    </a:lnTo>
                    <a:lnTo>
                      <a:pt x="534" y="408"/>
                    </a:lnTo>
                    <a:lnTo>
                      <a:pt x="516" y="420"/>
                    </a:lnTo>
                    <a:lnTo>
                      <a:pt x="498" y="420"/>
                    </a:lnTo>
                    <a:lnTo>
                      <a:pt x="498" y="408"/>
                    </a:lnTo>
                    <a:lnTo>
                      <a:pt x="492" y="396"/>
                    </a:lnTo>
                    <a:lnTo>
                      <a:pt x="492" y="384"/>
                    </a:lnTo>
                    <a:lnTo>
                      <a:pt x="480" y="372"/>
                    </a:lnTo>
                    <a:lnTo>
                      <a:pt x="468" y="372"/>
                    </a:lnTo>
                    <a:lnTo>
                      <a:pt x="462" y="360"/>
                    </a:lnTo>
                    <a:lnTo>
                      <a:pt x="462" y="354"/>
                    </a:lnTo>
                    <a:lnTo>
                      <a:pt x="456" y="342"/>
                    </a:lnTo>
                    <a:lnTo>
                      <a:pt x="450" y="336"/>
                    </a:lnTo>
                    <a:lnTo>
                      <a:pt x="444" y="336"/>
                    </a:lnTo>
                    <a:lnTo>
                      <a:pt x="438" y="342"/>
                    </a:lnTo>
                    <a:lnTo>
                      <a:pt x="426" y="342"/>
                    </a:lnTo>
                    <a:lnTo>
                      <a:pt x="426" y="330"/>
                    </a:lnTo>
                    <a:lnTo>
                      <a:pt x="420" y="324"/>
                    </a:lnTo>
                    <a:lnTo>
                      <a:pt x="390" y="324"/>
                    </a:lnTo>
                    <a:lnTo>
                      <a:pt x="390" y="312"/>
                    </a:lnTo>
                    <a:lnTo>
                      <a:pt x="396" y="312"/>
                    </a:lnTo>
                    <a:lnTo>
                      <a:pt x="396" y="300"/>
                    </a:lnTo>
                    <a:lnTo>
                      <a:pt x="384" y="300"/>
                    </a:lnTo>
                    <a:lnTo>
                      <a:pt x="378" y="294"/>
                    </a:lnTo>
                    <a:lnTo>
                      <a:pt x="378" y="282"/>
                    </a:lnTo>
                    <a:lnTo>
                      <a:pt x="366" y="270"/>
                    </a:lnTo>
                    <a:lnTo>
                      <a:pt x="360" y="270"/>
                    </a:lnTo>
                    <a:lnTo>
                      <a:pt x="354" y="276"/>
                    </a:lnTo>
                    <a:lnTo>
                      <a:pt x="354" y="294"/>
                    </a:lnTo>
                    <a:lnTo>
                      <a:pt x="348" y="300"/>
                    </a:lnTo>
                    <a:lnTo>
                      <a:pt x="348" y="306"/>
                    </a:lnTo>
                    <a:lnTo>
                      <a:pt x="330" y="306"/>
                    </a:lnTo>
                    <a:lnTo>
                      <a:pt x="300" y="300"/>
                    </a:lnTo>
                    <a:lnTo>
                      <a:pt x="264" y="294"/>
                    </a:lnTo>
                    <a:lnTo>
                      <a:pt x="246" y="282"/>
                    </a:lnTo>
                    <a:lnTo>
                      <a:pt x="240" y="276"/>
                    </a:lnTo>
                    <a:lnTo>
                      <a:pt x="234" y="264"/>
                    </a:lnTo>
                    <a:lnTo>
                      <a:pt x="234" y="246"/>
                    </a:lnTo>
                    <a:lnTo>
                      <a:pt x="192" y="252"/>
                    </a:lnTo>
                    <a:lnTo>
                      <a:pt x="198" y="258"/>
                    </a:lnTo>
                    <a:lnTo>
                      <a:pt x="198" y="264"/>
                    </a:lnTo>
                    <a:lnTo>
                      <a:pt x="180" y="264"/>
                    </a:lnTo>
                    <a:lnTo>
                      <a:pt x="174" y="258"/>
                    </a:lnTo>
                    <a:lnTo>
                      <a:pt x="174" y="228"/>
                    </a:lnTo>
                    <a:lnTo>
                      <a:pt x="156" y="228"/>
                    </a:lnTo>
                    <a:lnTo>
                      <a:pt x="150" y="216"/>
                    </a:lnTo>
                    <a:lnTo>
                      <a:pt x="144" y="234"/>
                    </a:lnTo>
                    <a:lnTo>
                      <a:pt x="144" y="240"/>
                    </a:lnTo>
                    <a:lnTo>
                      <a:pt x="156" y="252"/>
                    </a:lnTo>
                    <a:lnTo>
                      <a:pt x="156" y="270"/>
                    </a:lnTo>
                    <a:lnTo>
                      <a:pt x="150" y="276"/>
                    </a:lnTo>
                    <a:lnTo>
                      <a:pt x="144" y="276"/>
                    </a:lnTo>
                    <a:lnTo>
                      <a:pt x="144" y="330"/>
                    </a:lnTo>
                    <a:lnTo>
                      <a:pt x="156" y="342"/>
                    </a:lnTo>
                    <a:lnTo>
                      <a:pt x="138" y="348"/>
                    </a:lnTo>
                    <a:lnTo>
                      <a:pt x="138" y="354"/>
                    </a:lnTo>
                    <a:lnTo>
                      <a:pt x="144" y="360"/>
                    </a:lnTo>
                    <a:lnTo>
                      <a:pt x="144" y="384"/>
                    </a:lnTo>
                    <a:lnTo>
                      <a:pt x="132" y="396"/>
                    </a:lnTo>
                    <a:lnTo>
                      <a:pt x="126" y="396"/>
                    </a:lnTo>
                    <a:lnTo>
                      <a:pt x="0" y="390"/>
                    </a:lnTo>
                    <a:lnTo>
                      <a:pt x="0" y="642"/>
                    </a:lnTo>
                    <a:lnTo>
                      <a:pt x="6" y="654"/>
                    </a:lnTo>
                    <a:lnTo>
                      <a:pt x="6" y="672"/>
                    </a:lnTo>
                    <a:lnTo>
                      <a:pt x="96" y="762"/>
                    </a:lnTo>
                    <a:lnTo>
                      <a:pt x="114" y="768"/>
                    </a:lnTo>
                    <a:lnTo>
                      <a:pt x="138" y="756"/>
                    </a:lnTo>
                    <a:lnTo>
                      <a:pt x="144" y="756"/>
                    </a:lnTo>
                    <a:lnTo>
                      <a:pt x="150" y="750"/>
                    </a:lnTo>
                    <a:lnTo>
                      <a:pt x="168" y="750"/>
                    </a:lnTo>
                    <a:lnTo>
                      <a:pt x="174" y="756"/>
                    </a:lnTo>
                    <a:lnTo>
                      <a:pt x="174" y="762"/>
                    </a:lnTo>
                    <a:lnTo>
                      <a:pt x="204" y="756"/>
                    </a:lnTo>
                    <a:lnTo>
                      <a:pt x="222" y="774"/>
                    </a:lnTo>
                    <a:lnTo>
                      <a:pt x="264" y="774"/>
                    </a:lnTo>
                    <a:lnTo>
                      <a:pt x="264" y="780"/>
                    </a:lnTo>
                    <a:lnTo>
                      <a:pt x="276" y="792"/>
                    </a:lnTo>
                    <a:lnTo>
                      <a:pt x="288" y="792"/>
                    </a:lnTo>
                    <a:lnTo>
                      <a:pt x="288" y="780"/>
                    </a:lnTo>
                    <a:lnTo>
                      <a:pt x="300" y="780"/>
                    </a:lnTo>
                    <a:lnTo>
                      <a:pt x="312" y="792"/>
                    </a:lnTo>
                    <a:lnTo>
                      <a:pt x="312" y="798"/>
                    </a:lnTo>
                    <a:lnTo>
                      <a:pt x="330" y="798"/>
                    </a:lnTo>
                    <a:lnTo>
                      <a:pt x="354" y="786"/>
                    </a:lnTo>
                    <a:lnTo>
                      <a:pt x="384" y="756"/>
                    </a:lnTo>
                    <a:lnTo>
                      <a:pt x="390" y="744"/>
                    </a:lnTo>
                    <a:lnTo>
                      <a:pt x="396" y="738"/>
                    </a:lnTo>
                    <a:lnTo>
                      <a:pt x="396" y="732"/>
                    </a:lnTo>
                    <a:lnTo>
                      <a:pt x="402" y="726"/>
                    </a:lnTo>
                    <a:lnTo>
                      <a:pt x="414" y="702"/>
                    </a:lnTo>
                    <a:lnTo>
                      <a:pt x="420" y="696"/>
                    </a:lnTo>
                    <a:lnTo>
                      <a:pt x="432" y="690"/>
                    </a:lnTo>
                    <a:lnTo>
                      <a:pt x="450" y="684"/>
                    </a:lnTo>
                    <a:lnTo>
                      <a:pt x="462" y="678"/>
                    </a:lnTo>
                    <a:lnTo>
                      <a:pt x="474" y="678"/>
                    </a:lnTo>
                    <a:lnTo>
                      <a:pt x="480" y="672"/>
                    </a:lnTo>
                    <a:lnTo>
                      <a:pt x="480" y="636"/>
                    </a:lnTo>
                    <a:lnTo>
                      <a:pt x="504" y="624"/>
                    </a:lnTo>
                    <a:lnTo>
                      <a:pt x="516" y="612"/>
                    </a:lnTo>
                    <a:lnTo>
                      <a:pt x="552" y="600"/>
                    </a:lnTo>
                    <a:lnTo>
                      <a:pt x="588" y="600"/>
                    </a:lnTo>
                    <a:lnTo>
                      <a:pt x="588" y="576"/>
                    </a:lnTo>
                    <a:lnTo>
                      <a:pt x="570" y="558"/>
                    </a:lnTo>
                    <a:lnTo>
                      <a:pt x="582" y="546"/>
                    </a:lnTo>
                    <a:lnTo>
                      <a:pt x="612" y="546"/>
                    </a:lnTo>
                    <a:lnTo>
                      <a:pt x="630" y="528"/>
                    </a:lnTo>
                    <a:lnTo>
                      <a:pt x="642" y="528"/>
                    </a:lnTo>
                    <a:lnTo>
                      <a:pt x="654" y="522"/>
                    </a:lnTo>
                    <a:lnTo>
                      <a:pt x="672" y="522"/>
                    </a:lnTo>
                    <a:lnTo>
                      <a:pt x="690" y="516"/>
                    </a:lnTo>
                    <a:lnTo>
                      <a:pt x="702" y="510"/>
                    </a:lnTo>
                    <a:lnTo>
                      <a:pt x="708" y="510"/>
                    </a:lnTo>
                    <a:lnTo>
                      <a:pt x="732" y="498"/>
                    </a:lnTo>
                    <a:lnTo>
                      <a:pt x="750" y="486"/>
                    </a:lnTo>
                    <a:lnTo>
                      <a:pt x="762" y="480"/>
                    </a:lnTo>
                    <a:lnTo>
                      <a:pt x="780" y="474"/>
                    </a:lnTo>
                    <a:lnTo>
                      <a:pt x="786" y="468"/>
                    </a:lnTo>
                    <a:lnTo>
                      <a:pt x="792" y="468"/>
                    </a:lnTo>
                    <a:lnTo>
                      <a:pt x="780" y="462"/>
                    </a:lnTo>
                    <a:lnTo>
                      <a:pt x="768" y="450"/>
                    </a:lnTo>
                    <a:lnTo>
                      <a:pt x="756" y="444"/>
                    </a:lnTo>
                    <a:lnTo>
                      <a:pt x="756" y="438"/>
                    </a:lnTo>
                    <a:lnTo>
                      <a:pt x="762" y="432"/>
                    </a:lnTo>
                    <a:lnTo>
                      <a:pt x="768" y="420"/>
                    </a:lnTo>
                    <a:lnTo>
                      <a:pt x="774" y="414"/>
                    </a:lnTo>
                    <a:lnTo>
                      <a:pt x="780" y="402"/>
                    </a:lnTo>
                    <a:lnTo>
                      <a:pt x="774" y="366"/>
                    </a:lnTo>
                    <a:lnTo>
                      <a:pt x="780" y="366"/>
                    </a:lnTo>
                    <a:lnTo>
                      <a:pt x="786" y="360"/>
                    </a:lnTo>
                    <a:lnTo>
                      <a:pt x="798" y="354"/>
                    </a:lnTo>
                    <a:lnTo>
                      <a:pt x="816" y="336"/>
                    </a:lnTo>
                    <a:lnTo>
                      <a:pt x="816" y="330"/>
                    </a:lnTo>
                    <a:lnTo>
                      <a:pt x="804" y="330"/>
                    </a:lnTo>
                    <a:lnTo>
                      <a:pt x="804" y="258"/>
                    </a:lnTo>
                    <a:lnTo>
                      <a:pt x="810" y="240"/>
                    </a:lnTo>
                    <a:lnTo>
                      <a:pt x="798" y="234"/>
                    </a:lnTo>
                    <a:lnTo>
                      <a:pt x="798" y="216"/>
                    </a:lnTo>
                    <a:lnTo>
                      <a:pt x="804" y="216"/>
                    </a:lnTo>
                    <a:lnTo>
                      <a:pt x="810" y="210"/>
                    </a:lnTo>
                    <a:lnTo>
                      <a:pt x="834" y="198"/>
                    </a:lnTo>
                    <a:lnTo>
                      <a:pt x="834" y="186"/>
                    </a:lnTo>
                    <a:lnTo>
                      <a:pt x="822" y="18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06" name="Yeme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957F646-4B99-442E-8F33-94773B5DA0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80792" y="3832099"/>
                <a:ext cx="324974" cy="224969"/>
              </a:xfrm>
              <a:custGeom>
                <a:avLst/>
                <a:gdLst>
                  <a:gd name="T0" fmla="*/ 2147483647 w 732"/>
                  <a:gd name="T1" fmla="*/ 2147483647 h 498"/>
                  <a:gd name="T2" fmla="*/ 2147483647 w 732"/>
                  <a:gd name="T3" fmla="*/ 2147483647 h 498"/>
                  <a:gd name="T4" fmla="*/ 2147483647 w 732"/>
                  <a:gd name="T5" fmla="*/ 2147483647 h 498"/>
                  <a:gd name="T6" fmla="*/ 2147483647 w 732"/>
                  <a:gd name="T7" fmla="*/ 2147483647 h 498"/>
                  <a:gd name="T8" fmla="*/ 2147483647 w 732"/>
                  <a:gd name="T9" fmla="*/ 2147483647 h 498"/>
                  <a:gd name="T10" fmla="*/ 2147483647 w 732"/>
                  <a:gd name="T11" fmla="*/ 2147483647 h 498"/>
                  <a:gd name="T12" fmla="*/ 2147483647 w 732"/>
                  <a:gd name="T13" fmla="*/ 2147483647 h 498"/>
                  <a:gd name="T14" fmla="*/ 2147483647 w 732"/>
                  <a:gd name="T15" fmla="*/ 2147483647 h 498"/>
                  <a:gd name="T16" fmla="*/ 2147483647 w 732"/>
                  <a:gd name="T17" fmla="*/ 2147483647 h 498"/>
                  <a:gd name="T18" fmla="*/ 2147483647 w 732"/>
                  <a:gd name="T19" fmla="*/ 2147483647 h 498"/>
                  <a:gd name="T20" fmla="*/ 2147483647 w 732"/>
                  <a:gd name="T21" fmla="*/ 2147483647 h 498"/>
                  <a:gd name="T22" fmla="*/ 2147483647 w 732"/>
                  <a:gd name="T23" fmla="*/ 2147483647 h 498"/>
                  <a:gd name="T24" fmla="*/ 2147483647 w 732"/>
                  <a:gd name="T25" fmla="*/ 2147483647 h 498"/>
                  <a:gd name="T26" fmla="*/ 2147483647 w 732"/>
                  <a:gd name="T27" fmla="*/ 2147483647 h 498"/>
                  <a:gd name="T28" fmla="*/ 2147483647 w 732"/>
                  <a:gd name="T29" fmla="*/ 2147483647 h 498"/>
                  <a:gd name="T30" fmla="*/ 0 w 732"/>
                  <a:gd name="T31" fmla="*/ 2147483647 h 498"/>
                  <a:gd name="T32" fmla="*/ 2147483647 w 732"/>
                  <a:gd name="T33" fmla="*/ 2147483647 h 498"/>
                  <a:gd name="T34" fmla="*/ 2147483647 w 732"/>
                  <a:gd name="T35" fmla="*/ 2147483647 h 498"/>
                  <a:gd name="T36" fmla="*/ 2147483647 w 732"/>
                  <a:gd name="T37" fmla="*/ 2147483647 h 498"/>
                  <a:gd name="T38" fmla="*/ 2147483647 w 732"/>
                  <a:gd name="T39" fmla="*/ 2147483647 h 498"/>
                  <a:gd name="T40" fmla="*/ 2147483647 w 732"/>
                  <a:gd name="T41" fmla="*/ 2147483647 h 498"/>
                  <a:gd name="T42" fmla="*/ 2147483647 w 732"/>
                  <a:gd name="T43" fmla="*/ 2147483647 h 498"/>
                  <a:gd name="T44" fmla="*/ 2147483647 w 732"/>
                  <a:gd name="T45" fmla="*/ 2147483647 h 498"/>
                  <a:gd name="T46" fmla="*/ 2147483647 w 732"/>
                  <a:gd name="T47" fmla="*/ 2147483647 h 498"/>
                  <a:gd name="T48" fmla="*/ 2147483647 w 732"/>
                  <a:gd name="T49" fmla="*/ 2147483647 h 498"/>
                  <a:gd name="T50" fmla="*/ 2147483647 w 732"/>
                  <a:gd name="T51" fmla="*/ 2147483647 h 498"/>
                  <a:gd name="T52" fmla="*/ 2147483647 w 732"/>
                  <a:gd name="T53" fmla="*/ 2147483647 h 498"/>
                  <a:gd name="T54" fmla="*/ 2147483647 w 732"/>
                  <a:gd name="T55" fmla="*/ 2147483647 h 498"/>
                  <a:gd name="T56" fmla="*/ 2147483647 w 732"/>
                  <a:gd name="T57" fmla="*/ 2147483647 h 498"/>
                  <a:gd name="T58" fmla="*/ 2147483647 w 732"/>
                  <a:gd name="T59" fmla="*/ 2147483647 h 498"/>
                  <a:gd name="T60" fmla="*/ 2147483647 w 732"/>
                  <a:gd name="T61" fmla="*/ 2147483647 h 498"/>
                  <a:gd name="T62" fmla="*/ 2147483647 w 732"/>
                  <a:gd name="T63" fmla="*/ 2147483647 h 498"/>
                  <a:gd name="T64" fmla="*/ 2147483647 w 732"/>
                  <a:gd name="T65" fmla="*/ 2147483647 h 498"/>
                  <a:gd name="T66" fmla="*/ 2147483647 w 732"/>
                  <a:gd name="T67" fmla="*/ 2147483647 h 498"/>
                  <a:gd name="T68" fmla="*/ 2147483647 w 732"/>
                  <a:gd name="T69" fmla="*/ 2147483647 h 498"/>
                  <a:gd name="T70" fmla="*/ 2147483647 w 732"/>
                  <a:gd name="T71" fmla="*/ 2147483647 h 498"/>
                  <a:gd name="T72" fmla="*/ 2147483647 w 732"/>
                  <a:gd name="T73" fmla="*/ 2147483647 h 498"/>
                  <a:gd name="T74" fmla="*/ 2147483647 w 732"/>
                  <a:gd name="T75" fmla="*/ 2147483647 h 498"/>
                  <a:gd name="T76" fmla="*/ 2147483647 w 732"/>
                  <a:gd name="T77" fmla="*/ 0 h 498"/>
                  <a:gd name="T78" fmla="*/ 2147483647 w 732"/>
                  <a:gd name="T79" fmla="*/ 2147483647 h 498"/>
                  <a:gd name="T80" fmla="*/ 2147483647 w 732"/>
                  <a:gd name="T81" fmla="*/ 2147483647 h 4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732"/>
                  <a:gd name="T124" fmla="*/ 0 h 498"/>
                  <a:gd name="T125" fmla="*/ 732 w 732"/>
                  <a:gd name="T126" fmla="*/ 498 h 49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732" h="498">
                    <a:moveTo>
                      <a:pt x="468" y="24"/>
                    </a:moveTo>
                    <a:lnTo>
                      <a:pt x="450" y="30"/>
                    </a:lnTo>
                    <a:lnTo>
                      <a:pt x="420" y="36"/>
                    </a:lnTo>
                    <a:lnTo>
                      <a:pt x="390" y="54"/>
                    </a:lnTo>
                    <a:lnTo>
                      <a:pt x="372" y="72"/>
                    </a:lnTo>
                    <a:lnTo>
                      <a:pt x="366" y="84"/>
                    </a:lnTo>
                    <a:lnTo>
                      <a:pt x="354" y="96"/>
                    </a:lnTo>
                    <a:lnTo>
                      <a:pt x="348" y="108"/>
                    </a:lnTo>
                    <a:lnTo>
                      <a:pt x="342" y="114"/>
                    </a:lnTo>
                    <a:lnTo>
                      <a:pt x="336" y="126"/>
                    </a:lnTo>
                    <a:lnTo>
                      <a:pt x="336" y="144"/>
                    </a:lnTo>
                    <a:lnTo>
                      <a:pt x="330" y="150"/>
                    </a:lnTo>
                    <a:lnTo>
                      <a:pt x="324" y="162"/>
                    </a:lnTo>
                    <a:lnTo>
                      <a:pt x="312" y="162"/>
                    </a:lnTo>
                    <a:lnTo>
                      <a:pt x="300" y="156"/>
                    </a:lnTo>
                    <a:lnTo>
                      <a:pt x="294" y="144"/>
                    </a:lnTo>
                    <a:lnTo>
                      <a:pt x="288" y="138"/>
                    </a:lnTo>
                    <a:lnTo>
                      <a:pt x="210" y="138"/>
                    </a:lnTo>
                    <a:lnTo>
                      <a:pt x="204" y="132"/>
                    </a:lnTo>
                    <a:lnTo>
                      <a:pt x="192" y="126"/>
                    </a:lnTo>
                    <a:lnTo>
                      <a:pt x="102" y="126"/>
                    </a:lnTo>
                    <a:lnTo>
                      <a:pt x="96" y="132"/>
                    </a:lnTo>
                    <a:lnTo>
                      <a:pt x="72" y="138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2" y="126"/>
                    </a:lnTo>
                    <a:lnTo>
                      <a:pt x="36" y="138"/>
                    </a:lnTo>
                    <a:lnTo>
                      <a:pt x="36" y="186"/>
                    </a:lnTo>
                    <a:lnTo>
                      <a:pt x="30" y="192"/>
                    </a:lnTo>
                    <a:lnTo>
                      <a:pt x="24" y="204"/>
                    </a:lnTo>
                    <a:lnTo>
                      <a:pt x="12" y="216"/>
                    </a:lnTo>
                    <a:lnTo>
                      <a:pt x="0" y="252"/>
                    </a:lnTo>
                    <a:lnTo>
                      <a:pt x="0" y="258"/>
                    </a:lnTo>
                    <a:lnTo>
                      <a:pt x="18" y="276"/>
                    </a:lnTo>
                    <a:lnTo>
                      <a:pt x="24" y="288"/>
                    </a:lnTo>
                    <a:lnTo>
                      <a:pt x="36" y="294"/>
                    </a:lnTo>
                    <a:lnTo>
                      <a:pt x="24" y="408"/>
                    </a:lnTo>
                    <a:lnTo>
                      <a:pt x="54" y="444"/>
                    </a:lnTo>
                    <a:lnTo>
                      <a:pt x="54" y="456"/>
                    </a:lnTo>
                    <a:lnTo>
                      <a:pt x="60" y="468"/>
                    </a:lnTo>
                    <a:lnTo>
                      <a:pt x="78" y="486"/>
                    </a:lnTo>
                    <a:lnTo>
                      <a:pt x="90" y="492"/>
                    </a:lnTo>
                    <a:lnTo>
                      <a:pt x="114" y="498"/>
                    </a:lnTo>
                    <a:lnTo>
                      <a:pt x="132" y="498"/>
                    </a:lnTo>
                    <a:lnTo>
                      <a:pt x="150" y="492"/>
                    </a:lnTo>
                    <a:lnTo>
                      <a:pt x="162" y="486"/>
                    </a:lnTo>
                    <a:lnTo>
                      <a:pt x="168" y="480"/>
                    </a:lnTo>
                    <a:lnTo>
                      <a:pt x="186" y="444"/>
                    </a:lnTo>
                    <a:lnTo>
                      <a:pt x="198" y="432"/>
                    </a:lnTo>
                    <a:lnTo>
                      <a:pt x="210" y="432"/>
                    </a:lnTo>
                    <a:lnTo>
                      <a:pt x="228" y="438"/>
                    </a:lnTo>
                    <a:lnTo>
                      <a:pt x="270" y="438"/>
                    </a:lnTo>
                    <a:lnTo>
                      <a:pt x="324" y="432"/>
                    </a:lnTo>
                    <a:lnTo>
                      <a:pt x="366" y="426"/>
                    </a:lnTo>
                    <a:lnTo>
                      <a:pt x="390" y="414"/>
                    </a:lnTo>
                    <a:lnTo>
                      <a:pt x="402" y="402"/>
                    </a:lnTo>
                    <a:lnTo>
                      <a:pt x="414" y="384"/>
                    </a:lnTo>
                    <a:lnTo>
                      <a:pt x="426" y="372"/>
                    </a:lnTo>
                    <a:lnTo>
                      <a:pt x="450" y="360"/>
                    </a:lnTo>
                    <a:lnTo>
                      <a:pt x="462" y="348"/>
                    </a:lnTo>
                    <a:lnTo>
                      <a:pt x="474" y="342"/>
                    </a:lnTo>
                    <a:lnTo>
                      <a:pt x="486" y="330"/>
                    </a:lnTo>
                    <a:lnTo>
                      <a:pt x="504" y="324"/>
                    </a:lnTo>
                    <a:lnTo>
                      <a:pt x="528" y="312"/>
                    </a:lnTo>
                    <a:lnTo>
                      <a:pt x="546" y="306"/>
                    </a:lnTo>
                    <a:lnTo>
                      <a:pt x="558" y="294"/>
                    </a:lnTo>
                    <a:lnTo>
                      <a:pt x="594" y="276"/>
                    </a:lnTo>
                    <a:lnTo>
                      <a:pt x="666" y="276"/>
                    </a:lnTo>
                    <a:lnTo>
                      <a:pt x="666" y="270"/>
                    </a:lnTo>
                    <a:lnTo>
                      <a:pt x="672" y="264"/>
                    </a:lnTo>
                    <a:lnTo>
                      <a:pt x="684" y="240"/>
                    </a:lnTo>
                    <a:lnTo>
                      <a:pt x="690" y="222"/>
                    </a:lnTo>
                    <a:lnTo>
                      <a:pt x="702" y="210"/>
                    </a:lnTo>
                    <a:lnTo>
                      <a:pt x="708" y="198"/>
                    </a:lnTo>
                    <a:lnTo>
                      <a:pt x="720" y="192"/>
                    </a:lnTo>
                    <a:lnTo>
                      <a:pt x="720" y="186"/>
                    </a:lnTo>
                    <a:lnTo>
                      <a:pt x="732" y="186"/>
                    </a:lnTo>
                    <a:lnTo>
                      <a:pt x="648" y="0"/>
                    </a:lnTo>
                    <a:lnTo>
                      <a:pt x="630" y="0"/>
                    </a:lnTo>
                    <a:lnTo>
                      <a:pt x="588" y="6"/>
                    </a:lnTo>
                    <a:lnTo>
                      <a:pt x="540" y="18"/>
                    </a:lnTo>
                    <a:lnTo>
                      <a:pt x="492" y="24"/>
                    </a:lnTo>
                    <a:lnTo>
                      <a:pt x="468" y="2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07" name="Uzbekis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88B25B9-0C28-4ADB-953A-9B57C49FA7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5583" y="2877307"/>
                <a:ext cx="524153" cy="299370"/>
              </a:xfrm>
              <a:custGeom>
                <a:avLst/>
                <a:gdLst>
                  <a:gd name="T0" fmla="*/ 2147483647 w 1182"/>
                  <a:gd name="T1" fmla="*/ 2147483647 h 666"/>
                  <a:gd name="T2" fmla="*/ 2147483647 w 1182"/>
                  <a:gd name="T3" fmla="*/ 2147483647 h 666"/>
                  <a:gd name="T4" fmla="*/ 2147483647 w 1182"/>
                  <a:gd name="T5" fmla="*/ 2147483647 h 666"/>
                  <a:gd name="T6" fmla="*/ 2147483647 w 1182"/>
                  <a:gd name="T7" fmla="*/ 2147483647 h 666"/>
                  <a:gd name="T8" fmla="*/ 2147483647 w 1182"/>
                  <a:gd name="T9" fmla="*/ 2147483647 h 666"/>
                  <a:gd name="T10" fmla="*/ 2147483647 w 1182"/>
                  <a:gd name="T11" fmla="*/ 2147483647 h 666"/>
                  <a:gd name="T12" fmla="*/ 2147483647 w 1182"/>
                  <a:gd name="T13" fmla="*/ 2147483647 h 666"/>
                  <a:gd name="T14" fmla="*/ 2147483647 w 1182"/>
                  <a:gd name="T15" fmla="*/ 2147483647 h 666"/>
                  <a:gd name="T16" fmla="*/ 2147483647 w 1182"/>
                  <a:gd name="T17" fmla="*/ 2147483647 h 666"/>
                  <a:gd name="T18" fmla="*/ 2147483647 w 1182"/>
                  <a:gd name="T19" fmla="*/ 2147483647 h 666"/>
                  <a:gd name="T20" fmla="*/ 2147483647 w 1182"/>
                  <a:gd name="T21" fmla="*/ 2147483647 h 666"/>
                  <a:gd name="T22" fmla="*/ 2147483647 w 1182"/>
                  <a:gd name="T23" fmla="*/ 2147483647 h 666"/>
                  <a:gd name="T24" fmla="*/ 2147483647 w 1182"/>
                  <a:gd name="T25" fmla="*/ 2147483647 h 666"/>
                  <a:gd name="T26" fmla="*/ 2147483647 w 1182"/>
                  <a:gd name="T27" fmla="*/ 2147483647 h 666"/>
                  <a:gd name="T28" fmla="*/ 2147483647 w 1182"/>
                  <a:gd name="T29" fmla="*/ 2147483647 h 666"/>
                  <a:gd name="T30" fmla="*/ 2147483647 w 1182"/>
                  <a:gd name="T31" fmla="*/ 2147483647 h 666"/>
                  <a:gd name="T32" fmla="*/ 2147483647 w 1182"/>
                  <a:gd name="T33" fmla="*/ 2147483647 h 666"/>
                  <a:gd name="T34" fmla="*/ 2147483647 w 1182"/>
                  <a:gd name="T35" fmla="*/ 2147483647 h 666"/>
                  <a:gd name="T36" fmla="*/ 2147483647 w 1182"/>
                  <a:gd name="T37" fmla="*/ 2147483647 h 666"/>
                  <a:gd name="T38" fmla="*/ 2147483647 w 1182"/>
                  <a:gd name="T39" fmla="*/ 2147483647 h 666"/>
                  <a:gd name="T40" fmla="*/ 2147483647 w 1182"/>
                  <a:gd name="T41" fmla="*/ 2147483647 h 666"/>
                  <a:gd name="T42" fmla="*/ 2147483647 w 1182"/>
                  <a:gd name="T43" fmla="*/ 2147483647 h 666"/>
                  <a:gd name="T44" fmla="*/ 2147483647 w 1182"/>
                  <a:gd name="T45" fmla="*/ 2147483647 h 666"/>
                  <a:gd name="T46" fmla="*/ 2147483647 w 1182"/>
                  <a:gd name="T47" fmla="*/ 2147483647 h 666"/>
                  <a:gd name="T48" fmla="*/ 2147483647 w 1182"/>
                  <a:gd name="T49" fmla="*/ 2147483647 h 666"/>
                  <a:gd name="T50" fmla="*/ 2147483647 w 1182"/>
                  <a:gd name="T51" fmla="*/ 2147483647 h 666"/>
                  <a:gd name="T52" fmla="*/ 2147483647 w 1182"/>
                  <a:gd name="T53" fmla="*/ 2147483647 h 666"/>
                  <a:gd name="T54" fmla="*/ 2147483647 w 1182"/>
                  <a:gd name="T55" fmla="*/ 2147483647 h 666"/>
                  <a:gd name="T56" fmla="*/ 2147483647 w 1182"/>
                  <a:gd name="T57" fmla="*/ 2147483647 h 666"/>
                  <a:gd name="T58" fmla="*/ 2147483647 w 1182"/>
                  <a:gd name="T59" fmla="*/ 2147483647 h 666"/>
                  <a:gd name="T60" fmla="*/ 2147483647 w 1182"/>
                  <a:gd name="T61" fmla="*/ 2147483647 h 666"/>
                  <a:gd name="T62" fmla="*/ 2147483647 w 1182"/>
                  <a:gd name="T63" fmla="*/ 2147483647 h 666"/>
                  <a:gd name="T64" fmla="*/ 2147483647 w 1182"/>
                  <a:gd name="T65" fmla="*/ 2147483647 h 666"/>
                  <a:gd name="T66" fmla="*/ 2147483647 w 1182"/>
                  <a:gd name="T67" fmla="*/ 2147483647 h 666"/>
                  <a:gd name="T68" fmla="*/ 2147483647 w 1182"/>
                  <a:gd name="T69" fmla="*/ 2147483647 h 666"/>
                  <a:gd name="T70" fmla="*/ 2147483647 w 1182"/>
                  <a:gd name="T71" fmla="*/ 2147483647 h 666"/>
                  <a:gd name="T72" fmla="*/ 2147483647 w 1182"/>
                  <a:gd name="T73" fmla="*/ 2147483647 h 666"/>
                  <a:gd name="T74" fmla="*/ 2147483647 w 1182"/>
                  <a:gd name="T75" fmla="*/ 2147483647 h 666"/>
                  <a:gd name="T76" fmla="*/ 2147483647 w 1182"/>
                  <a:gd name="T77" fmla="*/ 2147483647 h 666"/>
                  <a:gd name="T78" fmla="*/ 2147483647 w 1182"/>
                  <a:gd name="T79" fmla="*/ 2147483647 h 666"/>
                  <a:gd name="T80" fmla="*/ 2147483647 w 1182"/>
                  <a:gd name="T81" fmla="*/ 2147483647 h 666"/>
                  <a:gd name="T82" fmla="*/ 2147483647 w 1182"/>
                  <a:gd name="T83" fmla="*/ 2147483647 h 666"/>
                  <a:gd name="T84" fmla="*/ 2147483647 w 1182"/>
                  <a:gd name="T85" fmla="*/ 2147483647 h 666"/>
                  <a:gd name="T86" fmla="*/ 2147483647 w 1182"/>
                  <a:gd name="T87" fmla="*/ 2147483647 h 666"/>
                  <a:gd name="T88" fmla="*/ 2147483647 w 1182"/>
                  <a:gd name="T89" fmla="*/ 2147483647 h 666"/>
                  <a:gd name="T90" fmla="*/ 2147483647 w 1182"/>
                  <a:gd name="T91" fmla="*/ 2147483647 h 666"/>
                  <a:gd name="T92" fmla="*/ 2147483647 w 1182"/>
                  <a:gd name="T93" fmla="*/ 2147483647 h 666"/>
                  <a:gd name="T94" fmla="*/ 2147483647 w 1182"/>
                  <a:gd name="T95" fmla="*/ 2147483647 h 666"/>
                  <a:gd name="T96" fmla="*/ 2147483647 w 1182"/>
                  <a:gd name="T97" fmla="*/ 2147483647 h 666"/>
                  <a:gd name="T98" fmla="*/ 2147483647 w 1182"/>
                  <a:gd name="T99" fmla="*/ 2147483647 h 666"/>
                  <a:gd name="T100" fmla="*/ 2147483647 w 1182"/>
                  <a:gd name="T101" fmla="*/ 2147483647 h 666"/>
                  <a:gd name="T102" fmla="*/ 2147483647 w 1182"/>
                  <a:gd name="T103" fmla="*/ 2147483647 h 666"/>
                  <a:gd name="T104" fmla="*/ 2147483647 w 1182"/>
                  <a:gd name="T105" fmla="*/ 2147483647 h 666"/>
                  <a:gd name="T106" fmla="*/ 2147483647 w 1182"/>
                  <a:gd name="T107" fmla="*/ 2147483647 h 666"/>
                  <a:gd name="T108" fmla="*/ 2147483647 w 1182"/>
                  <a:gd name="T109" fmla="*/ 2147483647 h 666"/>
                  <a:gd name="T110" fmla="*/ 2147483647 w 1182"/>
                  <a:gd name="T111" fmla="*/ 2147483647 h 666"/>
                  <a:gd name="T112" fmla="*/ 2147483647 w 1182"/>
                  <a:gd name="T113" fmla="*/ 2147483647 h 666"/>
                  <a:gd name="T114" fmla="*/ 2147483647 w 1182"/>
                  <a:gd name="T115" fmla="*/ 2147483647 h 66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182"/>
                  <a:gd name="T175" fmla="*/ 0 h 666"/>
                  <a:gd name="T176" fmla="*/ 1182 w 1182"/>
                  <a:gd name="T177" fmla="*/ 666 h 66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182" h="666">
                    <a:moveTo>
                      <a:pt x="1152" y="372"/>
                    </a:moveTo>
                    <a:lnTo>
                      <a:pt x="1146" y="360"/>
                    </a:lnTo>
                    <a:lnTo>
                      <a:pt x="1122" y="360"/>
                    </a:lnTo>
                    <a:lnTo>
                      <a:pt x="1116" y="342"/>
                    </a:lnTo>
                    <a:lnTo>
                      <a:pt x="1098" y="342"/>
                    </a:lnTo>
                    <a:lnTo>
                      <a:pt x="1080" y="318"/>
                    </a:lnTo>
                    <a:lnTo>
                      <a:pt x="1080" y="330"/>
                    </a:lnTo>
                    <a:lnTo>
                      <a:pt x="1068" y="330"/>
                    </a:lnTo>
                    <a:lnTo>
                      <a:pt x="1068" y="342"/>
                    </a:lnTo>
                    <a:lnTo>
                      <a:pt x="1032" y="342"/>
                    </a:lnTo>
                    <a:lnTo>
                      <a:pt x="1020" y="330"/>
                    </a:lnTo>
                    <a:lnTo>
                      <a:pt x="990" y="318"/>
                    </a:lnTo>
                    <a:lnTo>
                      <a:pt x="1038" y="270"/>
                    </a:lnTo>
                    <a:lnTo>
                      <a:pt x="1038" y="264"/>
                    </a:lnTo>
                    <a:lnTo>
                      <a:pt x="1032" y="264"/>
                    </a:lnTo>
                    <a:lnTo>
                      <a:pt x="1032" y="258"/>
                    </a:lnTo>
                    <a:lnTo>
                      <a:pt x="1002" y="276"/>
                    </a:lnTo>
                    <a:lnTo>
                      <a:pt x="978" y="276"/>
                    </a:lnTo>
                    <a:lnTo>
                      <a:pt x="966" y="300"/>
                    </a:lnTo>
                    <a:lnTo>
                      <a:pt x="960" y="300"/>
                    </a:lnTo>
                    <a:lnTo>
                      <a:pt x="954" y="306"/>
                    </a:lnTo>
                    <a:lnTo>
                      <a:pt x="942" y="306"/>
                    </a:lnTo>
                    <a:lnTo>
                      <a:pt x="930" y="312"/>
                    </a:lnTo>
                    <a:lnTo>
                      <a:pt x="918" y="324"/>
                    </a:lnTo>
                    <a:lnTo>
                      <a:pt x="918" y="342"/>
                    </a:lnTo>
                    <a:lnTo>
                      <a:pt x="912" y="342"/>
                    </a:lnTo>
                    <a:lnTo>
                      <a:pt x="906" y="348"/>
                    </a:lnTo>
                    <a:lnTo>
                      <a:pt x="894" y="354"/>
                    </a:lnTo>
                    <a:lnTo>
                      <a:pt x="882" y="366"/>
                    </a:lnTo>
                    <a:lnTo>
                      <a:pt x="882" y="378"/>
                    </a:lnTo>
                    <a:lnTo>
                      <a:pt x="888" y="384"/>
                    </a:lnTo>
                    <a:lnTo>
                      <a:pt x="888" y="396"/>
                    </a:lnTo>
                    <a:lnTo>
                      <a:pt x="882" y="390"/>
                    </a:lnTo>
                    <a:lnTo>
                      <a:pt x="870" y="390"/>
                    </a:lnTo>
                    <a:lnTo>
                      <a:pt x="858" y="384"/>
                    </a:lnTo>
                    <a:lnTo>
                      <a:pt x="852" y="384"/>
                    </a:lnTo>
                    <a:lnTo>
                      <a:pt x="852" y="372"/>
                    </a:lnTo>
                    <a:lnTo>
                      <a:pt x="858" y="366"/>
                    </a:lnTo>
                    <a:lnTo>
                      <a:pt x="858" y="348"/>
                    </a:lnTo>
                    <a:lnTo>
                      <a:pt x="840" y="342"/>
                    </a:lnTo>
                    <a:lnTo>
                      <a:pt x="762" y="342"/>
                    </a:lnTo>
                    <a:lnTo>
                      <a:pt x="732" y="282"/>
                    </a:lnTo>
                    <a:lnTo>
                      <a:pt x="726" y="276"/>
                    </a:lnTo>
                    <a:lnTo>
                      <a:pt x="714" y="276"/>
                    </a:lnTo>
                    <a:lnTo>
                      <a:pt x="708" y="282"/>
                    </a:lnTo>
                    <a:lnTo>
                      <a:pt x="702" y="282"/>
                    </a:lnTo>
                    <a:lnTo>
                      <a:pt x="696" y="276"/>
                    </a:lnTo>
                    <a:lnTo>
                      <a:pt x="696" y="234"/>
                    </a:lnTo>
                    <a:lnTo>
                      <a:pt x="690" y="216"/>
                    </a:lnTo>
                    <a:lnTo>
                      <a:pt x="690" y="204"/>
                    </a:lnTo>
                    <a:lnTo>
                      <a:pt x="660" y="204"/>
                    </a:lnTo>
                    <a:lnTo>
                      <a:pt x="654" y="192"/>
                    </a:lnTo>
                    <a:lnTo>
                      <a:pt x="642" y="186"/>
                    </a:lnTo>
                    <a:lnTo>
                      <a:pt x="636" y="168"/>
                    </a:lnTo>
                    <a:lnTo>
                      <a:pt x="618" y="150"/>
                    </a:lnTo>
                    <a:lnTo>
                      <a:pt x="612" y="138"/>
                    </a:lnTo>
                    <a:lnTo>
                      <a:pt x="600" y="138"/>
                    </a:lnTo>
                    <a:lnTo>
                      <a:pt x="576" y="150"/>
                    </a:lnTo>
                    <a:lnTo>
                      <a:pt x="570" y="156"/>
                    </a:lnTo>
                    <a:lnTo>
                      <a:pt x="552" y="156"/>
                    </a:lnTo>
                    <a:lnTo>
                      <a:pt x="534" y="150"/>
                    </a:lnTo>
                    <a:lnTo>
                      <a:pt x="474" y="150"/>
                    </a:lnTo>
                    <a:lnTo>
                      <a:pt x="456" y="156"/>
                    </a:lnTo>
                    <a:lnTo>
                      <a:pt x="420" y="156"/>
                    </a:lnTo>
                    <a:lnTo>
                      <a:pt x="414" y="162"/>
                    </a:lnTo>
                    <a:lnTo>
                      <a:pt x="408" y="162"/>
                    </a:lnTo>
                    <a:lnTo>
                      <a:pt x="330" y="90"/>
                    </a:lnTo>
                    <a:lnTo>
                      <a:pt x="264" y="54"/>
                    </a:lnTo>
                    <a:lnTo>
                      <a:pt x="270" y="66"/>
                    </a:lnTo>
                    <a:lnTo>
                      <a:pt x="270" y="90"/>
                    </a:lnTo>
                    <a:lnTo>
                      <a:pt x="264" y="102"/>
                    </a:lnTo>
                    <a:lnTo>
                      <a:pt x="258" y="108"/>
                    </a:lnTo>
                    <a:lnTo>
                      <a:pt x="240" y="108"/>
                    </a:lnTo>
                    <a:lnTo>
                      <a:pt x="228" y="102"/>
                    </a:lnTo>
                    <a:lnTo>
                      <a:pt x="222" y="96"/>
                    </a:lnTo>
                    <a:lnTo>
                      <a:pt x="222" y="78"/>
                    </a:lnTo>
                    <a:lnTo>
                      <a:pt x="210" y="54"/>
                    </a:lnTo>
                    <a:lnTo>
                      <a:pt x="216" y="36"/>
                    </a:lnTo>
                    <a:lnTo>
                      <a:pt x="162" y="12"/>
                    </a:lnTo>
                    <a:lnTo>
                      <a:pt x="156" y="30"/>
                    </a:lnTo>
                    <a:lnTo>
                      <a:pt x="168" y="36"/>
                    </a:lnTo>
                    <a:lnTo>
                      <a:pt x="174" y="48"/>
                    </a:lnTo>
                    <a:lnTo>
                      <a:pt x="174" y="72"/>
                    </a:lnTo>
                    <a:lnTo>
                      <a:pt x="168" y="78"/>
                    </a:lnTo>
                    <a:lnTo>
                      <a:pt x="156" y="84"/>
                    </a:lnTo>
                    <a:lnTo>
                      <a:pt x="150" y="84"/>
                    </a:lnTo>
                    <a:lnTo>
                      <a:pt x="144" y="78"/>
                    </a:lnTo>
                    <a:lnTo>
                      <a:pt x="144" y="60"/>
                    </a:lnTo>
                    <a:lnTo>
                      <a:pt x="132" y="48"/>
                    </a:lnTo>
                    <a:lnTo>
                      <a:pt x="132" y="42"/>
                    </a:lnTo>
                    <a:lnTo>
                      <a:pt x="144" y="30"/>
                    </a:lnTo>
                    <a:lnTo>
                      <a:pt x="150" y="6"/>
                    </a:lnTo>
                    <a:lnTo>
                      <a:pt x="144" y="0"/>
                    </a:lnTo>
                    <a:lnTo>
                      <a:pt x="0" y="42"/>
                    </a:lnTo>
                    <a:lnTo>
                      <a:pt x="48" y="324"/>
                    </a:lnTo>
                    <a:lnTo>
                      <a:pt x="60" y="324"/>
                    </a:lnTo>
                    <a:lnTo>
                      <a:pt x="72" y="336"/>
                    </a:lnTo>
                    <a:lnTo>
                      <a:pt x="138" y="336"/>
                    </a:lnTo>
                    <a:lnTo>
                      <a:pt x="132" y="324"/>
                    </a:lnTo>
                    <a:lnTo>
                      <a:pt x="120" y="318"/>
                    </a:lnTo>
                    <a:lnTo>
                      <a:pt x="114" y="300"/>
                    </a:lnTo>
                    <a:lnTo>
                      <a:pt x="114" y="288"/>
                    </a:lnTo>
                    <a:lnTo>
                      <a:pt x="132" y="270"/>
                    </a:lnTo>
                    <a:lnTo>
                      <a:pt x="144" y="264"/>
                    </a:lnTo>
                    <a:lnTo>
                      <a:pt x="156" y="264"/>
                    </a:lnTo>
                    <a:lnTo>
                      <a:pt x="162" y="258"/>
                    </a:lnTo>
                    <a:lnTo>
                      <a:pt x="168" y="258"/>
                    </a:lnTo>
                    <a:lnTo>
                      <a:pt x="168" y="246"/>
                    </a:lnTo>
                    <a:lnTo>
                      <a:pt x="174" y="240"/>
                    </a:lnTo>
                    <a:lnTo>
                      <a:pt x="180" y="240"/>
                    </a:lnTo>
                    <a:lnTo>
                      <a:pt x="186" y="246"/>
                    </a:lnTo>
                    <a:lnTo>
                      <a:pt x="198" y="246"/>
                    </a:lnTo>
                    <a:lnTo>
                      <a:pt x="204" y="252"/>
                    </a:lnTo>
                    <a:lnTo>
                      <a:pt x="174" y="222"/>
                    </a:lnTo>
                    <a:lnTo>
                      <a:pt x="204" y="228"/>
                    </a:lnTo>
                    <a:lnTo>
                      <a:pt x="210" y="216"/>
                    </a:lnTo>
                    <a:lnTo>
                      <a:pt x="228" y="240"/>
                    </a:lnTo>
                    <a:lnTo>
                      <a:pt x="252" y="240"/>
                    </a:lnTo>
                    <a:lnTo>
                      <a:pt x="252" y="252"/>
                    </a:lnTo>
                    <a:lnTo>
                      <a:pt x="264" y="258"/>
                    </a:lnTo>
                    <a:lnTo>
                      <a:pt x="300" y="258"/>
                    </a:lnTo>
                    <a:lnTo>
                      <a:pt x="306" y="264"/>
                    </a:lnTo>
                    <a:lnTo>
                      <a:pt x="312" y="276"/>
                    </a:lnTo>
                    <a:lnTo>
                      <a:pt x="312" y="288"/>
                    </a:lnTo>
                    <a:lnTo>
                      <a:pt x="324" y="294"/>
                    </a:lnTo>
                    <a:lnTo>
                      <a:pt x="312" y="306"/>
                    </a:lnTo>
                    <a:lnTo>
                      <a:pt x="312" y="318"/>
                    </a:lnTo>
                    <a:lnTo>
                      <a:pt x="330" y="336"/>
                    </a:lnTo>
                    <a:lnTo>
                      <a:pt x="360" y="336"/>
                    </a:lnTo>
                    <a:lnTo>
                      <a:pt x="414" y="342"/>
                    </a:lnTo>
                    <a:lnTo>
                      <a:pt x="414" y="336"/>
                    </a:lnTo>
                    <a:lnTo>
                      <a:pt x="450" y="354"/>
                    </a:lnTo>
                    <a:lnTo>
                      <a:pt x="468" y="384"/>
                    </a:lnTo>
                    <a:lnTo>
                      <a:pt x="486" y="402"/>
                    </a:lnTo>
                    <a:lnTo>
                      <a:pt x="486" y="408"/>
                    </a:lnTo>
                    <a:lnTo>
                      <a:pt x="492" y="414"/>
                    </a:lnTo>
                    <a:lnTo>
                      <a:pt x="510" y="450"/>
                    </a:lnTo>
                    <a:lnTo>
                      <a:pt x="522" y="462"/>
                    </a:lnTo>
                    <a:lnTo>
                      <a:pt x="534" y="468"/>
                    </a:lnTo>
                    <a:lnTo>
                      <a:pt x="552" y="468"/>
                    </a:lnTo>
                    <a:lnTo>
                      <a:pt x="564" y="474"/>
                    </a:lnTo>
                    <a:lnTo>
                      <a:pt x="570" y="474"/>
                    </a:lnTo>
                    <a:lnTo>
                      <a:pt x="582" y="486"/>
                    </a:lnTo>
                    <a:lnTo>
                      <a:pt x="588" y="498"/>
                    </a:lnTo>
                    <a:lnTo>
                      <a:pt x="594" y="504"/>
                    </a:lnTo>
                    <a:lnTo>
                      <a:pt x="624" y="522"/>
                    </a:lnTo>
                    <a:lnTo>
                      <a:pt x="648" y="522"/>
                    </a:lnTo>
                    <a:lnTo>
                      <a:pt x="666" y="534"/>
                    </a:lnTo>
                    <a:lnTo>
                      <a:pt x="690" y="546"/>
                    </a:lnTo>
                    <a:lnTo>
                      <a:pt x="696" y="552"/>
                    </a:lnTo>
                    <a:lnTo>
                      <a:pt x="708" y="558"/>
                    </a:lnTo>
                    <a:lnTo>
                      <a:pt x="720" y="570"/>
                    </a:lnTo>
                    <a:lnTo>
                      <a:pt x="732" y="570"/>
                    </a:lnTo>
                    <a:lnTo>
                      <a:pt x="744" y="582"/>
                    </a:lnTo>
                    <a:lnTo>
                      <a:pt x="750" y="582"/>
                    </a:lnTo>
                    <a:lnTo>
                      <a:pt x="774" y="576"/>
                    </a:lnTo>
                    <a:lnTo>
                      <a:pt x="822" y="606"/>
                    </a:lnTo>
                    <a:lnTo>
                      <a:pt x="816" y="612"/>
                    </a:lnTo>
                    <a:lnTo>
                      <a:pt x="816" y="630"/>
                    </a:lnTo>
                    <a:lnTo>
                      <a:pt x="828" y="642"/>
                    </a:lnTo>
                    <a:lnTo>
                      <a:pt x="828" y="654"/>
                    </a:lnTo>
                    <a:lnTo>
                      <a:pt x="840" y="654"/>
                    </a:lnTo>
                    <a:lnTo>
                      <a:pt x="852" y="642"/>
                    </a:lnTo>
                    <a:lnTo>
                      <a:pt x="870" y="666"/>
                    </a:lnTo>
                    <a:lnTo>
                      <a:pt x="882" y="660"/>
                    </a:lnTo>
                    <a:lnTo>
                      <a:pt x="894" y="660"/>
                    </a:lnTo>
                    <a:lnTo>
                      <a:pt x="900" y="666"/>
                    </a:lnTo>
                    <a:lnTo>
                      <a:pt x="906" y="666"/>
                    </a:lnTo>
                    <a:lnTo>
                      <a:pt x="900" y="666"/>
                    </a:lnTo>
                    <a:lnTo>
                      <a:pt x="900" y="642"/>
                    </a:lnTo>
                    <a:lnTo>
                      <a:pt x="906" y="636"/>
                    </a:lnTo>
                    <a:lnTo>
                      <a:pt x="912" y="624"/>
                    </a:lnTo>
                    <a:lnTo>
                      <a:pt x="924" y="618"/>
                    </a:lnTo>
                    <a:lnTo>
                      <a:pt x="930" y="606"/>
                    </a:lnTo>
                    <a:lnTo>
                      <a:pt x="930" y="588"/>
                    </a:lnTo>
                    <a:lnTo>
                      <a:pt x="918" y="576"/>
                    </a:lnTo>
                    <a:lnTo>
                      <a:pt x="906" y="570"/>
                    </a:lnTo>
                    <a:lnTo>
                      <a:pt x="900" y="564"/>
                    </a:lnTo>
                    <a:lnTo>
                      <a:pt x="900" y="546"/>
                    </a:lnTo>
                    <a:lnTo>
                      <a:pt x="906" y="540"/>
                    </a:lnTo>
                    <a:lnTo>
                      <a:pt x="906" y="534"/>
                    </a:lnTo>
                    <a:lnTo>
                      <a:pt x="894" y="522"/>
                    </a:lnTo>
                    <a:lnTo>
                      <a:pt x="882" y="522"/>
                    </a:lnTo>
                    <a:lnTo>
                      <a:pt x="876" y="516"/>
                    </a:lnTo>
                    <a:lnTo>
                      <a:pt x="870" y="516"/>
                    </a:lnTo>
                    <a:lnTo>
                      <a:pt x="858" y="504"/>
                    </a:lnTo>
                    <a:lnTo>
                      <a:pt x="840" y="504"/>
                    </a:lnTo>
                    <a:lnTo>
                      <a:pt x="840" y="486"/>
                    </a:lnTo>
                    <a:lnTo>
                      <a:pt x="846" y="480"/>
                    </a:lnTo>
                    <a:lnTo>
                      <a:pt x="894" y="480"/>
                    </a:lnTo>
                    <a:lnTo>
                      <a:pt x="918" y="468"/>
                    </a:lnTo>
                    <a:lnTo>
                      <a:pt x="918" y="456"/>
                    </a:lnTo>
                    <a:lnTo>
                      <a:pt x="912" y="456"/>
                    </a:lnTo>
                    <a:lnTo>
                      <a:pt x="930" y="444"/>
                    </a:lnTo>
                    <a:lnTo>
                      <a:pt x="906" y="420"/>
                    </a:lnTo>
                    <a:lnTo>
                      <a:pt x="948" y="420"/>
                    </a:lnTo>
                    <a:lnTo>
                      <a:pt x="948" y="414"/>
                    </a:lnTo>
                    <a:lnTo>
                      <a:pt x="936" y="402"/>
                    </a:lnTo>
                    <a:lnTo>
                      <a:pt x="936" y="390"/>
                    </a:lnTo>
                    <a:lnTo>
                      <a:pt x="942" y="384"/>
                    </a:lnTo>
                    <a:lnTo>
                      <a:pt x="942" y="372"/>
                    </a:lnTo>
                    <a:lnTo>
                      <a:pt x="954" y="372"/>
                    </a:lnTo>
                    <a:lnTo>
                      <a:pt x="972" y="390"/>
                    </a:lnTo>
                    <a:lnTo>
                      <a:pt x="978" y="390"/>
                    </a:lnTo>
                    <a:lnTo>
                      <a:pt x="984" y="378"/>
                    </a:lnTo>
                    <a:lnTo>
                      <a:pt x="996" y="372"/>
                    </a:lnTo>
                    <a:lnTo>
                      <a:pt x="1002" y="360"/>
                    </a:lnTo>
                    <a:lnTo>
                      <a:pt x="1020" y="360"/>
                    </a:lnTo>
                    <a:lnTo>
                      <a:pt x="1032" y="366"/>
                    </a:lnTo>
                    <a:lnTo>
                      <a:pt x="1038" y="372"/>
                    </a:lnTo>
                    <a:lnTo>
                      <a:pt x="1014" y="408"/>
                    </a:lnTo>
                    <a:lnTo>
                      <a:pt x="1026" y="408"/>
                    </a:lnTo>
                    <a:lnTo>
                      <a:pt x="1032" y="414"/>
                    </a:lnTo>
                    <a:lnTo>
                      <a:pt x="1044" y="414"/>
                    </a:lnTo>
                    <a:lnTo>
                      <a:pt x="1050" y="420"/>
                    </a:lnTo>
                    <a:lnTo>
                      <a:pt x="1056" y="420"/>
                    </a:lnTo>
                    <a:lnTo>
                      <a:pt x="1068" y="414"/>
                    </a:lnTo>
                    <a:lnTo>
                      <a:pt x="1086" y="414"/>
                    </a:lnTo>
                    <a:lnTo>
                      <a:pt x="1092" y="420"/>
                    </a:lnTo>
                    <a:lnTo>
                      <a:pt x="1098" y="420"/>
                    </a:lnTo>
                    <a:lnTo>
                      <a:pt x="1104" y="426"/>
                    </a:lnTo>
                    <a:lnTo>
                      <a:pt x="1110" y="426"/>
                    </a:lnTo>
                    <a:lnTo>
                      <a:pt x="1128" y="408"/>
                    </a:lnTo>
                    <a:lnTo>
                      <a:pt x="1146" y="402"/>
                    </a:lnTo>
                    <a:lnTo>
                      <a:pt x="1146" y="396"/>
                    </a:lnTo>
                    <a:lnTo>
                      <a:pt x="1158" y="396"/>
                    </a:lnTo>
                    <a:lnTo>
                      <a:pt x="1170" y="390"/>
                    </a:lnTo>
                    <a:lnTo>
                      <a:pt x="1182" y="378"/>
                    </a:lnTo>
                    <a:lnTo>
                      <a:pt x="1182" y="366"/>
                    </a:lnTo>
                    <a:lnTo>
                      <a:pt x="1170" y="366"/>
                    </a:lnTo>
                    <a:lnTo>
                      <a:pt x="1158" y="372"/>
                    </a:lnTo>
                    <a:lnTo>
                      <a:pt x="1152" y="37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08" name="Venezuel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864E407-6F51-4E33-A53C-D60C2BCDBE5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44921" y="4080098"/>
                <a:ext cx="422816" cy="418053"/>
              </a:xfrm>
              <a:custGeom>
                <a:avLst/>
                <a:gdLst>
                  <a:gd name="T0" fmla="*/ 2147483647 w 954"/>
                  <a:gd name="T1" fmla="*/ 2147483647 h 930"/>
                  <a:gd name="T2" fmla="*/ 2147483647 w 954"/>
                  <a:gd name="T3" fmla="*/ 2147483647 h 930"/>
                  <a:gd name="T4" fmla="*/ 2147483647 w 954"/>
                  <a:gd name="T5" fmla="*/ 2147483647 h 930"/>
                  <a:gd name="T6" fmla="*/ 2147483647 w 954"/>
                  <a:gd name="T7" fmla="*/ 2147483647 h 930"/>
                  <a:gd name="T8" fmla="*/ 2147483647 w 954"/>
                  <a:gd name="T9" fmla="*/ 2147483647 h 930"/>
                  <a:gd name="T10" fmla="*/ 2147483647 w 954"/>
                  <a:gd name="T11" fmla="*/ 2147483647 h 930"/>
                  <a:gd name="T12" fmla="*/ 2147483647 w 954"/>
                  <a:gd name="T13" fmla="*/ 2147483647 h 930"/>
                  <a:gd name="T14" fmla="*/ 2147483647 w 954"/>
                  <a:gd name="T15" fmla="*/ 2147483647 h 930"/>
                  <a:gd name="T16" fmla="*/ 2147483647 w 954"/>
                  <a:gd name="T17" fmla="*/ 2147483647 h 930"/>
                  <a:gd name="T18" fmla="*/ 2147483647 w 954"/>
                  <a:gd name="T19" fmla="*/ 2147483647 h 930"/>
                  <a:gd name="T20" fmla="*/ 2147483647 w 954"/>
                  <a:gd name="T21" fmla="*/ 2147483647 h 930"/>
                  <a:gd name="T22" fmla="*/ 2147483647 w 954"/>
                  <a:gd name="T23" fmla="*/ 2147483647 h 930"/>
                  <a:gd name="T24" fmla="*/ 2147483647 w 954"/>
                  <a:gd name="T25" fmla="*/ 2147483647 h 930"/>
                  <a:gd name="T26" fmla="*/ 2147483647 w 954"/>
                  <a:gd name="T27" fmla="*/ 2147483647 h 930"/>
                  <a:gd name="T28" fmla="*/ 2147483647 w 954"/>
                  <a:gd name="T29" fmla="*/ 2147483647 h 930"/>
                  <a:gd name="T30" fmla="*/ 2147483647 w 954"/>
                  <a:gd name="T31" fmla="*/ 2147483647 h 930"/>
                  <a:gd name="T32" fmla="*/ 2147483647 w 954"/>
                  <a:gd name="T33" fmla="*/ 2147483647 h 930"/>
                  <a:gd name="T34" fmla="*/ 2147483647 w 954"/>
                  <a:gd name="T35" fmla="*/ 2147483647 h 930"/>
                  <a:gd name="T36" fmla="*/ 2147483647 w 954"/>
                  <a:gd name="T37" fmla="*/ 2147483647 h 930"/>
                  <a:gd name="T38" fmla="*/ 2147483647 w 954"/>
                  <a:gd name="T39" fmla="*/ 2147483647 h 930"/>
                  <a:gd name="T40" fmla="*/ 2147483647 w 954"/>
                  <a:gd name="T41" fmla="*/ 2147483647 h 930"/>
                  <a:gd name="T42" fmla="*/ 2147483647 w 954"/>
                  <a:gd name="T43" fmla="*/ 2147483647 h 930"/>
                  <a:gd name="T44" fmla="*/ 2147483647 w 954"/>
                  <a:gd name="T45" fmla="*/ 2147483647 h 930"/>
                  <a:gd name="T46" fmla="*/ 2147483647 w 954"/>
                  <a:gd name="T47" fmla="*/ 2147483647 h 930"/>
                  <a:gd name="T48" fmla="*/ 2147483647 w 954"/>
                  <a:gd name="T49" fmla="*/ 2147483647 h 930"/>
                  <a:gd name="T50" fmla="*/ 0 w 954"/>
                  <a:gd name="T51" fmla="*/ 2147483647 h 930"/>
                  <a:gd name="T52" fmla="*/ 2147483647 w 954"/>
                  <a:gd name="T53" fmla="*/ 2147483647 h 930"/>
                  <a:gd name="T54" fmla="*/ 2147483647 w 954"/>
                  <a:gd name="T55" fmla="*/ 2147483647 h 930"/>
                  <a:gd name="T56" fmla="*/ 2147483647 w 954"/>
                  <a:gd name="T57" fmla="*/ 2147483647 h 930"/>
                  <a:gd name="T58" fmla="*/ 2147483647 w 954"/>
                  <a:gd name="T59" fmla="*/ 2147483647 h 930"/>
                  <a:gd name="T60" fmla="*/ 2147483647 w 954"/>
                  <a:gd name="T61" fmla="*/ 2147483647 h 930"/>
                  <a:gd name="T62" fmla="*/ 2147483647 w 954"/>
                  <a:gd name="T63" fmla="*/ 2147483647 h 930"/>
                  <a:gd name="T64" fmla="*/ 2147483647 w 954"/>
                  <a:gd name="T65" fmla="*/ 2147483647 h 930"/>
                  <a:gd name="T66" fmla="*/ 2147483647 w 954"/>
                  <a:gd name="T67" fmla="*/ 2147483647 h 930"/>
                  <a:gd name="T68" fmla="*/ 2147483647 w 954"/>
                  <a:gd name="T69" fmla="*/ 2147483647 h 930"/>
                  <a:gd name="T70" fmla="*/ 2147483647 w 954"/>
                  <a:gd name="T71" fmla="*/ 2147483647 h 930"/>
                  <a:gd name="T72" fmla="*/ 2147483647 w 954"/>
                  <a:gd name="T73" fmla="*/ 2147483647 h 930"/>
                  <a:gd name="T74" fmla="*/ 2147483647 w 954"/>
                  <a:gd name="T75" fmla="*/ 2147483647 h 930"/>
                  <a:gd name="T76" fmla="*/ 2147483647 w 954"/>
                  <a:gd name="T77" fmla="*/ 2147483647 h 930"/>
                  <a:gd name="T78" fmla="*/ 2147483647 w 954"/>
                  <a:gd name="T79" fmla="*/ 2147483647 h 930"/>
                  <a:gd name="T80" fmla="*/ 2147483647 w 954"/>
                  <a:gd name="T81" fmla="*/ 2147483647 h 930"/>
                  <a:gd name="T82" fmla="*/ 2147483647 w 954"/>
                  <a:gd name="T83" fmla="*/ 2147483647 h 930"/>
                  <a:gd name="T84" fmla="*/ 2147483647 w 954"/>
                  <a:gd name="T85" fmla="*/ 2147483647 h 930"/>
                  <a:gd name="T86" fmla="*/ 2147483647 w 954"/>
                  <a:gd name="T87" fmla="*/ 2147483647 h 930"/>
                  <a:gd name="T88" fmla="*/ 2147483647 w 954"/>
                  <a:gd name="T89" fmla="*/ 2147483647 h 930"/>
                  <a:gd name="T90" fmla="*/ 2147483647 w 954"/>
                  <a:gd name="T91" fmla="*/ 2147483647 h 930"/>
                  <a:gd name="T92" fmla="*/ 2147483647 w 954"/>
                  <a:gd name="T93" fmla="*/ 2147483647 h 930"/>
                  <a:gd name="T94" fmla="*/ 2147483647 w 954"/>
                  <a:gd name="T95" fmla="*/ 2147483647 h 930"/>
                  <a:gd name="T96" fmla="*/ 2147483647 w 954"/>
                  <a:gd name="T97" fmla="*/ 2147483647 h 930"/>
                  <a:gd name="T98" fmla="*/ 2147483647 w 954"/>
                  <a:gd name="T99" fmla="*/ 2147483647 h 930"/>
                  <a:gd name="T100" fmla="*/ 2147483647 w 954"/>
                  <a:gd name="T101" fmla="*/ 2147483647 h 930"/>
                  <a:gd name="T102" fmla="*/ 2147483647 w 954"/>
                  <a:gd name="T103" fmla="*/ 2147483647 h 930"/>
                  <a:gd name="T104" fmla="*/ 2147483647 w 954"/>
                  <a:gd name="T105" fmla="*/ 2147483647 h 930"/>
                  <a:gd name="T106" fmla="*/ 2147483647 w 954"/>
                  <a:gd name="T107" fmla="*/ 2147483647 h 930"/>
                  <a:gd name="T108" fmla="*/ 2147483647 w 954"/>
                  <a:gd name="T109" fmla="*/ 2147483647 h 930"/>
                  <a:gd name="T110" fmla="*/ 2147483647 w 954"/>
                  <a:gd name="T111" fmla="*/ 2147483647 h 930"/>
                  <a:gd name="T112" fmla="*/ 2147483647 w 954"/>
                  <a:gd name="T113" fmla="*/ 2147483647 h 930"/>
                  <a:gd name="T114" fmla="*/ 2147483647 w 954"/>
                  <a:gd name="T115" fmla="*/ 2147483647 h 930"/>
                  <a:gd name="T116" fmla="*/ 2147483647 w 954"/>
                  <a:gd name="T117" fmla="*/ 2147483647 h 930"/>
                  <a:gd name="T118" fmla="*/ 2147483647 w 954"/>
                  <a:gd name="T119" fmla="*/ 2147483647 h 93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54"/>
                  <a:gd name="T181" fmla="*/ 0 h 930"/>
                  <a:gd name="T182" fmla="*/ 954 w 954"/>
                  <a:gd name="T183" fmla="*/ 930 h 93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54" h="930">
                    <a:moveTo>
                      <a:pt x="264" y="42"/>
                    </a:moveTo>
                    <a:lnTo>
                      <a:pt x="264" y="12"/>
                    </a:lnTo>
                    <a:lnTo>
                      <a:pt x="252" y="0"/>
                    </a:lnTo>
                    <a:lnTo>
                      <a:pt x="234" y="0"/>
                    </a:lnTo>
                    <a:lnTo>
                      <a:pt x="228" y="6"/>
                    </a:lnTo>
                    <a:lnTo>
                      <a:pt x="228" y="18"/>
                    </a:lnTo>
                    <a:lnTo>
                      <a:pt x="234" y="24"/>
                    </a:lnTo>
                    <a:lnTo>
                      <a:pt x="234" y="36"/>
                    </a:lnTo>
                    <a:lnTo>
                      <a:pt x="240" y="42"/>
                    </a:lnTo>
                    <a:lnTo>
                      <a:pt x="264" y="42"/>
                    </a:lnTo>
                    <a:close/>
                    <a:moveTo>
                      <a:pt x="936" y="276"/>
                    </a:moveTo>
                    <a:lnTo>
                      <a:pt x="930" y="276"/>
                    </a:lnTo>
                    <a:lnTo>
                      <a:pt x="924" y="282"/>
                    </a:lnTo>
                    <a:lnTo>
                      <a:pt x="912" y="288"/>
                    </a:lnTo>
                    <a:lnTo>
                      <a:pt x="906" y="294"/>
                    </a:lnTo>
                    <a:lnTo>
                      <a:pt x="900" y="288"/>
                    </a:lnTo>
                    <a:lnTo>
                      <a:pt x="888" y="288"/>
                    </a:lnTo>
                    <a:lnTo>
                      <a:pt x="882" y="282"/>
                    </a:lnTo>
                    <a:lnTo>
                      <a:pt x="876" y="282"/>
                    </a:lnTo>
                    <a:lnTo>
                      <a:pt x="852" y="306"/>
                    </a:lnTo>
                    <a:lnTo>
                      <a:pt x="822" y="282"/>
                    </a:lnTo>
                    <a:lnTo>
                      <a:pt x="846" y="282"/>
                    </a:lnTo>
                    <a:lnTo>
                      <a:pt x="858" y="276"/>
                    </a:lnTo>
                    <a:lnTo>
                      <a:pt x="864" y="276"/>
                    </a:lnTo>
                    <a:lnTo>
                      <a:pt x="870" y="264"/>
                    </a:lnTo>
                    <a:lnTo>
                      <a:pt x="870" y="246"/>
                    </a:lnTo>
                    <a:lnTo>
                      <a:pt x="882" y="234"/>
                    </a:lnTo>
                    <a:lnTo>
                      <a:pt x="888" y="222"/>
                    </a:lnTo>
                    <a:lnTo>
                      <a:pt x="876" y="210"/>
                    </a:lnTo>
                    <a:lnTo>
                      <a:pt x="846" y="210"/>
                    </a:lnTo>
                    <a:lnTo>
                      <a:pt x="846" y="204"/>
                    </a:lnTo>
                    <a:lnTo>
                      <a:pt x="840" y="198"/>
                    </a:lnTo>
                    <a:lnTo>
                      <a:pt x="840" y="192"/>
                    </a:lnTo>
                    <a:lnTo>
                      <a:pt x="834" y="186"/>
                    </a:lnTo>
                    <a:lnTo>
                      <a:pt x="828" y="186"/>
                    </a:lnTo>
                    <a:lnTo>
                      <a:pt x="822" y="192"/>
                    </a:lnTo>
                    <a:lnTo>
                      <a:pt x="822" y="210"/>
                    </a:lnTo>
                    <a:lnTo>
                      <a:pt x="816" y="198"/>
                    </a:lnTo>
                    <a:lnTo>
                      <a:pt x="816" y="180"/>
                    </a:lnTo>
                    <a:lnTo>
                      <a:pt x="792" y="180"/>
                    </a:lnTo>
                    <a:lnTo>
                      <a:pt x="786" y="210"/>
                    </a:lnTo>
                    <a:lnTo>
                      <a:pt x="780" y="204"/>
                    </a:lnTo>
                    <a:lnTo>
                      <a:pt x="774" y="192"/>
                    </a:lnTo>
                    <a:lnTo>
                      <a:pt x="774" y="186"/>
                    </a:lnTo>
                    <a:lnTo>
                      <a:pt x="768" y="180"/>
                    </a:lnTo>
                    <a:lnTo>
                      <a:pt x="768" y="156"/>
                    </a:lnTo>
                    <a:lnTo>
                      <a:pt x="738" y="168"/>
                    </a:lnTo>
                    <a:lnTo>
                      <a:pt x="744" y="162"/>
                    </a:lnTo>
                    <a:lnTo>
                      <a:pt x="756" y="156"/>
                    </a:lnTo>
                    <a:lnTo>
                      <a:pt x="762" y="156"/>
                    </a:lnTo>
                    <a:lnTo>
                      <a:pt x="762" y="144"/>
                    </a:lnTo>
                    <a:lnTo>
                      <a:pt x="750" y="138"/>
                    </a:lnTo>
                    <a:lnTo>
                      <a:pt x="744" y="138"/>
                    </a:lnTo>
                    <a:lnTo>
                      <a:pt x="744" y="132"/>
                    </a:lnTo>
                    <a:lnTo>
                      <a:pt x="750" y="132"/>
                    </a:lnTo>
                    <a:lnTo>
                      <a:pt x="762" y="126"/>
                    </a:lnTo>
                    <a:lnTo>
                      <a:pt x="774" y="126"/>
                    </a:lnTo>
                    <a:lnTo>
                      <a:pt x="792" y="120"/>
                    </a:lnTo>
                    <a:lnTo>
                      <a:pt x="804" y="120"/>
                    </a:lnTo>
                    <a:lnTo>
                      <a:pt x="810" y="114"/>
                    </a:lnTo>
                    <a:lnTo>
                      <a:pt x="726" y="114"/>
                    </a:lnTo>
                    <a:lnTo>
                      <a:pt x="690" y="120"/>
                    </a:lnTo>
                    <a:lnTo>
                      <a:pt x="678" y="120"/>
                    </a:lnTo>
                    <a:lnTo>
                      <a:pt x="690" y="132"/>
                    </a:lnTo>
                    <a:lnTo>
                      <a:pt x="678" y="132"/>
                    </a:lnTo>
                    <a:lnTo>
                      <a:pt x="666" y="138"/>
                    </a:lnTo>
                    <a:lnTo>
                      <a:pt x="654" y="138"/>
                    </a:lnTo>
                    <a:lnTo>
                      <a:pt x="642" y="144"/>
                    </a:lnTo>
                    <a:lnTo>
                      <a:pt x="636" y="144"/>
                    </a:lnTo>
                    <a:lnTo>
                      <a:pt x="624" y="150"/>
                    </a:lnTo>
                    <a:lnTo>
                      <a:pt x="606" y="168"/>
                    </a:lnTo>
                    <a:lnTo>
                      <a:pt x="594" y="174"/>
                    </a:lnTo>
                    <a:lnTo>
                      <a:pt x="576" y="174"/>
                    </a:lnTo>
                    <a:lnTo>
                      <a:pt x="564" y="162"/>
                    </a:lnTo>
                    <a:lnTo>
                      <a:pt x="546" y="156"/>
                    </a:lnTo>
                    <a:lnTo>
                      <a:pt x="534" y="144"/>
                    </a:lnTo>
                    <a:lnTo>
                      <a:pt x="522" y="138"/>
                    </a:lnTo>
                    <a:lnTo>
                      <a:pt x="510" y="126"/>
                    </a:lnTo>
                    <a:lnTo>
                      <a:pt x="492" y="126"/>
                    </a:lnTo>
                    <a:lnTo>
                      <a:pt x="450" y="132"/>
                    </a:lnTo>
                    <a:lnTo>
                      <a:pt x="372" y="132"/>
                    </a:lnTo>
                    <a:lnTo>
                      <a:pt x="360" y="120"/>
                    </a:lnTo>
                    <a:lnTo>
                      <a:pt x="354" y="108"/>
                    </a:lnTo>
                    <a:lnTo>
                      <a:pt x="354" y="84"/>
                    </a:lnTo>
                    <a:lnTo>
                      <a:pt x="348" y="72"/>
                    </a:lnTo>
                    <a:lnTo>
                      <a:pt x="336" y="60"/>
                    </a:lnTo>
                    <a:lnTo>
                      <a:pt x="324" y="54"/>
                    </a:lnTo>
                    <a:lnTo>
                      <a:pt x="276" y="54"/>
                    </a:lnTo>
                    <a:lnTo>
                      <a:pt x="240" y="60"/>
                    </a:lnTo>
                    <a:lnTo>
                      <a:pt x="222" y="72"/>
                    </a:lnTo>
                    <a:lnTo>
                      <a:pt x="210" y="78"/>
                    </a:lnTo>
                    <a:lnTo>
                      <a:pt x="204" y="78"/>
                    </a:lnTo>
                    <a:lnTo>
                      <a:pt x="180" y="90"/>
                    </a:lnTo>
                    <a:lnTo>
                      <a:pt x="162" y="96"/>
                    </a:lnTo>
                    <a:lnTo>
                      <a:pt x="144" y="108"/>
                    </a:lnTo>
                    <a:lnTo>
                      <a:pt x="138" y="120"/>
                    </a:lnTo>
                    <a:lnTo>
                      <a:pt x="138" y="144"/>
                    </a:lnTo>
                    <a:lnTo>
                      <a:pt x="150" y="168"/>
                    </a:lnTo>
                    <a:lnTo>
                      <a:pt x="156" y="186"/>
                    </a:lnTo>
                    <a:lnTo>
                      <a:pt x="162" y="198"/>
                    </a:lnTo>
                    <a:lnTo>
                      <a:pt x="156" y="210"/>
                    </a:lnTo>
                    <a:lnTo>
                      <a:pt x="150" y="228"/>
                    </a:lnTo>
                    <a:lnTo>
                      <a:pt x="138" y="234"/>
                    </a:lnTo>
                    <a:lnTo>
                      <a:pt x="132" y="246"/>
                    </a:lnTo>
                    <a:lnTo>
                      <a:pt x="126" y="252"/>
                    </a:lnTo>
                    <a:lnTo>
                      <a:pt x="120" y="252"/>
                    </a:lnTo>
                    <a:lnTo>
                      <a:pt x="126" y="222"/>
                    </a:lnTo>
                    <a:lnTo>
                      <a:pt x="114" y="222"/>
                    </a:lnTo>
                    <a:lnTo>
                      <a:pt x="108" y="216"/>
                    </a:lnTo>
                    <a:lnTo>
                      <a:pt x="96" y="210"/>
                    </a:lnTo>
                    <a:lnTo>
                      <a:pt x="90" y="204"/>
                    </a:lnTo>
                    <a:lnTo>
                      <a:pt x="84" y="192"/>
                    </a:lnTo>
                    <a:lnTo>
                      <a:pt x="96" y="168"/>
                    </a:lnTo>
                    <a:lnTo>
                      <a:pt x="108" y="156"/>
                    </a:lnTo>
                    <a:lnTo>
                      <a:pt x="120" y="132"/>
                    </a:lnTo>
                    <a:lnTo>
                      <a:pt x="120" y="78"/>
                    </a:lnTo>
                    <a:lnTo>
                      <a:pt x="114" y="66"/>
                    </a:lnTo>
                    <a:lnTo>
                      <a:pt x="114" y="54"/>
                    </a:lnTo>
                    <a:lnTo>
                      <a:pt x="108" y="48"/>
                    </a:lnTo>
                    <a:lnTo>
                      <a:pt x="108" y="54"/>
                    </a:lnTo>
                    <a:lnTo>
                      <a:pt x="102" y="66"/>
                    </a:lnTo>
                    <a:lnTo>
                      <a:pt x="90" y="78"/>
                    </a:lnTo>
                    <a:lnTo>
                      <a:pt x="72" y="84"/>
                    </a:lnTo>
                    <a:lnTo>
                      <a:pt x="48" y="108"/>
                    </a:lnTo>
                    <a:lnTo>
                      <a:pt x="36" y="144"/>
                    </a:lnTo>
                    <a:lnTo>
                      <a:pt x="36" y="162"/>
                    </a:lnTo>
                    <a:lnTo>
                      <a:pt x="30" y="168"/>
                    </a:lnTo>
                    <a:lnTo>
                      <a:pt x="30" y="192"/>
                    </a:lnTo>
                    <a:lnTo>
                      <a:pt x="6" y="216"/>
                    </a:lnTo>
                    <a:lnTo>
                      <a:pt x="0" y="228"/>
                    </a:lnTo>
                    <a:lnTo>
                      <a:pt x="0" y="240"/>
                    </a:lnTo>
                    <a:lnTo>
                      <a:pt x="6" y="246"/>
                    </a:lnTo>
                    <a:lnTo>
                      <a:pt x="6" y="240"/>
                    </a:lnTo>
                    <a:lnTo>
                      <a:pt x="18" y="228"/>
                    </a:lnTo>
                    <a:lnTo>
                      <a:pt x="24" y="228"/>
                    </a:lnTo>
                    <a:lnTo>
                      <a:pt x="36" y="240"/>
                    </a:lnTo>
                    <a:lnTo>
                      <a:pt x="42" y="252"/>
                    </a:lnTo>
                    <a:lnTo>
                      <a:pt x="42" y="288"/>
                    </a:lnTo>
                    <a:lnTo>
                      <a:pt x="48" y="294"/>
                    </a:lnTo>
                    <a:lnTo>
                      <a:pt x="60" y="300"/>
                    </a:lnTo>
                    <a:lnTo>
                      <a:pt x="66" y="306"/>
                    </a:lnTo>
                    <a:lnTo>
                      <a:pt x="66" y="318"/>
                    </a:lnTo>
                    <a:lnTo>
                      <a:pt x="54" y="342"/>
                    </a:lnTo>
                    <a:lnTo>
                      <a:pt x="54" y="384"/>
                    </a:lnTo>
                    <a:lnTo>
                      <a:pt x="66" y="384"/>
                    </a:lnTo>
                    <a:lnTo>
                      <a:pt x="66" y="396"/>
                    </a:lnTo>
                    <a:lnTo>
                      <a:pt x="72" y="408"/>
                    </a:lnTo>
                    <a:lnTo>
                      <a:pt x="78" y="414"/>
                    </a:lnTo>
                    <a:lnTo>
                      <a:pt x="102" y="414"/>
                    </a:lnTo>
                    <a:lnTo>
                      <a:pt x="108" y="408"/>
                    </a:lnTo>
                    <a:lnTo>
                      <a:pt x="120" y="408"/>
                    </a:lnTo>
                    <a:lnTo>
                      <a:pt x="132" y="414"/>
                    </a:lnTo>
                    <a:lnTo>
                      <a:pt x="138" y="414"/>
                    </a:lnTo>
                    <a:lnTo>
                      <a:pt x="150" y="420"/>
                    </a:lnTo>
                    <a:lnTo>
                      <a:pt x="162" y="420"/>
                    </a:lnTo>
                    <a:lnTo>
                      <a:pt x="168" y="414"/>
                    </a:lnTo>
                    <a:lnTo>
                      <a:pt x="168" y="408"/>
                    </a:lnTo>
                    <a:lnTo>
                      <a:pt x="180" y="408"/>
                    </a:lnTo>
                    <a:lnTo>
                      <a:pt x="186" y="414"/>
                    </a:lnTo>
                    <a:lnTo>
                      <a:pt x="198" y="420"/>
                    </a:lnTo>
                    <a:lnTo>
                      <a:pt x="222" y="420"/>
                    </a:lnTo>
                    <a:lnTo>
                      <a:pt x="222" y="426"/>
                    </a:lnTo>
                    <a:lnTo>
                      <a:pt x="228" y="432"/>
                    </a:lnTo>
                    <a:lnTo>
                      <a:pt x="234" y="444"/>
                    </a:lnTo>
                    <a:lnTo>
                      <a:pt x="240" y="462"/>
                    </a:lnTo>
                    <a:lnTo>
                      <a:pt x="264" y="486"/>
                    </a:lnTo>
                    <a:lnTo>
                      <a:pt x="288" y="486"/>
                    </a:lnTo>
                    <a:lnTo>
                      <a:pt x="288" y="480"/>
                    </a:lnTo>
                    <a:lnTo>
                      <a:pt x="306" y="480"/>
                    </a:lnTo>
                    <a:lnTo>
                      <a:pt x="312" y="486"/>
                    </a:lnTo>
                    <a:lnTo>
                      <a:pt x="336" y="486"/>
                    </a:lnTo>
                    <a:lnTo>
                      <a:pt x="342" y="480"/>
                    </a:lnTo>
                    <a:lnTo>
                      <a:pt x="366" y="486"/>
                    </a:lnTo>
                    <a:lnTo>
                      <a:pt x="372" y="480"/>
                    </a:lnTo>
                    <a:lnTo>
                      <a:pt x="384" y="474"/>
                    </a:lnTo>
                    <a:lnTo>
                      <a:pt x="402" y="474"/>
                    </a:lnTo>
                    <a:lnTo>
                      <a:pt x="408" y="480"/>
                    </a:lnTo>
                    <a:lnTo>
                      <a:pt x="408" y="492"/>
                    </a:lnTo>
                    <a:lnTo>
                      <a:pt x="390" y="510"/>
                    </a:lnTo>
                    <a:lnTo>
                      <a:pt x="390" y="534"/>
                    </a:lnTo>
                    <a:lnTo>
                      <a:pt x="384" y="540"/>
                    </a:lnTo>
                    <a:lnTo>
                      <a:pt x="378" y="540"/>
                    </a:lnTo>
                    <a:lnTo>
                      <a:pt x="366" y="552"/>
                    </a:lnTo>
                    <a:lnTo>
                      <a:pt x="366" y="576"/>
                    </a:lnTo>
                    <a:lnTo>
                      <a:pt x="372" y="588"/>
                    </a:lnTo>
                    <a:lnTo>
                      <a:pt x="372" y="618"/>
                    </a:lnTo>
                    <a:lnTo>
                      <a:pt x="366" y="630"/>
                    </a:lnTo>
                    <a:lnTo>
                      <a:pt x="366" y="642"/>
                    </a:lnTo>
                    <a:lnTo>
                      <a:pt x="372" y="648"/>
                    </a:lnTo>
                    <a:lnTo>
                      <a:pt x="384" y="648"/>
                    </a:lnTo>
                    <a:lnTo>
                      <a:pt x="384" y="672"/>
                    </a:lnTo>
                    <a:lnTo>
                      <a:pt x="390" y="684"/>
                    </a:lnTo>
                    <a:lnTo>
                      <a:pt x="402" y="690"/>
                    </a:lnTo>
                    <a:lnTo>
                      <a:pt x="408" y="702"/>
                    </a:lnTo>
                    <a:lnTo>
                      <a:pt x="408" y="708"/>
                    </a:lnTo>
                    <a:lnTo>
                      <a:pt x="402" y="720"/>
                    </a:lnTo>
                    <a:lnTo>
                      <a:pt x="372" y="750"/>
                    </a:lnTo>
                    <a:lnTo>
                      <a:pt x="366" y="750"/>
                    </a:lnTo>
                    <a:lnTo>
                      <a:pt x="390" y="762"/>
                    </a:lnTo>
                    <a:lnTo>
                      <a:pt x="402" y="774"/>
                    </a:lnTo>
                    <a:lnTo>
                      <a:pt x="414" y="774"/>
                    </a:lnTo>
                    <a:lnTo>
                      <a:pt x="414" y="798"/>
                    </a:lnTo>
                    <a:lnTo>
                      <a:pt x="420" y="804"/>
                    </a:lnTo>
                    <a:lnTo>
                      <a:pt x="420" y="822"/>
                    </a:lnTo>
                    <a:lnTo>
                      <a:pt x="426" y="828"/>
                    </a:lnTo>
                    <a:lnTo>
                      <a:pt x="426" y="846"/>
                    </a:lnTo>
                    <a:lnTo>
                      <a:pt x="432" y="858"/>
                    </a:lnTo>
                    <a:lnTo>
                      <a:pt x="432" y="876"/>
                    </a:lnTo>
                    <a:lnTo>
                      <a:pt x="444" y="888"/>
                    </a:lnTo>
                    <a:lnTo>
                      <a:pt x="450" y="900"/>
                    </a:lnTo>
                    <a:lnTo>
                      <a:pt x="450" y="906"/>
                    </a:lnTo>
                    <a:lnTo>
                      <a:pt x="462" y="918"/>
                    </a:lnTo>
                    <a:lnTo>
                      <a:pt x="468" y="918"/>
                    </a:lnTo>
                    <a:lnTo>
                      <a:pt x="480" y="924"/>
                    </a:lnTo>
                    <a:lnTo>
                      <a:pt x="486" y="924"/>
                    </a:lnTo>
                    <a:lnTo>
                      <a:pt x="498" y="918"/>
                    </a:lnTo>
                    <a:lnTo>
                      <a:pt x="504" y="912"/>
                    </a:lnTo>
                    <a:lnTo>
                      <a:pt x="516" y="906"/>
                    </a:lnTo>
                    <a:lnTo>
                      <a:pt x="522" y="900"/>
                    </a:lnTo>
                    <a:lnTo>
                      <a:pt x="528" y="906"/>
                    </a:lnTo>
                    <a:lnTo>
                      <a:pt x="528" y="930"/>
                    </a:lnTo>
                    <a:lnTo>
                      <a:pt x="534" y="930"/>
                    </a:lnTo>
                    <a:lnTo>
                      <a:pt x="546" y="918"/>
                    </a:lnTo>
                    <a:lnTo>
                      <a:pt x="558" y="894"/>
                    </a:lnTo>
                    <a:lnTo>
                      <a:pt x="570" y="882"/>
                    </a:lnTo>
                    <a:lnTo>
                      <a:pt x="588" y="882"/>
                    </a:lnTo>
                    <a:lnTo>
                      <a:pt x="594" y="876"/>
                    </a:lnTo>
                    <a:lnTo>
                      <a:pt x="630" y="858"/>
                    </a:lnTo>
                    <a:lnTo>
                      <a:pt x="636" y="846"/>
                    </a:lnTo>
                    <a:lnTo>
                      <a:pt x="636" y="816"/>
                    </a:lnTo>
                    <a:lnTo>
                      <a:pt x="678" y="816"/>
                    </a:lnTo>
                    <a:lnTo>
                      <a:pt x="684" y="810"/>
                    </a:lnTo>
                    <a:lnTo>
                      <a:pt x="690" y="798"/>
                    </a:lnTo>
                    <a:lnTo>
                      <a:pt x="690" y="792"/>
                    </a:lnTo>
                    <a:lnTo>
                      <a:pt x="684" y="786"/>
                    </a:lnTo>
                    <a:lnTo>
                      <a:pt x="636" y="780"/>
                    </a:lnTo>
                    <a:lnTo>
                      <a:pt x="636" y="750"/>
                    </a:lnTo>
                    <a:lnTo>
                      <a:pt x="630" y="738"/>
                    </a:lnTo>
                    <a:lnTo>
                      <a:pt x="618" y="726"/>
                    </a:lnTo>
                    <a:lnTo>
                      <a:pt x="624" y="720"/>
                    </a:lnTo>
                    <a:lnTo>
                      <a:pt x="624" y="690"/>
                    </a:lnTo>
                    <a:lnTo>
                      <a:pt x="618" y="684"/>
                    </a:lnTo>
                    <a:lnTo>
                      <a:pt x="606" y="678"/>
                    </a:lnTo>
                    <a:lnTo>
                      <a:pt x="588" y="660"/>
                    </a:lnTo>
                    <a:lnTo>
                      <a:pt x="588" y="630"/>
                    </a:lnTo>
                    <a:lnTo>
                      <a:pt x="594" y="636"/>
                    </a:lnTo>
                    <a:lnTo>
                      <a:pt x="594" y="642"/>
                    </a:lnTo>
                    <a:lnTo>
                      <a:pt x="636" y="642"/>
                    </a:lnTo>
                    <a:lnTo>
                      <a:pt x="642" y="648"/>
                    </a:lnTo>
                    <a:lnTo>
                      <a:pt x="642" y="666"/>
                    </a:lnTo>
                    <a:lnTo>
                      <a:pt x="654" y="666"/>
                    </a:lnTo>
                    <a:lnTo>
                      <a:pt x="666" y="660"/>
                    </a:lnTo>
                    <a:lnTo>
                      <a:pt x="678" y="666"/>
                    </a:lnTo>
                    <a:lnTo>
                      <a:pt x="684" y="660"/>
                    </a:lnTo>
                    <a:lnTo>
                      <a:pt x="696" y="660"/>
                    </a:lnTo>
                    <a:lnTo>
                      <a:pt x="702" y="666"/>
                    </a:lnTo>
                    <a:lnTo>
                      <a:pt x="708" y="678"/>
                    </a:lnTo>
                    <a:lnTo>
                      <a:pt x="720" y="690"/>
                    </a:lnTo>
                    <a:lnTo>
                      <a:pt x="732" y="696"/>
                    </a:lnTo>
                    <a:lnTo>
                      <a:pt x="738" y="690"/>
                    </a:lnTo>
                    <a:lnTo>
                      <a:pt x="738" y="672"/>
                    </a:lnTo>
                    <a:lnTo>
                      <a:pt x="744" y="660"/>
                    </a:lnTo>
                    <a:lnTo>
                      <a:pt x="744" y="648"/>
                    </a:lnTo>
                    <a:lnTo>
                      <a:pt x="750" y="642"/>
                    </a:lnTo>
                    <a:lnTo>
                      <a:pt x="768" y="642"/>
                    </a:lnTo>
                    <a:lnTo>
                      <a:pt x="774" y="648"/>
                    </a:lnTo>
                    <a:lnTo>
                      <a:pt x="792" y="648"/>
                    </a:lnTo>
                    <a:lnTo>
                      <a:pt x="804" y="642"/>
                    </a:lnTo>
                    <a:lnTo>
                      <a:pt x="828" y="618"/>
                    </a:lnTo>
                    <a:lnTo>
                      <a:pt x="840" y="612"/>
                    </a:lnTo>
                    <a:lnTo>
                      <a:pt x="864" y="612"/>
                    </a:lnTo>
                    <a:lnTo>
                      <a:pt x="864" y="600"/>
                    </a:lnTo>
                    <a:lnTo>
                      <a:pt x="876" y="600"/>
                    </a:lnTo>
                    <a:lnTo>
                      <a:pt x="882" y="594"/>
                    </a:lnTo>
                    <a:lnTo>
                      <a:pt x="882" y="558"/>
                    </a:lnTo>
                    <a:lnTo>
                      <a:pt x="846" y="522"/>
                    </a:lnTo>
                    <a:lnTo>
                      <a:pt x="840" y="510"/>
                    </a:lnTo>
                    <a:lnTo>
                      <a:pt x="834" y="504"/>
                    </a:lnTo>
                    <a:lnTo>
                      <a:pt x="834" y="492"/>
                    </a:lnTo>
                    <a:lnTo>
                      <a:pt x="846" y="486"/>
                    </a:lnTo>
                    <a:lnTo>
                      <a:pt x="852" y="486"/>
                    </a:lnTo>
                    <a:lnTo>
                      <a:pt x="864" y="480"/>
                    </a:lnTo>
                    <a:lnTo>
                      <a:pt x="864" y="462"/>
                    </a:lnTo>
                    <a:lnTo>
                      <a:pt x="846" y="444"/>
                    </a:lnTo>
                    <a:lnTo>
                      <a:pt x="846" y="438"/>
                    </a:lnTo>
                    <a:lnTo>
                      <a:pt x="876" y="438"/>
                    </a:lnTo>
                    <a:lnTo>
                      <a:pt x="888" y="432"/>
                    </a:lnTo>
                    <a:lnTo>
                      <a:pt x="900" y="432"/>
                    </a:lnTo>
                    <a:lnTo>
                      <a:pt x="912" y="426"/>
                    </a:lnTo>
                    <a:lnTo>
                      <a:pt x="918" y="420"/>
                    </a:lnTo>
                    <a:lnTo>
                      <a:pt x="918" y="402"/>
                    </a:lnTo>
                    <a:lnTo>
                      <a:pt x="894" y="402"/>
                    </a:lnTo>
                    <a:lnTo>
                      <a:pt x="894" y="360"/>
                    </a:lnTo>
                    <a:lnTo>
                      <a:pt x="906" y="348"/>
                    </a:lnTo>
                    <a:lnTo>
                      <a:pt x="918" y="348"/>
                    </a:lnTo>
                    <a:lnTo>
                      <a:pt x="924" y="342"/>
                    </a:lnTo>
                    <a:lnTo>
                      <a:pt x="930" y="342"/>
                    </a:lnTo>
                    <a:lnTo>
                      <a:pt x="936" y="336"/>
                    </a:lnTo>
                    <a:lnTo>
                      <a:pt x="954" y="300"/>
                    </a:lnTo>
                    <a:lnTo>
                      <a:pt x="948" y="294"/>
                    </a:lnTo>
                    <a:lnTo>
                      <a:pt x="942" y="282"/>
                    </a:lnTo>
                    <a:lnTo>
                      <a:pt x="936" y="27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lumMod val="50000"/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09" name="Ugand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2D433C4-639D-49D3-819C-B766ECC8515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482435" y="4370606"/>
                <a:ext cx="172970" cy="207256"/>
              </a:xfrm>
              <a:custGeom>
                <a:avLst/>
                <a:gdLst>
                  <a:gd name="T0" fmla="*/ 2147483647 w 390"/>
                  <a:gd name="T1" fmla="*/ 2147483647 h 462"/>
                  <a:gd name="T2" fmla="*/ 2147483647 w 390"/>
                  <a:gd name="T3" fmla="*/ 2147483647 h 462"/>
                  <a:gd name="T4" fmla="*/ 2147483647 w 390"/>
                  <a:gd name="T5" fmla="*/ 2147483647 h 462"/>
                  <a:gd name="T6" fmla="*/ 2147483647 w 390"/>
                  <a:gd name="T7" fmla="*/ 2147483647 h 462"/>
                  <a:gd name="T8" fmla="*/ 2147483647 w 390"/>
                  <a:gd name="T9" fmla="*/ 2147483647 h 462"/>
                  <a:gd name="T10" fmla="*/ 2147483647 w 390"/>
                  <a:gd name="T11" fmla="*/ 2147483647 h 462"/>
                  <a:gd name="T12" fmla="*/ 2147483647 w 390"/>
                  <a:gd name="T13" fmla="*/ 2147483647 h 462"/>
                  <a:gd name="T14" fmla="*/ 2147483647 w 390"/>
                  <a:gd name="T15" fmla="*/ 2147483647 h 462"/>
                  <a:gd name="T16" fmla="*/ 2147483647 w 390"/>
                  <a:gd name="T17" fmla="*/ 2147483647 h 462"/>
                  <a:gd name="T18" fmla="*/ 2147483647 w 390"/>
                  <a:gd name="T19" fmla="*/ 2147483647 h 462"/>
                  <a:gd name="T20" fmla="*/ 2147483647 w 390"/>
                  <a:gd name="T21" fmla="*/ 2147483647 h 462"/>
                  <a:gd name="T22" fmla="*/ 2147483647 w 390"/>
                  <a:gd name="T23" fmla="*/ 2147483647 h 462"/>
                  <a:gd name="T24" fmla="*/ 2147483647 w 390"/>
                  <a:gd name="T25" fmla="*/ 0 h 462"/>
                  <a:gd name="T26" fmla="*/ 2147483647 w 390"/>
                  <a:gd name="T27" fmla="*/ 2147483647 h 462"/>
                  <a:gd name="T28" fmla="*/ 2147483647 w 390"/>
                  <a:gd name="T29" fmla="*/ 2147483647 h 462"/>
                  <a:gd name="T30" fmla="*/ 2147483647 w 390"/>
                  <a:gd name="T31" fmla="*/ 2147483647 h 462"/>
                  <a:gd name="T32" fmla="*/ 2147483647 w 390"/>
                  <a:gd name="T33" fmla="*/ 2147483647 h 462"/>
                  <a:gd name="T34" fmla="*/ 2147483647 w 390"/>
                  <a:gd name="T35" fmla="*/ 2147483647 h 462"/>
                  <a:gd name="T36" fmla="*/ 2147483647 w 390"/>
                  <a:gd name="T37" fmla="*/ 2147483647 h 462"/>
                  <a:gd name="T38" fmla="*/ 2147483647 w 390"/>
                  <a:gd name="T39" fmla="*/ 2147483647 h 462"/>
                  <a:gd name="T40" fmla="*/ 2147483647 w 390"/>
                  <a:gd name="T41" fmla="*/ 2147483647 h 462"/>
                  <a:gd name="T42" fmla="*/ 2147483647 w 390"/>
                  <a:gd name="T43" fmla="*/ 2147483647 h 462"/>
                  <a:gd name="T44" fmla="*/ 2147483647 w 390"/>
                  <a:gd name="T45" fmla="*/ 2147483647 h 462"/>
                  <a:gd name="T46" fmla="*/ 2147483647 w 390"/>
                  <a:gd name="T47" fmla="*/ 2147483647 h 462"/>
                  <a:gd name="T48" fmla="*/ 2147483647 w 390"/>
                  <a:gd name="T49" fmla="*/ 2147483647 h 462"/>
                  <a:gd name="T50" fmla="*/ 2147483647 w 390"/>
                  <a:gd name="T51" fmla="*/ 2147483647 h 462"/>
                  <a:gd name="T52" fmla="*/ 2147483647 w 390"/>
                  <a:gd name="T53" fmla="*/ 2147483647 h 462"/>
                  <a:gd name="T54" fmla="*/ 2147483647 w 390"/>
                  <a:gd name="T55" fmla="*/ 2147483647 h 462"/>
                  <a:gd name="T56" fmla="*/ 2147483647 w 390"/>
                  <a:gd name="T57" fmla="*/ 2147483647 h 462"/>
                  <a:gd name="T58" fmla="*/ 2147483647 w 390"/>
                  <a:gd name="T59" fmla="*/ 2147483647 h 462"/>
                  <a:gd name="T60" fmla="*/ 2147483647 w 390"/>
                  <a:gd name="T61" fmla="*/ 2147483647 h 462"/>
                  <a:gd name="T62" fmla="*/ 2147483647 w 390"/>
                  <a:gd name="T63" fmla="*/ 2147483647 h 462"/>
                  <a:gd name="T64" fmla="*/ 2147483647 w 390"/>
                  <a:gd name="T65" fmla="*/ 2147483647 h 462"/>
                  <a:gd name="T66" fmla="*/ 2147483647 w 390"/>
                  <a:gd name="T67" fmla="*/ 2147483647 h 462"/>
                  <a:gd name="T68" fmla="*/ 2147483647 w 390"/>
                  <a:gd name="T69" fmla="*/ 2147483647 h 462"/>
                  <a:gd name="T70" fmla="*/ 2147483647 w 390"/>
                  <a:gd name="T71" fmla="*/ 2147483647 h 462"/>
                  <a:gd name="T72" fmla="*/ 2147483647 w 390"/>
                  <a:gd name="T73" fmla="*/ 2147483647 h 462"/>
                  <a:gd name="T74" fmla="*/ 2147483647 w 390"/>
                  <a:gd name="T75" fmla="*/ 2147483647 h 462"/>
                  <a:gd name="T76" fmla="*/ 2147483647 w 390"/>
                  <a:gd name="T77" fmla="*/ 2147483647 h 462"/>
                  <a:gd name="T78" fmla="*/ 2147483647 w 390"/>
                  <a:gd name="T79" fmla="*/ 2147483647 h 462"/>
                  <a:gd name="T80" fmla="*/ 2147483647 w 390"/>
                  <a:gd name="T81" fmla="*/ 2147483647 h 462"/>
                  <a:gd name="T82" fmla="*/ 2147483647 w 390"/>
                  <a:gd name="T83" fmla="*/ 2147483647 h 462"/>
                  <a:gd name="T84" fmla="*/ 2147483647 w 390"/>
                  <a:gd name="T85" fmla="*/ 2147483647 h 462"/>
                  <a:gd name="T86" fmla="*/ 2147483647 w 390"/>
                  <a:gd name="T87" fmla="*/ 2147483647 h 462"/>
                  <a:gd name="T88" fmla="*/ 2147483647 w 390"/>
                  <a:gd name="T89" fmla="*/ 2147483647 h 462"/>
                  <a:gd name="T90" fmla="*/ 2147483647 w 390"/>
                  <a:gd name="T91" fmla="*/ 2147483647 h 462"/>
                  <a:gd name="T92" fmla="*/ 2147483647 w 390"/>
                  <a:gd name="T93" fmla="*/ 2147483647 h 462"/>
                  <a:gd name="T94" fmla="*/ 2147483647 w 390"/>
                  <a:gd name="T95" fmla="*/ 2147483647 h 462"/>
                  <a:gd name="T96" fmla="*/ 2147483647 w 390"/>
                  <a:gd name="T97" fmla="*/ 2147483647 h 462"/>
                  <a:gd name="T98" fmla="*/ 2147483647 w 390"/>
                  <a:gd name="T99" fmla="*/ 2147483647 h 462"/>
                  <a:gd name="T100" fmla="*/ 2147483647 w 390"/>
                  <a:gd name="T101" fmla="*/ 2147483647 h 462"/>
                  <a:gd name="T102" fmla="*/ 2147483647 w 390"/>
                  <a:gd name="T103" fmla="*/ 2147483647 h 462"/>
                  <a:gd name="T104" fmla="*/ 2147483647 w 390"/>
                  <a:gd name="T105" fmla="*/ 2147483647 h 462"/>
                  <a:gd name="T106" fmla="*/ 2147483647 w 390"/>
                  <a:gd name="T107" fmla="*/ 2147483647 h 46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90"/>
                  <a:gd name="T163" fmla="*/ 0 h 462"/>
                  <a:gd name="T164" fmla="*/ 390 w 390"/>
                  <a:gd name="T165" fmla="*/ 462 h 46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90" h="462">
                    <a:moveTo>
                      <a:pt x="306" y="426"/>
                    </a:moveTo>
                    <a:lnTo>
                      <a:pt x="318" y="426"/>
                    </a:lnTo>
                    <a:lnTo>
                      <a:pt x="318" y="420"/>
                    </a:lnTo>
                    <a:lnTo>
                      <a:pt x="306" y="420"/>
                    </a:lnTo>
                    <a:lnTo>
                      <a:pt x="306" y="426"/>
                    </a:lnTo>
                    <a:close/>
                    <a:moveTo>
                      <a:pt x="390" y="192"/>
                    </a:moveTo>
                    <a:lnTo>
                      <a:pt x="384" y="180"/>
                    </a:lnTo>
                    <a:lnTo>
                      <a:pt x="378" y="174"/>
                    </a:lnTo>
                    <a:lnTo>
                      <a:pt x="366" y="150"/>
                    </a:lnTo>
                    <a:lnTo>
                      <a:pt x="366" y="144"/>
                    </a:lnTo>
                    <a:lnTo>
                      <a:pt x="372" y="138"/>
                    </a:lnTo>
                    <a:lnTo>
                      <a:pt x="378" y="138"/>
                    </a:lnTo>
                    <a:lnTo>
                      <a:pt x="384" y="132"/>
                    </a:lnTo>
                    <a:lnTo>
                      <a:pt x="348" y="90"/>
                    </a:lnTo>
                    <a:lnTo>
                      <a:pt x="354" y="84"/>
                    </a:lnTo>
                    <a:lnTo>
                      <a:pt x="336" y="66"/>
                    </a:lnTo>
                    <a:lnTo>
                      <a:pt x="336" y="60"/>
                    </a:lnTo>
                    <a:lnTo>
                      <a:pt x="342" y="54"/>
                    </a:lnTo>
                    <a:lnTo>
                      <a:pt x="342" y="42"/>
                    </a:lnTo>
                    <a:lnTo>
                      <a:pt x="336" y="42"/>
                    </a:lnTo>
                    <a:lnTo>
                      <a:pt x="336" y="48"/>
                    </a:lnTo>
                    <a:lnTo>
                      <a:pt x="330" y="42"/>
                    </a:lnTo>
                    <a:lnTo>
                      <a:pt x="324" y="42"/>
                    </a:lnTo>
                    <a:lnTo>
                      <a:pt x="324" y="18"/>
                    </a:lnTo>
                    <a:lnTo>
                      <a:pt x="318" y="6"/>
                    </a:lnTo>
                    <a:lnTo>
                      <a:pt x="312" y="0"/>
                    </a:lnTo>
                    <a:lnTo>
                      <a:pt x="300" y="0"/>
                    </a:lnTo>
                    <a:lnTo>
                      <a:pt x="300" y="6"/>
                    </a:lnTo>
                    <a:lnTo>
                      <a:pt x="294" y="12"/>
                    </a:lnTo>
                    <a:lnTo>
                      <a:pt x="294" y="18"/>
                    </a:lnTo>
                    <a:lnTo>
                      <a:pt x="276" y="36"/>
                    </a:lnTo>
                    <a:lnTo>
                      <a:pt x="252" y="36"/>
                    </a:lnTo>
                    <a:lnTo>
                      <a:pt x="246" y="30"/>
                    </a:lnTo>
                    <a:lnTo>
                      <a:pt x="246" y="24"/>
                    </a:lnTo>
                    <a:lnTo>
                      <a:pt x="234" y="24"/>
                    </a:lnTo>
                    <a:lnTo>
                      <a:pt x="222" y="36"/>
                    </a:lnTo>
                    <a:lnTo>
                      <a:pt x="198" y="36"/>
                    </a:lnTo>
                    <a:lnTo>
                      <a:pt x="180" y="60"/>
                    </a:lnTo>
                    <a:lnTo>
                      <a:pt x="156" y="30"/>
                    </a:lnTo>
                    <a:lnTo>
                      <a:pt x="150" y="30"/>
                    </a:lnTo>
                    <a:lnTo>
                      <a:pt x="144" y="36"/>
                    </a:lnTo>
                    <a:lnTo>
                      <a:pt x="144" y="42"/>
                    </a:lnTo>
                    <a:lnTo>
                      <a:pt x="132" y="42"/>
                    </a:lnTo>
                    <a:lnTo>
                      <a:pt x="120" y="36"/>
                    </a:lnTo>
                    <a:lnTo>
                      <a:pt x="114" y="30"/>
                    </a:lnTo>
                    <a:lnTo>
                      <a:pt x="102" y="30"/>
                    </a:lnTo>
                    <a:lnTo>
                      <a:pt x="84" y="48"/>
                    </a:lnTo>
                    <a:lnTo>
                      <a:pt x="90" y="72"/>
                    </a:lnTo>
                    <a:lnTo>
                      <a:pt x="72" y="90"/>
                    </a:lnTo>
                    <a:lnTo>
                      <a:pt x="84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84" y="114"/>
                    </a:lnTo>
                    <a:lnTo>
                      <a:pt x="78" y="126"/>
                    </a:lnTo>
                    <a:lnTo>
                      <a:pt x="78" y="138"/>
                    </a:lnTo>
                    <a:lnTo>
                      <a:pt x="84" y="144"/>
                    </a:lnTo>
                    <a:lnTo>
                      <a:pt x="96" y="144"/>
                    </a:lnTo>
                    <a:lnTo>
                      <a:pt x="108" y="150"/>
                    </a:lnTo>
                    <a:lnTo>
                      <a:pt x="114" y="156"/>
                    </a:lnTo>
                    <a:lnTo>
                      <a:pt x="114" y="168"/>
                    </a:lnTo>
                    <a:lnTo>
                      <a:pt x="108" y="180"/>
                    </a:lnTo>
                    <a:lnTo>
                      <a:pt x="96" y="192"/>
                    </a:lnTo>
                    <a:lnTo>
                      <a:pt x="84" y="216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42" y="246"/>
                    </a:lnTo>
                    <a:lnTo>
                      <a:pt x="42" y="258"/>
                    </a:lnTo>
                    <a:lnTo>
                      <a:pt x="24" y="270"/>
                    </a:lnTo>
                    <a:lnTo>
                      <a:pt x="6" y="342"/>
                    </a:lnTo>
                    <a:lnTo>
                      <a:pt x="6" y="372"/>
                    </a:lnTo>
                    <a:lnTo>
                      <a:pt x="0" y="450"/>
                    </a:lnTo>
                    <a:lnTo>
                      <a:pt x="12" y="450"/>
                    </a:lnTo>
                    <a:lnTo>
                      <a:pt x="24" y="462"/>
                    </a:lnTo>
                    <a:lnTo>
                      <a:pt x="30" y="462"/>
                    </a:lnTo>
                    <a:lnTo>
                      <a:pt x="42" y="438"/>
                    </a:lnTo>
                    <a:lnTo>
                      <a:pt x="48" y="432"/>
                    </a:lnTo>
                    <a:lnTo>
                      <a:pt x="48" y="426"/>
                    </a:lnTo>
                    <a:lnTo>
                      <a:pt x="72" y="420"/>
                    </a:lnTo>
                    <a:lnTo>
                      <a:pt x="162" y="426"/>
                    </a:lnTo>
                    <a:lnTo>
                      <a:pt x="162" y="414"/>
                    </a:lnTo>
                    <a:lnTo>
                      <a:pt x="156" y="408"/>
                    </a:lnTo>
                    <a:lnTo>
                      <a:pt x="150" y="396"/>
                    </a:lnTo>
                    <a:lnTo>
                      <a:pt x="162" y="372"/>
                    </a:lnTo>
                    <a:lnTo>
                      <a:pt x="168" y="366"/>
                    </a:lnTo>
                    <a:lnTo>
                      <a:pt x="168" y="342"/>
                    </a:lnTo>
                    <a:lnTo>
                      <a:pt x="174" y="336"/>
                    </a:lnTo>
                    <a:lnTo>
                      <a:pt x="186" y="330"/>
                    </a:lnTo>
                    <a:lnTo>
                      <a:pt x="204" y="324"/>
                    </a:lnTo>
                    <a:lnTo>
                      <a:pt x="240" y="324"/>
                    </a:lnTo>
                    <a:lnTo>
                      <a:pt x="252" y="312"/>
                    </a:lnTo>
                    <a:lnTo>
                      <a:pt x="258" y="300"/>
                    </a:lnTo>
                    <a:lnTo>
                      <a:pt x="264" y="300"/>
                    </a:lnTo>
                    <a:lnTo>
                      <a:pt x="264" y="306"/>
                    </a:lnTo>
                    <a:lnTo>
                      <a:pt x="270" y="312"/>
                    </a:lnTo>
                    <a:lnTo>
                      <a:pt x="270" y="330"/>
                    </a:lnTo>
                    <a:lnTo>
                      <a:pt x="276" y="324"/>
                    </a:lnTo>
                    <a:lnTo>
                      <a:pt x="312" y="324"/>
                    </a:lnTo>
                    <a:lnTo>
                      <a:pt x="312" y="330"/>
                    </a:lnTo>
                    <a:lnTo>
                      <a:pt x="312" y="318"/>
                    </a:lnTo>
                    <a:lnTo>
                      <a:pt x="318" y="306"/>
                    </a:lnTo>
                    <a:lnTo>
                      <a:pt x="324" y="300"/>
                    </a:lnTo>
                    <a:lnTo>
                      <a:pt x="330" y="282"/>
                    </a:lnTo>
                    <a:lnTo>
                      <a:pt x="348" y="270"/>
                    </a:lnTo>
                    <a:lnTo>
                      <a:pt x="348" y="246"/>
                    </a:lnTo>
                    <a:lnTo>
                      <a:pt x="354" y="240"/>
                    </a:lnTo>
                    <a:lnTo>
                      <a:pt x="372" y="240"/>
                    </a:lnTo>
                    <a:lnTo>
                      <a:pt x="378" y="216"/>
                    </a:lnTo>
                    <a:lnTo>
                      <a:pt x="390" y="204"/>
                    </a:lnTo>
                    <a:lnTo>
                      <a:pt x="390" y="19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0" name="Turkmenis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08EE1BC-FA85-47CA-B05D-CF55C7F08F6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85211" y="2974739"/>
                <a:ext cx="447276" cy="271026"/>
              </a:xfrm>
              <a:custGeom>
                <a:avLst/>
                <a:gdLst>
                  <a:gd name="T0" fmla="*/ 2147483647 w 1008"/>
                  <a:gd name="T1" fmla="*/ 2147483647 h 606"/>
                  <a:gd name="T2" fmla="*/ 2147483647 w 1008"/>
                  <a:gd name="T3" fmla="*/ 2147483647 h 606"/>
                  <a:gd name="T4" fmla="*/ 2147483647 w 1008"/>
                  <a:gd name="T5" fmla="*/ 2147483647 h 606"/>
                  <a:gd name="T6" fmla="*/ 2147483647 w 1008"/>
                  <a:gd name="T7" fmla="*/ 2147483647 h 606"/>
                  <a:gd name="T8" fmla="*/ 2147483647 w 1008"/>
                  <a:gd name="T9" fmla="*/ 2147483647 h 606"/>
                  <a:gd name="T10" fmla="*/ 2147483647 w 1008"/>
                  <a:gd name="T11" fmla="*/ 2147483647 h 606"/>
                  <a:gd name="T12" fmla="*/ 2147483647 w 1008"/>
                  <a:gd name="T13" fmla="*/ 2147483647 h 606"/>
                  <a:gd name="T14" fmla="*/ 2147483647 w 1008"/>
                  <a:gd name="T15" fmla="*/ 2147483647 h 606"/>
                  <a:gd name="T16" fmla="*/ 2147483647 w 1008"/>
                  <a:gd name="T17" fmla="*/ 2147483647 h 606"/>
                  <a:gd name="T18" fmla="*/ 2147483647 w 1008"/>
                  <a:gd name="T19" fmla="*/ 2147483647 h 606"/>
                  <a:gd name="T20" fmla="*/ 2147483647 w 1008"/>
                  <a:gd name="T21" fmla="*/ 2147483647 h 606"/>
                  <a:gd name="T22" fmla="*/ 2147483647 w 1008"/>
                  <a:gd name="T23" fmla="*/ 2147483647 h 606"/>
                  <a:gd name="T24" fmla="*/ 2147483647 w 1008"/>
                  <a:gd name="T25" fmla="*/ 2147483647 h 606"/>
                  <a:gd name="T26" fmla="*/ 2147483647 w 1008"/>
                  <a:gd name="T27" fmla="*/ 2147483647 h 606"/>
                  <a:gd name="T28" fmla="*/ 2147483647 w 1008"/>
                  <a:gd name="T29" fmla="*/ 2147483647 h 606"/>
                  <a:gd name="T30" fmla="*/ 2147483647 w 1008"/>
                  <a:gd name="T31" fmla="*/ 2147483647 h 606"/>
                  <a:gd name="T32" fmla="*/ 2147483647 w 1008"/>
                  <a:gd name="T33" fmla="*/ 2147483647 h 606"/>
                  <a:gd name="T34" fmla="*/ 2147483647 w 1008"/>
                  <a:gd name="T35" fmla="*/ 2147483647 h 606"/>
                  <a:gd name="T36" fmla="*/ 2147483647 w 1008"/>
                  <a:gd name="T37" fmla="*/ 2147483647 h 606"/>
                  <a:gd name="T38" fmla="*/ 2147483647 w 1008"/>
                  <a:gd name="T39" fmla="*/ 2147483647 h 606"/>
                  <a:gd name="T40" fmla="*/ 2147483647 w 1008"/>
                  <a:gd name="T41" fmla="*/ 2147483647 h 606"/>
                  <a:gd name="T42" fmla="*/ 2147483647 w 1008"/>
                  <a:gd name="T43" fmla="*/ 2147483647 h 606"/>
                  <a:gd name="T44" fmla="*/ 2147483647 w 1008"/>
                  <a:gd name="T45" fmla="*/ 2147483647 h 606"/>
                  <a:gd name="T46" fmla="*/ 2147483647 w 1008"/>
                  <a:gd name="T47" fmla="*/ 2147483647 h 606"/>
                  <a:gd name="T48" fmla="*/ 2147483647 w 1008"/>
                  <a:gd name="T49" fmla="*/ 2147483647 h 606"/>
                  <a:gd name="T50" fmla="*/ 2147483647 w 1008"/>
                  <a:gd name="T51" fmla="*/ 2147483647 h 606"/>
                  <a:gd name="T52" fmla="*/ 2147483647 w 1008"/>
                  <a:gd name="T53" fmla="*/ 2147483647 h 606"/>
                  <a:gd name="T54" fmla="*/ 2147483647 w 1008"/>
                  <a:gd name="T55" fmla="*/ 2147483647 h 606"/>
                  <a:gd name="T56" fmla="*/ 2147483647 w 1008"/>
                  <a:gd name="T57" fmla="*/ 2147483647 h 606"/>
                  <a:gd name="T58" fmla="*/ 2147483647 w 1008"/>
                  <a:gd name="T59" fmla="*/ 2147483647 h 606"/>
                  <a:gd name="T60" fmla="*/ 2147483647 w 1008"/>
                  <a:gd name="T61" fmla="*/ 2147483647 h 606"/>
                  <a:gd name="T62" fmla="*/ 2147483647 w 1008"/>
                  <a:gd name="T63" fmla="*/ 2147483647 h 606"/>
                  <a:gd name="T64" fmla="*/ 2147483647 w 1008"/>
                  <a:gd name="T65" fmla="*/ 2147483647 h 606"/>
                  <a:gd name="T66" fmla="*/ 2147483647 w 1008"/>
                  <a:gd name="T67" fmla="*/ 2147483647 h 606"/>
                  <a:gd name="T68" fmla="*/ 2147483647 w 1008"/>
                  <a:gd name="T69" fmla="*/ 2147483647 h 606"/>
                  <a:gd name="T70" fmla="*/ 2147483647 w 1008"/>
                  <a:gd name="T71" fmla="*/ 2147483647 h 606"/>
                  <a:gd name="T72" fmla="*/ 2147483647 w 1008"/>
                  <a:gd name="T73" fmla="*/ 2147483647 h 606"/>
                  <a:gd name="T74" fmla="*/ 2147483647 w 1008"/>
                  <a:gd name="T75" fmla="*/ 2147483647 h 606"/>
                  <a:gd name="T76" fmla="*/ 2147483647 w 1008"/>
                  <a:gd name="T77" fmla="*/ 2147483647 h 606"/>
                  <a:gd name="T78" fmla="*/ 2147483647 w 1008"/>
                  <a:gd name="T79" fmla="*/ 2147483647 h 606"/>
                  <a:gd name="T80" fmla="*/ 2147483647 w 1008"/>
                  <a:gd name="T81" fmla="*/ 2147483647 h 606"/>
                  <a:gd name="T82" fmla="*/ 2147483647 w 1008"/>
                  <a:gd name="T83" fmla="*/ 2147483647 h 606"/>
                  <a:gd name="T84" fmla="*/ 2147483647 w 1008"/>
                  <a:gd name="T85" fmla="*/ 2147483647 h 606"/>
                  <a:gd name="T86" fmla="*/ 2147483647 w 1008"/>
                  <a:gd name="T87" fmla="*/ 2147483647 h 606"/>
                  <a:gd name="T88" fmla="*/ 2147483647 w 1008"/>
                  <a:gd name="T89" fmla="*/ 2147483647 h 606"/>
                  <a:gd name="T90" fmla="*/ 2147483647 w 1008"/>
                  <a:gd name="T91" fmla="*/ 2147483647 h 606"/>
                  <a:gd name="T92" fmla="*/ 2147483647 w 1008"/>
                  <a:gd name="T93" fmla="*/ 2147483647 h 606"/>
                  <a:gd name="T94" fmla="*/ 2147483647 w 1008"/>
                  <a:gd name="T95" fmla="*/ 2147483647 h 606"/>
                  <a:gd name="T96" fmla="*/ 2147483647 w 1008"/>
                  <a:gd name="T97" fmla="*/ 2147483647 h 606"/>
                  <a:gd name="T98" fmla="*/ 2147483647 w 1008"/>
                  <a:gd name="T99" fmla="*/ 2147483647 h 606"/>
                  <a:gd name="T100" fmla="*/ 2147483647 w 1008"/>
                  <a:gd name="T101" fmla="*/ 2147483647 h 606"/>
                  <a:gd name="T102" fmla="*/ 2147483647 w 1008"/>
                  <a:gd name="T103" fmla="*/ 2147483647 h 606"/>
                  <a:gd name="T104" fmla="*/ 0 w 1008"/>
                  <a:gd name="T105" fmla="*/ 2147483647 h 606"/>
                  <a:gd name="T106" fmla="*/ 2147483647 w 1008"/>
                  <a:gd name="T107" fmla="*/ 2147483647 h 606"/>
                  <a:gd name="T108" fmla="*/ 2147483647 w 1008"/>
                  <a:gd name="T109" fmla="*/ 2147483647 h 6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008"/>
                  <a:gd name="T166" fmla="*/ 0 h 606"/>
                  <a:gd name="T167" fmla="*/ 1008 w 1008"/>
                  <a:gd name="T168" fmla="*/ 606 h 60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008" h="606">
                    <a:moveTo>
                      <a:pt x="48" y="150"/>
                    </a:moveTo>
                    <a:lnTo>
                      <a:pt x="48" y="156"/>
                    </a:lnTo>
                    <a:lnTo>
                      <a:pt x="42" y="162"/>
                    </a:lnTo>
                    <a:lnTo>
                      <a:pt x="36" y="174"/>
                    </a:lnTo>
                    <a:lnTo>
                      <a:pt x="36" y="186"/>
                    </a:lnTo>
                    <a:lnTo>
                      <a:pt x="42" y="198"/>
                    </a:lnTo>
                    <a:lnTo>
                      <a:pt x="48" y="204"/>
                    </a:lnTo>
                    <a:lnTo>
                      <a:pt x="54" y="216"/>
                    </a:lnTo>
                    <a:lnTo>
                      <a:pt x="60" y="222"/>
                    </a:lnTo>
                    <a:lnTo>
                      <a:pt x="60" y="228"/>
                    </a:lnTo>
                    <a:lnTo>
                      <a:pt x="90" y="222"/>
                    </a:lnTo>
                    <a:lnTo>
                      <a:pt x="90" y="246"/>
                    </a:lnTo>
                    <a:lnTo>
                      <a:pt x="114" y="258"/>
                    </a:lnTo>
                    <a:lnTo>
                      <a:pt x="90" y="258"/>
                    </a:lnTo>
                    <a:lnTo>
                      <a:pt x="78" y="264"/>
                    </a:lnTo>
                    <a:lnTo>
                      <a:pt x="72" y="264"/>
                    </a:lnTo>
                    <a:lnTo>
                      <a:pt x="72" y="270"/>
                    </a:lnTo>
                    <a:lnTo>
                      <a:pt x="78" y="276"/>
                    </a:lnTo>
                    <a:lnTo>
                      <a:pt x="90" y="276"/>
                    </a:lnTo>
                    <a:lnTo>
                      <a:pt x="96" y="282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26" y="300"/>
                    </a:lnTo>
                    <a:lnTo>
                      <a:pt x="132" y="306"/>
                    </a:lnTo>
                    <a:lnTo>
                      <a:pt x="138" y="354"/>
                    </a:lnTo>
                    <a:lnTo>
                      <a:pt x="150" y="360"/>
                    </a:lnTo>
                    <a:lnTo>
                      <a:pt x="150" y="372"/>
                    </a:lnTo>
                    <a:lnTo>
                      <a:pt x="144" y="378"/>
                    </a:lnTo>
                    <a:lnTo>
                      <a:pt x="144" y="402"/>
                    </a:lnTo>
                    <a:lnTo>
                      <a:pt x="150" y="414"/>
                    </a:lnTo>
                    <a:lnTo>
                      <a:pt x="150" y="426"/>
                    </a:lnTo>
                    <a:lnTo>
                      <a:pt x="156" y="432"/>
                    </a:lnTo>
                    <a:lnTo>
                      <a:pt x="156" y="438"/>
                    </a:lnTo>
                    <a:lnTo>
                      <a:pt x="186" y="438"/>
                    </a:lnTo>
                    <a:lnTo>
                      <a:pt x="198" y="426"/>
                    </a:lnTo>
                    <a:lnTo>
                      <a:pt x="210" y="420"/>
                    </a:lnTo>
                    <a:lnTo>
                      <a:pt x="210" y="408"/>
                    </a:lnTo>
                    <a:lnTo>
                      <a:pt x="216" y="402"/>
                    </a:lnTo>
                    <a:lnTo>
                      <a:pt x="228" y="396"/>
                    </a:lnTo>
                    <a:lnTo>
                      <a:pt x="246" y="378"/>
                    </a:lnTo>
                    <a:lnTo>
                      <a:pt x="258" y="372"/>
                    </a:lnTo>
                    <a:lnTo>
                      <a:pt x="294" y="372"/>
                    </a:lnTo>
                    <a:lnTo>
                      <a:pt x="306" y="378"/>
                    </a:lnTo>
                    <a:lnTo>
                      <a:pt x="312" y="372"/>
                    </a:lnTo>
                    <a:lnTo>
                      <a:pt x="312" y="366"/>
                    </a:lnTo>
                    <a:lnTo>
                      <a:pt x="372" y="366"/>
                    </a:lnTo>
                    <a:lnTo>
                      <a:pt x="384" y="378"/>
                    </a:lnTo>
                    <a:lnTo>
                      <a:pt x="384" y="390"/>
                    </a:lnTo>
                    <a:lnTo>
                      <a:pt x="414" y="390"/>
                    </a:lnTo>
                    <a:lnTo>
                      <a:pt x="420" y="396"/>
                    </a:lnTo>
                    <a:lnTo>
                      <a:pt x="432" y="402"/>
                    </a:lnTo>
                    <a:lnTo>
                      <a:pt x="438" y="408"/>
                    </a:lnTo>
                    <a:lnTo>
                      <a:pt x="450" y="414"/>
                    </a:lnTo>
                    <a:lnTo>
                      <a:pt x="450" y="408"/>
                    </a:lnTo>
                    <a:lnTo>
                      <a:pt x="468" y="408"/>
                    </a:lnTo>
                    <a:lnTo>
                      <a:pt x="480" y="414"/>
                    </a:lnTo>
                    <a:lnTo>
                      <a:pt x="498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22" y="426"/>
                    </a:lnTo>
                    <a:lnTo>
                      <a:pt x="522" y="432"/>
                    </a:lnTo>
                    <a:lnTo>
                      <a:pt x="528" y="444"/>
                    </a:lnTo>
                    <a:lnTo>
                      <a:pt x="534" y="450"/>
                    </a:lnTo>
                    <a:lnTo>
                      <a:pt x="540" y="450"/>
                    </a:lnTo>
                    <a:lnTo>
                      <a:pt x="546" y="456"/>
                    </a:lnTo>
                    <a:lnTo>
                      <a:pt x="558" y="456"/>
                    </a:lnTo>
                    <a:lnTo>
                      <a:pt x="570" y="468"/>
                    </a:lnTo>
                    <a:lnTo>
                      <a:pt x="582" y="474"/>
                    </a:lnTo>
                    <a:lnTo>
                      <a:pt x="588" y="486"/>
                    </a:lnTo>
                    <a:lnTo>
                      <a:pt x="594" y="492"/>
                    </a:lnTo>
                    <a:lnTo>
                      <a:pt x="660" y="486"/>
                    </a:lnTo>
                    <a:lnTo>
                      <a:pt x="660" y="522"/>
                    </a:lnTo>
                    <a:lnTo>
                      <a:pt x="672" y="522"/>
                    </a:lnTo>
                    <a:lnTo>
                      <a:pt x="666" y="546"/>
                    </a:lnTo>
                    <a:lnTo>
                      <a:pt x="678" y="576"/>
                    </a:lnTo>
                    <a:lnTo>
                      <a:pt x="684" y="582"/>
                    </a:lnTo>
                    <a:lnTo>
                      <a:pt x="696" y="582"/>
                    </a:lnTo>
                    <a:lnTo>
                      <a:pt x="702" y="588"/>
                    </a:lnTo>
                    <a:lnTo>
                      <a:pt x="714" y="588"/>
                    </a:lnTo>
                    <a:lnTo>
                      <a:pt x="720" y="582"/>
                    </a:lnTo>
                    <a:lnTo>
                      <a:pt x="726" y="582"/>
                    </a:lnTo>
                    <a:lnTo>
                      <a:pt x="750" y="606"/>
                    </a:lnTo>
                    <a:lnTo>
                      <a:pt x="774" y="606"/>
                    </a:lnTo>
                    <a:lnTo>
                      <a:pt x="786" y="600"/>
                    </a:lnTo>
                    <a:lnTo>
                      <a:pt x="792" y="594"/>
                    </a:lnTo>
                    <a:lnTo>
                      <a:pt x="804" y="570"/>
                    </a:lnTo>
                    <a:lnTo>
                      <a:pt x="804" y="558"/>
                    </a:lnTo>
                    <a:lnTo>
                      <a:pt x="816" y="558"/>
                    </a:lnTo>
                    <a:lnTo>
                      <a:pt x="852" y="540"/>
                    </a:lnTo>
                    <a:lnTo>
                      <a:pt x="858" y="528"/>
                    </a:lnTo>
                    <a:lnTo>
                      <a:pt x="870" y="522"/>
                    </a:lnTo>
                    <a:lnTo>
                      <a:pt x="882" y="522"/>
                    </a:lnTo>
                    <a:lnTo>
                      <a:pt x="882" y="462"/>
                    </a:lnTo>
                    <a:lnTo>
                      <a:pt x="888" y="450"/>
                    </a:lnTo>
                    <a:lnTo>
                      <a:pt x="900" y="444"/>
                    </a:lnTo>
                    <a:lnTo>
                      <a:pt x="936" y="444"/>
                    </a:lnTo>
                    <a:lnTo>
                      <a:pt x="936" y="420"/>
                    </a:lnTo>
                    <a:lnTo>
                      <a:pt x="948" y="420"/>
                    </a:lnTo>
                    <a:lnTo>
                      <a:pt x="960" y="426"/>
                    </a:lnTo>
                    <a:lnTo>
                      <a:pt x="966" y="432"/>
                    </a:lnTo>
                    <a:lnTo>
                      <a:pt x="978" y="438"/>
                    </a:lnTo>
                    <a:lnTo>
                      <a:pt x="1008" y="438"/>
                    </a:lnTo>
                    <a:lnTo>
                      <a:pt x="1008" y="426"/>
                    </a:lnTo>
                    <a:lnTo>
                      <a:pt x="996" y="414"/>
                    </a:lnTo>
                    <a:lnTo>
                      <a:pt x="996" y="396"/>
                    </a:lnTo>
                    <a:lnTo>
                      <a:pt x="1002" y="390"/>
                    </a:lnTo>
                    <a:lnTo>
                      <a:pt x="954" y="360"/>
                    </a:lnTo>
                    <a:lnTo>
                      <a:pt x="930" y="366"/>
                    </a:lnTo>
                    <a:lnTo>
                      <a:pt x="924" y="366"/>
                    </a:lnTo>
                    <a:lnTo>
                      <a:pt x="912" y="354"/>
                    </a:lnTo>
                    <a:lnTo>
                      <a:pt x="900" y="354"/>
                    </a:lnTo>
                    <a:lnTo>
                      <a:pt x="888" y="342"/>
                    </a:lnTo>
                    <a:lnTo>
                      <a:pt x="876" y="336"/>
                    </a:lnTo>
                    <a:lnTo>
                      <a:pt x="870" y="330"/>
                    </a:lnTo>
                    <a:lnTo>
                      <a:pt x="846" y="318"/>
                    </a:lnTo>
                    <a:lnTo>
                      <a:pt x="828" y="306"/>
                    </a:lnTo>
                    <a:lnTo>
                      <a:pt x="804" y="306"/>
                    </a:lnTo>
                    <a:lnTo>
                      <a:pt x="774" y="288"/>
                    </a:lnTo>
                    <a:lnTo>
                      <a:pt x="768" y="282"/>
                    </a:lnTo>
                    <a:lnTo>
                      <a:pt x="762" y="270"/>
                    </a:lnTo>
                    <a:lnTo>
                      <a:pt x="750" y="258"/>
                    </a:lnTo>
                    <a:lnTo>
                      <a:pt x="744" y="258"/>
                    </a:lnTo>
                    <a:lnTo>
                      <a:pt x="732" y="252"/>
                    </a:lnTo>
                    <a:lnTo>
                      <a:pt x="714" y="252"/>
                    </a:lnTo>
                    <a:lnTo>
                      <a:pt x="702" y="246"/>
                    </a:lnTo>
                    <a:lnTo>
                      <a:pt x="690" y="234"/>
                    </a:lnTo>
                    <a:lnTo>
                      <a:pt x="672" y="198"/>
                    </a:lnTo>
                    <a:lnTo>
                      <a:pt x="666" y="192"/>
                    </a:lnTo>
                    <a:lnTo>
                      <a:pt x="666" y="186"/>
                    </a:lnTo>
                    <a:lnTo>
                      <a:pt x="648" y="168"/>
                    </a:lnTo>
                    <a:lnTo>
                      <a:pt x="630" y="138"/>
                    </a:lnTo>
                    <a:lnTo>
                      <a:pt x="594" y="120"/>
                    </a:lnTo>
                    <a:lnTo>
                      <a:pt x="594" y="126"/>
                    </a:lnTo>
                    <a:lnTo>
                      <a:pt x="540" y="120"/>
                    </a:lnTo>
                    <a:lnTo>
                      <a:pt x="510" y="120"/>
                    </a:lnTo>
                    <a:lnTo>
                      <a:pt x="492" y="102"/>
                    </a:lnTo>
                    <a:lnTo>
                      <a:pt x="492" y="90"/>
                    </a:lnTo>
                    <a:lnTo>
                      <a:pt x="504" y="78"/>
                    </a:lnTo>
                    <a:lnTo>
                      <a:pt x="492" y="72"/>
                    </a:lnTo>
                    <a:lnTo>
                      <a:pt x="492" y="60"/>
                    </a:lnTo>
                    <a:lnTo>
                      <a:pt x="486" y="48"/>
                    </a:lnTo>
                    <a:lnTo>
                      <a:pt x="480" y="42"/>
                    </a:lnTo>
                    <a:lnTo>
                      <a:pt x="444" y="42"/>
                    </a:lnTo>
                    <a:lnTo>
                      <a:pt x="432" y="36"/>
                    </a:lnTo>
                    <a:lnTo>
                      <a:pt x="432" y="24"/>
                    </a:lnTo>
                    <a:lnTo>
                      <a:pt x="408" y="24"/>
                    </a:lnTo>
                    <a:lnTo>
                      <a:pt x="390" y="0"/>
                    </a:lnTo>
                    <a:lnTo>
                      <a:pt x="384" y="12"/>
                    </a:lnTo>
                    <a:lnTo>
                      <a:pt x="354" y="6"/>
                    </a:lnTo>
                    <a:lnTo>
                      <a:pt x="384" y="36"/>
                    </a:lnTo>
                    <a:lnTo>
                      <a:pt x="378" y="30"/>
                    </a:lnTo>
                    <a:lnTo>
                      <a:pt x="366" y="30"/>
                    </a:lnTo>
                    <a:lnTo>
                      <a:pt x="360" y="24"/>
                    </a:lnTo>
                    <a:lnTo>
                      <a:pt x="354" y="24"/>
                    </a:lnTo>
                    <a:lnTo>
                      <a:pt x="348" y="30"/>
                    </a:lnTo>
                    <a:lnTo>
                      <a:pt x="348" y="42"/>
                    </a:lnTo>
                    <a:lnTo>
                      <a:pt x="342" y="42"/>
                    </a:lnTo>
                    <a:lnTo>
                      <a:pt x="336" y="48"/>
                    </a:lnTo>
                    <a:lnTo>
                      <a:pt x="324" y="48"/>
                    </a:lnTo>
                    <a:lnTo>
                      <a:pt x="312" y="54"/>
                    </a:lnTo>
                    <a:lnTo>
                      <a:pt x="294" y="72"/>
                    </a:lnTo>
                    <a:lnTo>
                      <a:pt x="294" y="84"/>
                    </a:lnTo>
                    <a:lnTo>
                      <a:pt x="300" y="102"/>
                    </a:lnTo>
                    <a:lnTo>
                      <a:pt x="312" y="108"/>
                    </a:lnTo>
                    <a:lnTo>
                      <a:pt x="318" y="120"/>
                    </a:lnTo>
                    <a:lnTo>
                      <a:pt x="252" y="120"/>
                    </a:lnTo>
                    <a:lnTo>
                      <a:pt x="240" y="108"/>
                    </a:lnTo>
                    <a:lnTo>
                      <a:pt x="228" y="108"/>
                    </a:lnTo>
                    <a:lnTo>
                      <a:pt x="228" y="114"/>
                    </a:lnTo>
                    <a:lnTo>
                      <a:pt x="216" y="126"/>
                    </a:lnTo>
                    <a:lnTo>
                      <a:pt x="210" y="120"/>
                    </a:lnTo>
                    <a:lnTo>
                      <a:pt x="198" y="114"/>
                    </a:lnTo>
                    <a:lnTo>
                      <a:pt x="174" y="90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56" y="60"/>
                    </a:lnTo>
                    <a:lnTo>
                      <a:pt x="144" y="54"/>
                    </a:lnTo>
                    <a:lnTo>
                      <a:pt x="132" y="42"/>
                    </a:lnTo>
                    <a:lnTo>
                      <a:pt x="120" y="42"/>
                    </a:lnTo>
                    <a:lnTo>
                      <a:pt x="96" y="30"/>
                    </a:lnTo>
                    <a:lnTo>
                      <a:pt x="78" y="30"/>
                    </a:lnTo>
                    <a:lnTo>
                      <a:pt x="72" y="36"/>
                    </a:lnTo>
                    <a:lnTo>
                      <a:pt x="72" y="48"/>
                    </a:lnTo>
                    <a:lnTo>
                      <a:pt x="84" y="54"/>
                    </a:lnTo>
                    <a:lnTo>
                      <a:pt x="90" y="54"/>
                    </a:lnTo>
                    <a:lnTo>
                      <a:pt x="90" y="66"/>
                    </a:lnTo>
                    <a:lnTo>
                      <a:pt x="96" y="66"/>
                    </a:lnTo>
                    <a:lnTo>
                      <a:pt x="96" y="72"/>
                    </a:lnTo>
                    <a:lnTo>
                      <a:pt x="102" y="84"/>
                    </a:lnTo>
                    <a:lnTo>
                      <a:pt x="114" y="90"/>
                    </a:lnTo>
                    <a:lnTo>
                      <a:pt x="126" y="102"/>
                    </a:lnTo>
                    <a:lnTo>
                      <a:pt x="138" y="108"/>
                    </a:lnTo>
                    <a:lnTo>
                      <a:pt x="150" y="120"/>
                    </a:lnTo>
                    <a:lnTo>
                      <a:pt x="162" y="126"/>
                    </a:lnTo>
                    <a:lnTo>
                      <a:pt x="162" y="150"/>
                    </a:lnTo>
                    <a:lnTo>
                      <a:pt x="156" y="156"/>
                    </a:lnTo>
                    <a:lnTo>
                      <a:pt x="144" y="156"/>
                    </a:lnTo>
                    <a:lnTo>
                      <a:pt x="132" y="150"/>
                    </a:lnTo>
                    <a:lnTo>
                      <a:pt x="120" y="138"/>
                    </a:lnTo>
                    <a:lnTo>
                      <a:pt x="120" y="162"/>
                    </a:lnTo>
                    <a:lnTo>
                      <a:pt x="78" y="162"/>
                    </a:lnTo>
                    <a:lnTo>
                      <a:pt x="66" y="144"/>
                    </a:lnTo>
                    <a:lnTo>
                      <a:pt x="60" y="150"/>
                    </a:lnTo>
                    <a:lnTo>
                      <a:pt x="48" y="138"/>
                    </a:lnTo>
                    <a:lnTo>
                      <a:pt x="42" y="126"/>
                    </a:lnTo>
                    <a:lnTo>
                      <a:pt x="36" y="120"/>
                    </a:lnTo>
                    <a:lnTo>
                      <a:pt x="36" y="102"/>
                    </a:lnTo>
                    <a:lnTo>
                      <a:pt x="30" y="96"/>
                    </a:lnTo>
                    <a:lnTo>
                      <a:pt x="30" y="84"/>
                    </a:lnTo>
                    <a:lnTo>
                      <a:pt x="24" y="78"/>
                    </a:lnTo>
                    <a:lnTo>
                      <a:pt x="0" y="78"/>
                    </a:lnTo>
                    <a:lnTo>
                      <a:pt x="0" y="84"/>
                    </a:lnTo>
                    <a:lnTo>
                      <a:pt x="6" y="90"/>
                    </a:lnTo>
                    <a:lnTo>
                      <a:pt x="12" y="102"/>
                    </a:lnTo>
                    <a:lnTo>
                      <a:pt x="18" y="108"/>
                    </a:lnTo>
                    <a:lnTo>
                      <a:pt x="24" y="120"/>
                    </a:lnTo>
                    <a:lnTo>
                      <a:pt x="36" y="126"/>
                    </a:lnTo>
                    <a:lnTo>
                      <a:pt x="42" y="138"/>
                    </a:lnTo>
                    <a:lnTo>
                      <a:pt x="48" y="144"/>
                    </a:lnTo>
                    <a:lnTo>
                      <a:pt x="48" y="15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1" name="Tuni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61811AE-11AF-4E29-A0C9-0D9825A24D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90556" y="3171363"/>
                <a:ext cx="120554" cy="255084"/>
              </a:xfrm>
              <a:custGeom>
                <a:avLst/>
                <a:gdLst>
                  <a:gd name="T0" fmla="*/ 2147483647 w 276"/>
                  <a:gd name="T1" fmla="*/ 2147483647 h 570"/>
                  <a:gd name="T2" fmla="*/ 2147483647 w 276"/>
                  <a:gd name="T3" fmla="*/ 2147483647 h 570"/>
                  <a:gd name="T4" fmla="*/ 2147483647 w 276"/>
                  <a:gd name="T5" fmla="*/ 2147483647 h 570"/>
                  <a:gd name="T6" fmla="*/ 2147483647 w 276"/>
                  <a:gd name="T7" fmla="*/ 2147483647 h 570"/>
                  <a:gd name="T8" fmla="*/ 2147483647 w 276"/>
                  <a:gd name="T9" fmla="*/ 2147483647 h 570"/>
                  <a:gd name="T10" fmla="*/ 2147483647 w 276"/>
                  <a:gd name="T11" fmla="*/ 2147483647 h 570"/>
                  <a:gd name="T12" fmla="*/ 0 w 276"/>
                  <a:gd name="T13" fmla="*/ 2147483647 h 570"/>
                  <a:gd name="T14" fmla="*/ 2147483647 w 276"/>
                  <a:gd name="T15" fmla="*/ 2147483647 h 570"/>
                  <a:gd name="T16" fmla="*/ 2147483647 w 276"/>
                  <a:gd name="T17" fmla="*/ 2147483647 h 570"/>
                  <a:gd name="T18" fmla="*/ 2147483647 w 276"/>
                  <a:gd name="T19" fmla="*/ 2147483647 h 570"/>
                  <a:gd name="T20" fmla="*/ 2147483647 w 276"/>
                  <a:gd name="T21" fmla="*/ 2147483647 h 570"/>
                  <a:gd name="T22" fmla="*/ 2147483647 w 276"/>
                  <a:gd name="T23" fmla="*/ 2147483647 h 570"/>
                  <a:gd name="T24" fmla="*/ 2147483647 w 276"/>
                  <a:gd name="T25" fmla="*/ 2147483647 h 570"/>
                  <a:gd name="T26" fmla="*/ 2147483647 w 276"/>
                  <a:gd name="T27" fmla="*/ 2147483647 h 570"/>
                  <a:gd name="T28" fmla="*/ 2147483647 w 276"/>
                  <a:gd name="T29" fmla="*/ 2147483647 h 570"/>
                  <a:gd name="T30" fmla="*/ 2147483647 w 276"/>
                  <a:gd name="T31" fmla="*/ 2147483647 h 570"/>
                  <a:gd name="T32" fmla="*/ 2147483647 w 276"/>
                  <a:gd name="T33" fmla="*/ 2147483647 h 570"/>
                  <a:gd name="T34" fmla="*/ 2147483647 w 276"/>
                  <a:gd name="T35" fmla="*/ 2147483647 h 570"/>
                  <a:gd name="T36" fmla="*/ 2147483647 w 276"/>
                  <a:gd name="T37" fmla="*/ 2147483647 h 570"/>
                  <a:gd name="T38" fmla="*/ 2147483647 w 276"/>
                  <a:gd name="T39" fmla="*/ 2147483647 h 570"/>
                  <a:gd name="T40" fmla="*/ 2147483647 w 276"/>
                  <a:gd name="T41" fmla="*/ 2147483647 h 570"/>
                  <a:gd name="T42" fmla="*/ 2147483647 w 276"/>
                  <a:gd name="T43" fmla="*/ 2147483647 h 570"/>
                  <a:gd name="T44" fmla="*/ 2147483647 w 276"/>
                  <a:gd name="T45" fmla="*/ 2147483647 h 570"/>
                  <a:gd name="T46" fmla="*/ 2147483647 w 276"/>
                  <a:gd name="T47" fmla="*/ 2147483647 h 570"/>
                  <a:gd name="T48" fmla="*/ 2147483647 w 276"/>
                  <a:gd name="T49" fmla="*/ 2147483647 h 570"/>
                  <a:gd name="T50" fmla="*/ 2147483647 w 276"/>
                  <a:gd name="T51" fmla="*/ 2147483647 h 570"/>
                  <a:gd name="T52" fmla="*/ 2147483647 w 276"/>
                  <a:gd name="T53" fmla="*/ 2147483647 h 570"/>
                  <a:gd name="T54" fmla="*/ 2147483647 w 276"/>
                  <a:gd name="T55" fmla="*/ 2147483647 h 570"/>
                  <a:gd name="T56" fmla="*/ 2147483647 w 276"/>
                  <a:gd name="T57" fmla="*/ 2147483647 h 570"/>
                  <a:gd name="T58" fmla="*/ 2147483647 w 276"/>
                  <a:gd name="T59" fmla="*/ 2147483647 h 570"/>
                  <a:gd name="T60" fmla="*/ 2147483647 w 276"/>
                  <a:gd name="T61" fmla="*/ 2147483647 h 570"/>
                  <a:gd name="T62" fmla="*/ 2147483647 w 276"/>
                  <a:gd name="T63" fmla="*/ 2147483647 h 570"/>
                  <a:gd name="T64" fmla="*/ 2147483647 w 276"/>
                  <a:gd name="T65" fmla="*/ 2147483647 h 570"/>
                  <a:gd name="T66" fmla="*/ 2147483647 w 276"/>
                  <a:gd name="T67" fmla="*/ 2147483647 h 570"/>
                  <a:gd name="T68" fmla="*/ 2147483647 w 276"/>
                  <a:gd name="T69" fmla="*/ 2147483647 h 570"/>
                  <a:gd name="T70" fmla="*/ 2147483647 w 276"/>
                  <a:gd name="T71" fmla="*/ 2147483647 h 570"/>
                  <a:gd name="T72" fmla="*/ 2147483647 w 276"/>
                  <a:gd name="T73" fmla="*/ 2147483647 h 570"/>
                  <a:gd name="T74" fmla="*/ 2147483647 w 276"/>
                  <a:gd name="T75" fmla="*/ 2147483647 h 570"/>
                  <a:gd name="T76" fmla="*/ 2147483647 w 276"/>
                  <a:gd name="T77" fmla="*/ 2147483647 h 570"/>
                  <a:gd name="T78" fmla="*/ 2147483647 w 276"/>
                  <a:gd name="T79" fmla="*/ 2147483647 h 570"/>
                  <a:gd name="T80" fmla="*/ 2147483647 w 276"/>
                  <a:gd name="T81" fmla="*/ 2147483647 h 570"/>
                  <a:gd name="T82" fmla="*/ 2147483647 w 276"/>
                  <a:gd name="T83" fmla="*/ 2147483647 h 570"/>
                  <a:gd name="T84" fmla="*/ 2147483647 w 276"/>
                  <a:gd name="T85" fmla="*/ 2147483647 h 570"/>
                  <a:gd name="T86" fmla="*/ 2147483647 w 276"/>
                  <a:gd name="T87" fmla="*/ 2147483647 h 570"/>
                  <a:gd name="T88" fmla="*/ 2147483647 w 276"/>
                  <a:gd name="T89" fmla="*/ 0 h 570"/>
                  <a:gd name="T90" fmla="*/ 2147483647 w 276"/>
                  <a:gd name="T91" fmla="*/ 2147483647 h 570"/>
                  <a:gd name="T92" fmla="*/ 2147483647 w 276"/>
                  <a:gd name="T93" fmla="*/ 2147483647 h 570"/>
                  <a:gd name="T94" fmla="*/ 2147483647 w 276"/>
                  <a:gd name="T95" fmla="*/ 2147483647 h 57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76"/>
                  <a:gd name="T145" fmla="*/ 0 h 570"/>
                  <a:gd name="T146" fmla="*/ 276 w 276"/>
                  <a:gd name="T147" fmla="*/ 570 h 57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76" h="570">
                    <a:moveTo>
                      <a:pt x="42" y="60"/>
                    </a:moveTo>
                    <a:lnTo>
                      <a:pt x="60" y="66"/>
                    </a:lnTo>
                    <a:lnTo>
                      <a:pt x="60" y="78"/>
                    </a:lnTo>
                    <a:lnTo>
                      <a:pt x="54" y="90"/>
                    </a:lnTo>
                    <a:lnTo>
                      <a:pt x="54" y="126"/>
                    </a:lnTo>
                    <a:lnTo>
                      <a:pt x="60" y="138"/>
                    </a:lnTo>
                    <a:lnTo>
                      <a:pt x="60" y="180"/>
                    </a:lnTo>
                    <a:lnTo>
                      <a:pt x="54" y="192"/>
                    </a:lnTo>
                    <a:lnTo>
                      <a:pt x="54" y="204"/>
                    </a:lnTo>
                    <a:lnTo>
                      <a:pt x="48" y="210"/>
                    </a:lnTo>
                    <a:lnTo>
                      <a:pt x="48" y="216"/>
                    </a:lnTo>
                    <a:lnTo>
                      <a:pt x="24" y="234"/>
                    </a:lnTo>
                    <a:lnTo>
                      <a:pt x="0" y="258"/>
                    </a:lnTo>
                    <a:lnTo>
                      <a:pt x="0" y="300"/>
                    </a:lnTo>
                    <a:lnTo>
                      <a:pt x="12" y="300"/>
                    </a:lnTo>
                    <a:lnTo>
                      <a:pt x="12" y="330"/>
                    </a:lnTo>
                    <a:lnTo>
                      <a:pt x="24" y="330"/>
                    </a:lnTo>
                    <a:lnTo>
                      <a:pt x="42" y="336"/>
                    </a:lnTo>
                    <a:lnTo>
                      <a:pt x="54" y="348"/>
                    </a:lnTo>
                    <a:lnTo>
                      <a:pt x="54" y="390"/>
                    </a:lnTo>
                    <a:lnTo>
                      <a:pt x="60" y="390"/>
                    </a:lnTo>
                    <a:lnTo>
                      <a:pt x="66" y="396"/>
                    </a:lnTo>
                    <a:lnTo>
                      <a:pt x="90" y="408"/>
                    </a:lnTo>
                    <a:lnTo>
                      <a:pt x="96" y="420"/>
                    </a:lnTo>
                    <a:lnTo>
                      <a:pt x="102" y="426"/>
                    </a:lnTo>
                    <a:lnTo>
                      <a:pt x="108" y="450"/>
                    </a:lnTo>
                    <a:lnTo>
                      <a:pt x="114" y="492"/>
                    </a:lnTo>
                    <a:lnTo>
                      <a:pt x="126" y="540"/>
                    </a:lnTo>
                    <a:lnTo>
                      <a:pt x="138" y="570"/>
                    </a:lnTo>
                    <a:lnTo>
                      <a:pt x="144" y="564"/>
                    </a:lnTo>
                    <a:lnTo>
                      <a:pt x="156" y="564"/>
                    </a:lnTo>
                    <a:lnTo>
                      <a:pt x="186" y="534"/>
                    </a:lnTo>
                    <a:lnTo>
                      <a:pt x="186" y="510"/>
                    </a:lnTo>
                    <a:lnTo>
                      <a:pt x="174" y="486"/>
                    </a:lnTo>
                    <a:lnTo>
                      <a:pt x="174" y="468"/>
                    </a:lnTo>
                    <a:lnTo>
                      <a:pt x="192" y="450"/>
                    </a:lnTo>
                    <a:lnTo>
                      <a:pt x="198" y="450"/>
                    </a:lnTo>
                    <a:lnTo>
                      <a:pt x="204" y="438"/>
                    </a:lnTo>
                    <a:lnTo>
                      <a:pt x="210" y="432"/>
                    </a:lnTo>
                    <a:lnTo>
                      <a:pt x="216" y="420"/>
                    </a:lnTo>
                    <a:lnTo>
                      <a:pt x="222" y="414"/>
                    </a:lnTo>
                    <a:lnTo>
                      <a:pt x="234" y="408"/>
                    </a:lnTo>
                    <a:lnTo>
                      <a:pt x="246" y="408"/>
                    </a:lnTo>
                    <a:lnTo>
                      <a:pt x="270" y="396"/>
                    </a:lnTo>
                    <a:lnTo>
                      <a:pt x="276" y="390"/>
                    </a:lnTo>
                    <a:lnTo>
                      <a:pt x="276" y="384"/>
                    </a:lnTo>
                    <a:lnTo>
                      <a:pt x="264" y="372"/>
                    </a:lnTo>
                    <a:lnTo>
                      <a:pt x="258" y="372"/>
                    </a:lnTo>
                    <a:lnTo>
                      <a:pt x="264" y="330"/>
                    </a:lnTo>
                    <a:lnTo>
                      <a:pt x="252" y="330"/>
                    </a:lnTo>
                    <a:lnTo>
                      <a:pt x="240" y="300"/>
                    </a:lnTo>
                    <a:lnTo>
                      <a:pt x="228" y="294"/>
                    </a:lnTo>
                    <a:lnTo>
                      <a:pt x="222" y="306"/>
                    </a:lnTo>
                    <a:lnTo>
                      <a:pt x="216" y="294"/>
                    </a:lnTo>
                    <a:lnTo>
                      <a:pt x="198" y="294"/>
                    </a:lnTo>
                    <a:lnTo>
                      <a:pt x="186" y="288"/>
                    </a:lnTo>
                    <a:lnTo>
                      <a:pt x="180" y="282"/>
                    </a:lnTo>
                    <a:lnTo>
                      <a:pt x="168" y="276"/>
                    </a:lnTo>
                    <a:lnTo>
                      <a:pt x="168" y="246"/>
                    </a:lnTo>
                    <a:lnTo>
                      <a:pt x="174" y="240"/>
                    </a:lnTo>
                    <a:lnTo>
                      <a:pt x="180" y="240"/>
                    </a:lnTo>
                    <a:lnTo>
                      <a:pt x="234" y="186"/>
                    </a:lnTo>
                    <a:lnTo>
                      <a:pt x="240" y="174"/>
                    </a:lnTo>
                    <a:lnTo>
                      <a:pt x="240" y="156"/>
                    </a:lnTo>
                    <a:lnTo>
                      <a:pt x="234" y="144"/>
                    </a:lnTo>
                    <a:lnTo>
                      <a:pt x="216" y="126"/>
                    </a:lnTo>
                    <a:lnTo>
                      <a:pt x="204" y="120"/>
                    </a:lnTo>
                    <a:lnTo>
                      <a:pt x="198" y="120"/>
                    </a:lnTo>
                    <a:lnTo>
                      <a:pt x="198" y="102"/>
                    </a:lnTo>
                    <a:lnTo>
                      <a:pt x="204" y="90"/>
                    </a:lnTo>
                    <a:lnTo>
                      <a:pt x="204" y="78"/>
                    </a:lnTo>
                    <a:lnTo>
                      <a:pt x="210" y="72"/>
                    </a:lnTo>
                    <a:lnTo>
                      <a:pt x="222" y="66"/>
                    </a:lnTo>
                    <a:lnTo>
                      <a:pt x="228" y="60"/>
                    </a:lnTo>
                    <a:lnTo>
                      <a:pt x="234" y="48"/>
                    </a:lnTo>
                    <a:lnTo>
                      <a:pt x="234" y="36"/>
                    </a:lnTo>
                    <a:lnTo>
                      <a:pt x="240" y="30"/>
                    </a:lnTo>
                    <a:lnTo>
                      <a:pt x="240" y="18"/>
                    </a:lnTo>
                    <a:lnTo>
                      <a:pt x="228" y="18"/>
                    </a:lnTo>
                    <a:lnTo>
                      <a:pt x="222" y="30"/>
                    </a:lnTo>
                    <a:lnTo>
                      <a:pt x="210" y="36"/>
                    </a:lnTo>
                    <a:lnTo>
                      <a:pt x="204" y="48"/>
                    </a:lnTo>
                    <a:lnTo>
                      <a:pt x="192" y="60"/>
                    </a:lnTo>
                    <a:lnTo>
                      <a:pt x="186" y="60"/>
                    </a:lnTo>
                    <a:lnTo>
                      <a:pt x="174" y="54"/>
                    </a:lnTo>
                    <a:lnTo>
                      <a:pt x="162" y="42"/>
                    </a:lnTo>
                    <a:lnTo>
                      <a:pt x="174" y="30"/>
                    </a:lnTo>
                    <a:lnTo>
                      <a:pt x="174" y="24"/>
                    </a:lnTo>
                    <a:lnTo>
                      <a:pt x="180" y="12"/>
                    </a:lnTo>
                    <a:lnTo>
                      <a:pt x="168" y="0"/>
                    </a:lnTo>
                    <a:lnTo>
                      <a:pt x="138" y="0"/>
                    </a:lnTo>
                    <a:lnTo>
                      <a:pt x="126" y="6"/>
                    </a:lnTo>
                    <a:lnTo>
                      <a:pt x="108" y="12"/>
                    </a:lnTo>
                    <a:lnTo>
                      <a:pt x="96" y="18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42" y="6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2" name="Tog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C497972-7BA7-4FBB-ABC4-9A4FB9D822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44204" y="4120838"/>
                <a:ext cx="62899" cy="180683"/>
              </a:xfrm>
              <a:custGeom>
                <a:avLst/>
                <a:gdLst>
                  <a:gd name="T0" fmla="*/ 2147483647 w 138"/>
                  <a:gd name="T1" fmla="*/ 2147483647 h 402"/>
                  <a:gd name="T2" fmla="*/ 2147483647 w 138"/>
                  <a:gd name="T3" fmla="*/ 2147483647 h 402"/>
                  <a:gd name="T4" fmla="*/ 2147483647 w 138"/>
                  <a:gd name="T5" fmla="*/ 2147483647 h 402"/>
                  <a:gd name="T6" fmla="*/ 2147483647 w 138"/>
                  <a:gd name="T7" fmla="*/ 2147483647 h 402"/>
                  <a:gd name="T8" fmla="*/ 2147483647 w 138"/>
                  <a:gd name="T9" fmla="*/ 2147483647 h 402"/>
                  <a:gd name="T10" fmla="*/ 2147483647 w 138"/>
                  <a:gd name="T11" fmla="*/ 2147483647 h 402"/>
                  <a:gd name="T12" fmla="*/ 2147483647 w 138"/>
                  <a:gd name="T13" fmla="*/ 2147483647 h 402"/>
                  <a:gd name="T14" fmla="*/ 2147483647 w 138"/>
                  <a:gd name="T15" fmla="*/ 2147483647 h 402"/>
                  <a:gd name="T16" fmla="*/ 2147483647 w 138"/>
                  <a:gd name="T17" fmla="*/ 2147483647 h 402"/>
                  <a:gd name="T18" fmla="*/ 2147483647 w 138"/>
                  <a:gd name="T19" fmla="*/ 2147483647 h 402"/>
                  <a:gd name="T20" fmla="*/ 2147483647 w 138"/>
                  <a:gd name="T21" fmla="*/ 2147483647 h 402"/>
                  <a:gd name="T22" fmla="*/ 2147483647 w 138"/>
                  <a:gd name="T23" fmla="*/ 2147483647 h 402"/>
                  <a:gd name="T24" fmla="*/ 2147483647 w 138"/>
                  <a:gd name="T25" fmla="*/ 2147483647 h 402"/>
                  <a:gd name="T26" fmla="*/ 2147483647 w 138"/>
                  <a:gd name="T27" fmla="*/ 2147483647 h 402"/>
                  <a:gd name="T28" fmla="*/ 2147483647 w 138"/>
                  <a:gd name="T29" fmla="*/ 2147483647 h 402"/>
                  <a:gd name="T30" fmla="*/ 2147483647 w 138"/>
                  <a:gd name="T31" fmla="*/ 2147483647 h 402"/>
                  <a:gd name="T32" fmla="*/ 2147483647 w 138"/>
                  <a:gd name="T33" fmla="*/ 0 h 402"/>
                  <a:gd name="T34" fmla="*/ 2147483647 w 138"/>
                  <a:gd name="T35" fmla="*/ 0 h 402"/>
                  <a:gd name="T36" fmla="*/ 2147483647 w 138"/>
                  <a:gd name="T37" fmla="*/ 2147483647 h 402"/>
                  <a:gd name="T38" fmla="*/ 0 w 138"/>
                  <a:gd name="T39" fmla="*/ 2147483647 h 402"/>
                  <a:gd name="T40" fmla="*/ 2147483647 w 138"/>
                  <a:gd name="T41" fmla="*/ 2147483647 h 402"/>
                  <a:gd name="T42" fmla="*/ 2147483647 w 138"/>
                  <a:gd name="T43" fmla="*/ 2147483647 h 402"/>
                  <a:gd name="T44" fmla="*/ 2147483647 w 138"/>
                  <a:gd name="T45" fmla="*/ 2147483647 h 402"/>
                  <a:gd name="T46" fmla="*/ 2147483647 w 138"/>
                  <a:gd name="T47" fmla="*/ 2147483647 h 402"/>
                  <a:gd name="T48" fmla="*/ 2147483647 w 138"/>
                  <a:gd name="T49" fmla="*/ 2147483647 h 402"/>
                  <a:gd name="T50" fmla="*/ 2147483647 w 138"/>
                  <a:gd name="T51" fmla="*/ 2147483647 h 402"/>
                  <a:gd name="T52" fmla="*/ 2147483647 w 138"/>
                  <a:gd name="T53" fmla="*/ 2147483647 h 402"/>
                  <a:gd name="T54" fmla="*/ 2147483647 w 138"/>
                  <a:gd name="T55" fmla="*/ 2147483647 h 402"/>
                  <a:gd name="T56" fmla="*/ 2147483647 w 138"/>
                  <a:gd name="T57" fmla="*/ 2147483647 h 402"/>
                  <a:gd name="T58" fmla="*/ 2147483647 w 138"/>
                  <a:gd name="T59" fmla="*/ 2147483647 h 402"/>
                  <a:gd name="T60" fmla="*/ 2147483647 w 138"/>
                  <a:gd name="T61" fmla="*/ 2147483647 h 402"/>
                  <a:gd name="T62" fmla="*/ 2147483647 w 138"/>
                  <a:gd name="T63" fmla="*/ 2147483647 h 402"/>
                  <a:gd name="T64" fmla="*/ 2147483647 w 138"/>
                  <a:gd name="T65" fmla="*/ 2147483647 h 402"/>
                  <a:gd name="T66" fmla="*/ 2147483647 w 138"/>
                  <a:gd name="T67" fmla="*/ 2147483647 h 402"/>
                  <a:gd name="T68" fmla="*/ 2147483647 w 138"/>
                  <a:gd name="T69" fmla="*/ 2147483647 h 402"/>
                  <a:gd name="T70" fmla="*/ 2147483647 w 138"/>
                  <a:gd name="T71" fmla="*/ 2147483647 h 402"/>
                  <a:gd name="T72" fmla="*/ 2147483647 w 138"/>
                  <a:gd name="T73" fmla="*/ 2147483647 h 402"/>
                  <a:gd name="T74" fmla="*/ 2147483647 w 138"/>
                  <a:gd name="T75" fmla="*/ 2147483647 h 402"/>
                  <a:gd name="T76" fmla="*/ 2147483647 w 138"/>
                  <a:gd name="T77" fmla="*/ 2147483647 h 402"/>
                  <a:gd name="T78" fmla="*/ 2147483647 w 138"/>
                  <a:gd name="T79" fmla="*/ 2147483647 h 402"/>
                  <a:gd name="T80" fmla="*/ 2147483647 w 138"/>
                  <a:gd name="T81" fmla="*/ 2147483647 h 402"/>
                  <a:gd name="T82" fmla="*/ 2147483647 w 138"/>
                  <a:gd name="T83" fmla="*/ 2147483647 h 402"/>
                  <a:gd name="T84" fmla="*/ 2147483647 w 138"/>
                  <a:gd name="T85" fmla="*/ 2147483647 h 402"/>
                  <a:gd name="T86" fmla="*/ 2147483647 w 138"/>
                  <a:gd name="T87" fmla="*/ 2147483647 h 402"/>
                  <a:gd name="T88" fmla="*/ 2147483647 w 138"/>
                  <a:gd name="T89" fmla="*/ 2147483647 h 402"/>
                  <a:gd name="T90" fmla="*/ 2147483647 w 138"/>
                  <a:gd name="T91" fmla="*/ 2147483647 h 402"/>
                  <a:gd name="T92" fmla="*/ 2147483647 w 138"/>
                  <a:gd name="T93" fmla="*/ 2147483647 h 402"/>
                  <a:gd name="T94" fmla="*/ 2147483647 w 138"/>
                  <a:gd name="T95" fmla="*/ 2147483647 h 402"/>
                  <a:gd name="T96" fmla="*/ 2147483647 w 138"/>
                  <a:gd name="T97" fmla="*/ 2147483647 h 402"/>
                  <a:gd name="T98" fmla="*/ 2147483647 w 138"/>
                  <a:gd name="T99" fmla="*/ 2147483647 h 402"/>
                  <a:gd name="T100" fmla="*/ 2147483647 w 138"/>
                  <a:gd name="T101" fmla="*/ 2147483647 h 402"/>
                  <a:gd name="T102" fmla="*/ 2147483647 w 138"/>
                  <a:gd name="T103" fmla="*/ 2147483647 h 40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38"/>
                  <a:gd name="T157" fmla="*/ 0 h 402"/>
                  <a:gd name="T158" fmla="*/ 138 w 138"/>
                  <a:gd name="T159" fmla="*/ 402 h 40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38" h="402">
                    <a:moveTo>
                      <a:pt x="126" y="354"/>
                    </a:moveTo>
                    <a:lnTo>
                      <a:pt x="120" y="288"/>
                    </a:lnTo>
                    <a:lnTo>
                      <a:pt x="132" y="282"/>
                    </a:lnTo>
                    <a:lnTo>
                      <a:pt x="120" y="270"/>
                    </a:lnTo>
                    <a:lnTo>
                      <a:pt x="120" y="210"/>
                    </a:lnTo>
                    <a:lnTo>
                      <a:pt x="132" y="198"/>
                    </a:lnTo>
                    <a:lnTo>
                      <a:pt x="126" y="186"/>
                    </a:lnTo>
                    <a:lnTo>
                      <a:pt x="126" y="156"/>
                    </a:lnTo>
                    <a:lnTo>
                      <a:pt x="120" y="144"/>
                    </a:lnTo>
                    <a:lnTo>
                      <a:pt x="108" y="132"/>
                    </a:lnTo>
                    <a:lnTo>
                      <a:pt x="108" y="90"/>
                    </a:lnTo>
                    <a:lnTo>
                      <a:pt x="78" y="60"/>
                    </a:lnTo>
                    <a:lnTo>
                      <a:pt x="66" y="54"/>
                    </a:lnTo>
                    <a:lnTo>
                      <a:pt x="66" y="24"/>
                    </a:lnTo>
                    <a:lnTo>
                      <a:pt x="72" y="6"/>
                    </a:lnTo>
                    <a:lnTo>
                      <a:pt x="54" y="6"/>
                    </a:lnTo>
                    <a:lnTo>
                      <a:pt x="30" y="0"/>
                    </a:lnTo>
                    <a:lnTo>
                      <a:pt x="12" y="0"/>
                    </a:lnTo>
                    <a:lnTo>
                      <a:pt x="12" y="18"/>
                    </a:lnTo>
                    <a:lnTo>
                      <a:pt x="0" y="30"/>
                    </a:lnTo>
                    <a:lnTo>
                      <a:pt x="36" y="54"/>
                    </a:lnTo>
                    <a:lnTo>
                      <a:pt x="24" y="132"/>
                    </a:lnTo>
                    <a:lnTo>
                      <a:pt x="36" y="120"/>
                    </a:lnTo>
                    <a:lnTo>
                      <a:pt x="42" y="120"/>
                    </a:lnTo>
                    <a:lnTo>
                      <a:pt x="48" y="126"/>
                    </a:lnTo>
                    <a:lnTo>
                      <a:pt x="48" y="150"/>
                    </a:lnTo>
                    <a:lnTo>
                      <a:pt x="42" y="162"/>
                    </a:lnTo>
                    <a:lnTo>
                      <a:pt x="54" y="174"/>
                    </a:lnTo>
                    <a:lnTo>
                      <a:pt x="54" y="180"/>
                    </a:lnTo>
                    <a:lnTo>
                      <a:pt x="48" y="180"/>
                    </a:lnTo>
                    <a:lnTo>
                      <a:pt x="36" y="192"/>
                    </a:lnTo>
                    <a:lnTo>
                      <a:pt x="42" y="198"/>
                    </a:lnTo>
                    <a:lnTo>
                      <a:pt x="54" y="204"/>
                    </a:lnTo>
                    <a:lnTo>
                      <a:pt x="60" y="210"/>
                    </a:lnTo>
                    <a:lnTo>
                      <a:pt x="60" y="222"/>
                    </a:lnTo>
                    <a:lnTo>
                      <a:pt x="54" y="228"/>
                    </a:lnTo>
                    <a:lnTo>
                      <a:pt x="54" y="270"/>
                    </a:lnTo>
                    <a:lnTo>
                      <a:pt x="48" y="276"/>
                    </a:lnTo>
                    <a:lnTo>
                      <a:pt x="48" y="294"/>
                    </a:lnTo>
                    <a:lnTo>
                      <a:pt x="54" y="294"/>
                    </a:lnTo>
                    <a:lnTo>
                      <a:pt x="60" y="300"/>
                    </a:lnTo>
                    <a:lnTo>
                      <a:pt x="60" y="312"/>
                    </a:lnTo>
                    <a:lnTo>
                      <a:pt x="54" y="324"/>
                    </a:lnTo>
                    <a:lnTo>
                      <a:pt x="54" y="336"/>
                    </a:lnTo>
                    <a:lnTo>
                      <a:pt x="66" y="378"/>
                    </a:lnTo>
                    <a:lnTo>
                      <a:pt x="96" y="402"/>
                    </a:lnTo>
                    <a:lnTo>
                      <a:pt x="108" y="396"/>
                    </a:lnTo>
                    <a:lnTo>
                      <a:pt x="120" y="384"/>
                    </a:lnTo>
                    <a:lnTo>
                      <a:pt x="138" y="384"/>
                    </a:lnTo>
                    <a:lnTo>
                      <a:pt x="138" y="372"/>
                    </a:lnTo>
                    <a:lnTo>
                      <a:pt x="126" y="360"/>
                    </a:lnTo>
                    <a:lnTo>
                      <a:pt x="126" y="354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3" name="Tanz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CF36BEB-6DC4-401E-A2CD-B2997AB2F07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480689" y="4558380"/>
                <a:ext cx="340698" cy="389710"/>
              </a:xfrm>
              <a:custGeom>
                <a:avLst/>
                <a:gdLst>
                  <a:gd name="T0" fmla="*/ 2147483647 w 768"/>
                  <a:gd name="T1" fmla="*/ 2147483647 h 870"/>
                  <a:gd name="T2" fmla="*/ 2147483647 w 768"/>
                  <a:gd name="T3" fmla="*/ 2147483647 h 870"/>
                  <a:gd name="T4" fmla="*/ 2147483647 w 768"/>
                  <a:gd name="T5" fmla="*/ 2147483647 h 870"/>
                  <a:gd name="T6" fmla="*/ 2147483647 w 768"/>
                  <a:gd name="T7" fmla="*/ 2147483647 h 870"/>
                  <a:gd name="T8" fmla="*/ 2147483647 w 768"/>
                  <a:gd name="T9" fmla="*/ 2147483647 h 870"/>
                  <a:gd name="T10" fmla="*/ 2147483647 w 768"/>
                  <a:gd name="T11" fmla="*/ 2147483647 h 870"/>
                  <a:gd name="T12" fmla="*/ 2147483647 w 768"/>
                  <a:gd name="T13" fmla="*/ 2147483647 h 870"/>
                  <a:gd name="T14" fmla="*/ 2147483647 w 768"/>
                  <a:gd name="T15" fmla="*/ 2147483647 h 870"/>
                  <a:gd name="T16" fmla="*/ 2147483647 w 768"/>
                  <a:gd name="T17" fmla="*/ 2147483647 h 870"/>
                  <a:gd name="T18" fmla="*/ 2147483647 w 768"/>
                  <a:gd name="T19" fmla="*/ 2147483647 h 870"/>
                  <a:gd name="T20" fmla="*/ 2147483647 w 768"/>
                  <a:gd name="T21" fmla="*/ 2147483647 h 870"/>
                  <a:gd name="T22" fmla="*/ 2147483647 w 768"/>
                  <a:gd name="T23" fmla="*/ 2147483647 h 870"/>
                  <a:gd name="T24" fmla="*/ 2147483647 w 768"/>
                  <a:gd name="T25" fmla="*/ 2147483647 h 870"/>
                  <a:gd name="T26" fmla="*/ 2147483647 w 768"/>
                  <a:gd name="T27" fmla="*/ 2147483647 h 870"/>
                  <a:gd name="T28" fmla="*/ 2147483647 w 768"/>
                  <a:gd name="T29" fmla="*/ 2147483647 h 870"/>
                  <a:gd name="T30" fmla="*/ 2147483647 w 768"/>
                  <a:gd name="T31" fmla="*/ 2147483647 h 870"/>
                  <a:gd name="T32" fmla="*/ 2147483647 w 768"/>
                  <a:gd name="T33" fmla="*/ 2147483647 h 870"/>
                  <a:gd name="T34" fmla="*/ 2147483647 w 768"/>
                  <a:gd name="T35" fmla="*/ 2147483647 h 870"/>
                  <a:gd name="T36" fmla="*/ 2147483647 w 768"/>
                  <a:gd name="T37" fmla="*/ 2147483647 h 870"/>
                  <a:gd name="T38" fmla="*/ 2147483647 w 768"/>
                  <a:gd name="T39" fmla="*/ 2147483647 h 870"/>
                  <a:gd name="T40" fmla="*/ 2147483647 w 768"/>
                  <a:gd name="T41" fmla="*/ 2147483647 h 870"/>
                  <a:gd name="T42" fmla="*/ 2147483647 w 768"/>
                  <a:gd name="T43" fmla="*/ 2147483647 h 870"/>
                  <a:gd name="T44" fmla="*/ 2147483647 w 768"/>
                  <a:gd name="T45" fmla="*/ 2147483647 h 870"/>
                  <a:gd name="T46" fmla="*/ 2147483647 w 768"/>
                  <a:gd name="T47" fmla="*/ 2147483647 h 870"/>
                  <a:gd name="T48" fmla="*/ 2147483647 w 768"/>
                  <a:gd name="T49" fmla="*/ 2147483647 h 870"/>
                  <a:gd name="T50" fmla="*/ 2147483647 w 768"/>
                  <a:gd name="T51" fmla="*/ 2147483647 h 870"/>
                  <a:gd name="T52" fmla="*/ 2147483647 w 768"/>
                  <a:gd name="T53" fmla="*/ 2147483647 h 870"/>
                  <a:gd name="T54" fmla="*/ 2147483647 w 768"/>
                  <a:gd name="T55" fmla="*/ 2147483647 h 870"/>
                  <a:gd name="T56" fmla="*/ 2147483647 w 768"/>
                  <a:gd name="T57" fmla="*/ 2147483647 h 870"/>
                  <a:gd name="T58" fmla="*/ 2147483647 w 768"/>
                  <a:gd name="T59" fmla="*/ 2147483647 h 870"/>
                  <a:gd name="T60" fmla="*/ 2147483647 w 768"/>
                  <a:gd name="T61" fmla="*/ 2147483647 h 870"/>
                  <a:gd name="T62" fmla="*/ 2147483647 w 768"/>
                  <a:gd name="T63" fmla="*/ 2147483647 h 870"/>
                  <a:gd name="T64" fmla="*/ 2147483647 w 768"/>
                  <a:gd name="T65" fmla="*/ 2147483647 h 870"/>
                  <a:gd name="T66" fmla="*/ 2147483647 w 768"/>
                  <a:gd name="T67" fmla="*/ 2147483647 h 870"/>
                  <a:gd name="T68" fmla="*/ 2147483647 w 768"/>
                  <a:gd name="T69" fmla="*/ 2147483647 h 870"/>
                  <a:gd name="T70" fmla="*/ 2147483647 w 768"/>
                  <a:gd name="T71" fmla="*/ 2147483647 h 870"/>
                  <a:gd name="T72" fmla="*/ 2147483647 w 768"/>
                  <a:gd name="T73" fmla="*/ 2147483647 h 870"/>
                  <a:gd name="T74" fmla="*/ 2147483647 w 768"/>
                  <a:gd name="T75" fmla="*/ 2147483647 h 870"/>
                  <a:gd name="T76" fmla="*/ 2147483647 w 768"/>
                  <a:gd name="T77" fmla="*/ 2147483647 h 870"/>
                  <a:gd name="T78" fmla="*/ 2147483647 w 768"/>
                  <a:gd name="T79" fmla="*/ 2147483647 h 870"/>
                  <a:gd name="T80" fmla="*/ 2147483647 w 768"/>
                  <a:gd name="T81" fmla="*/ 2147483647 h 870"/>
                  <a:gd name="T82" fmla="*/ 2147483647 w 768"/>
                  <a:gd name="T83" fmla="*/ 2147483647 h 870"/>
                  <a:gd name="T84" fmla="*/ 2147483647 w 768"/>
                  <a:gd name="T85" fmla="*/ 2147483647 h 870"/>
                  <a:gd name="T86" fmla="*/ 2147483647 w 768"/>
                  <a:gd name="T87" fmla="*/ 2147483647 h 870"/>
                  <a:gd name="T88" fmla="*/ 2147483647 w 768"/>
                  <a:gd name="T89" fmla="*/ 2147483647 h 870"/>
                  <a:gd name="T90" fmla="*/ 2147483647 w 768"/>
                  <a:gd name="T91" fmla="*/ 2147483647 h 870"/>
                  <a:gd name="T92" fmla="*/ 2147483647 w 768"/>
                  <a:gd name="T93" fmla="*/ 2147483647 h 870"/>
                  <a:gd name="T94" fmla="*/ 2147483647 w 768"/>
                  <a:gd name="T95" fmla="*/ 2147483647 h 870"/>
                  <a:gd name="T96" fmla="*/ 2147483647 w 768"/>
                  <a:gd name="T97" fmla="*/ 2147483647 h 870"/>
                  <a:gd name="T98" fmla="*/ 2147483647 w 768"/>
                  <a:gd name="T99" fmla="*/ 2147483647 h 870"/>
                  <a:gd name="T100" fmla="*/ 2147483647 w 768"/>
                  <a:gd name="T101" fmla="*/ 2147483647 h 870"/>
                  <a:gd name="T102" fmla="*/ 2147483647 w 768"/>
                  <a:gd name="T103" fmla="*/ 2147483647 h 87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768"/>
                  <a:gd name="T157" fmla="*/ 0 h 870"/>
                  <a:gd name="T158" fmla="*/ 768 w 768"/>
                  <a:gd name="T159" fmla="*/ 870 h 87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768" h="870">
                    <a:moveTo>
                      <a:pt x="762" y="744"/>
                    </a:moveTo>
                    <a:lnTo>
                      <a:pt x="750" y="744"/>
                    </a:lnTo>
                    <a:lnTo>
                      <a:pt x="744" y="738"/>
                    </a:lnTo>
                    <a:lnTo>
                      <a:pt x="732" y="732"/>
                    </a:lnTo>
                    <a:lnTo>
                      <a:pt x="720" y="720"/>
                    </a:lnTo>
                    <a:lnTo>
                      <a:pt x="720" y="708"/>
                    </a:lnTo>
                    <a:lnTo>
                      <a:pt x="714" y="690"/>
                    </a:lnTo>
                    <a:lnTo>
                      <a:pt x="714" y="654"/>
                    </a:lnTo>
                    <a:lnTo>
                      <a:pt x="690" y="612"/>
                    </a:lnTo>
                    <a:lnTo>
                      <a:pt x="702" y="564"/>
                    </a:lnTo>
                    <a:lnTo>
                      <a:pt x="684" y="540"/>
                    </a:lnTo>
                    <a:lnTo>
                      <a:pt x="690" y="528"/>
                    </a:lnTo>
                    <a:lnTo>
                      <a:pt x="696" y="522"/>
                    </a:lnTo>
                    <a:lnTo>
                      <a:pt x="708" y="498"/>
                    </a:lnTo>
                    <a:lnTo>
                      <a:pt x="708" y="480"/>
                    </a:lnTo>
                    <a:lnTo>
                      <a:pt x="702" y="474"/>
                    </a:lnTo>
                    <a:lnTo>
                      <a:pt x="690" y="468"/>
                    </a:lnTo>
                    <a:lnTo>
                      <a:pt x="672" y="456"/>
                    </a:lnTo>
                    <a:lnTo>
                      <a:pt x="660" y="450"/>
                    </a:lnTo>
                    <a:lnTo>
                      <a:pt x="654" y="438"/>
                    </a:lnTo>
                    <a:lnTo>
                      <a:pt x="654" y="426"/>
                    </a:lnTo>
                    <a:lnTo>
                      <a:pt x="660" y="414"/>
                    </a:lnTo>
                    <a:lnTo>
                      <a:pt x="666" y="396"/>
                    </a:lnTo>
                    <a:lnTo>
                      <a:pt x="666" y="384"/>
                    </a:lnTo>
                    <a:lnTo>
                      <a:pt x="672" y="366"/>
                    </a:lnTo>
                    <a:lnTo>
                      <a:pt x="678" y="354"/>
                    </a:lnTo>
                    <a:lnTo>
                      <a:pt x="678" y="330"/>
                    </a:lnTo>
                    <a:lnTo>
                      <a:pt x="684" y="318"/>
                    </a:lnTo>
                    <a:lnTo>
                      <a:pt x="684" y="300"/>
                    </a:lnTo>
                    <a:lnTo>
                      <a:pt x="570" y="192"/>
                    </a:lnTo>
                    <a:lnTo>
                      <a:pt x="576" y="186"/>
                    </a:lnTo>
                    <a:lnTo>
                      <a:pt x="582" y="186"/>
                    </a:lnTo>
                    <a:lnTo>
                      <a:pt x="588" y="180"/>
                    </a:lnTo>
                    <a:lnTo>
                      <a:pt x="588" y="174"/>
                    </a:lnTo>
                    <a:lnTo>
                      <a:pt x="576" y="162"/>
                    </a:lnTo>
                    <a:lnTo>
                      <a:pt x="324" y="6"/>
                    </a:lnTo>
                    <a:lnTo>
                      <a:pt x="312" y="6"/>
                    </a:lnTo>
                    <a:lnTo>
                      <a:pt x="312" y="18"/>
                    </a:lnTo>
                    <a:lnTo>
                      <a:pt x="318" y="24"/>
                    </a:lnTo>
                    <a:lnTo>
                      <a:pt x="318" y="36"/>
                    </a:lnTo>
                    <a:lnTo>
                      <a:pt x="294" y="48"/>
                    </a:lnTo>
                    <a:lnTo>
                      <a:pt x="276" y="66"/>
                    </a:lnTo>
                    <a:lnTo>
                      <a:pt x="264" y="84"/>
                    </a:lnTo>
                    <a:lnTo>
                      <a:pt x="264" y="90"/>
                    </a:lnTo>
                    <a:lnTo>
                      <a:pt x="270" y="96"/>
                    </a:lnTo>
                    <a:lnTo>
                      <a:pt x="294" y="96"/>
                    </a:lnTo>
                    <a:lnTo>
                      <a:pt x="306" y="90"/>
                    </a:lnTo>
                    <a:lnTo>
                      <a:pt x="312" y="90"/>
                    </a:lnTo>
                    <a:lnTo>
                      <a:pt x="306" y="96"/>
                    </a:lnTo>
                    <a:lnTo>
                      <a:pt x="294" y="102"/>
                    </a:lnTo>
                    <a:lnTo>
                      <a:pt x="276" y="120"/>
                    </a:lnTo>
                    <a:lnTo>
                      <a:pt x="270" y="120"/>
                    </a:lnTo>
                    <a:lnTo>
                      <a:pt x="264" y="114"/>
                    </a:lnTo>
                    <a:lnTo>
                      <a:pt x="252" y="108"/>
                    </a:lnTo>
                    <a:lnTo>
                      <a:pt x="246" y="108"/>
                    </a:lnTo>
                    <a:lnTo>
                      <a:pt x="234" y="120"/>
                    </a:lnTo>
                    <a:lnTo>
                      <a:pt x="234" y="138"/>
                    </a:lnTo>
                    <a:lnTo>
                      <a:pt x="246" y="150"/>
                    </a:lnTo>
                    <a:lnTo>
                      <a:pt x="216" y="150"/>
                    </a:lnTo>
                    <a:lnTo>
                      <a:pt x="216" y="138"/>
                    </a:lnTo>
                    <a:lnTo>
                      <a:pt x="222" y="132"/>
                    </a:lnTo>
                    <a:lnTo>
                      <a:pt x="222" y="126"/>
                    </a:lnTo>
                    <a:lnTo>
                      <a:pt x="228" y="114"/>
                    </a:lnTo>
                    <a:lnTo>
                      <a:pt x="210" y="120"/>
                    </a:lnTo>
                    <a:lnTo>
                      <a:pt x="192" y="102"/>
                    </a:lnTo>
                    <a:lnTo>
                      <a:pt x="186" y="102"/>
                    </a:lnTo>
                    <a:lnTo>
                      <a:pt x="174" y="114"/>
                    </a:lnTo>
                    <a:lnTo>
                      <a:pt x="174" y="132"/>
                    </a:lnTo>
                    <a:lnTo>
                      <a:pt x="168" y="138"/>
                    </a:lnTo>
                    <a:lnTo>
                      <a:pt x="162" y="138"/>
                    </a:lnTo>
                    <a:lnTo>
                      <a:pt x="156" y="132"/>
                    </a:lnTo>
                    <a:lnTo>
                      <a:pt x="156" y="48"/>
                    </a:lnTo>
                    <a:lnTo>
                      <a:pt x="162" y="36"/>
                    </a:lnTo>
                    <a:lnTo>
                      <a:pt x="162" y="24"/>
                    </a:lnTo>
                    <a:lnTo>
                      <a:pt x="168" y="12"/>
                    </a:lnTo>
                    <a:lnTo>
                      <a:pt x="168" y="6"/>
                    </a:lnTo>
                    <a:lnTo>
                      <a:pt x="78" y="0"/>
                    </a:lnTo>
                    <a:lnTo>
                      <a:pt x="72" y="24"/>
                    </a:lnTo>
                    <a:lnTo>
                      <a:pt x="78" y="30"/>
                    </a:lnTo>
                    <a:lnTo>
                      <a:pt x="84" y="42"/>
                    </a:lnTo>
                    <a:lnTo>
                      <a:pt x="90" y="48"/>
                    </a:lnTo>
                    <a:lnTo>
                      <a:pt x="90" y="66"/>
                    </a:lnTo>
                    <a:lnTo>
                      <a:pt x="96" y="72"/>
                    </a:lnTo>
                    <a:lnTo>
                      <a:pt x="96" y="96"/>
                    </a:lnTo>
                    <a:lnTo>
                      <a:pt x="78" y="114"/>
                    </a:lnTo>
                    <a:lnTo>
                      <a:pt x="66" y="114"/>
                    </a:lnTo>
                    <a:lnTo>
                      <a:pt x="66" y="126"/>
                    </a:lnTo>
                    <a:lnTo>
                      <a:pt x="60" y="138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72" y="162"/>
                    </a:lnTo>
                    <a:lnTo>
                      <a:pt x="90" y="162"/>
                    </a:lnTo>
                    <a:lnTo>
                      <a:pt x="90" y="180"/>
                    </a:lnTo>
                    <a:lnTo>
                      <a:pt x="78" y="186"/>
                    </a:lnTo>
                    <a:lnTo>
                      <a:pt x="84" y="198"/>
                    </a:lnTo>
                    <a:lnTo>
                      <a:pt x="72" y="198"/>
                    </a:lnTo>
                    <a:lnTo>
                      <a:pt x="54" y="216"/>
                    </a:lnTo>
                    <a:lnTo>
                      <a:pt x="48" y="228"/>
                    </a:lnTo>
                    <a:lnTo>
                      <a:pt x="48" y="246"/>
                    </a:lnTo>
                    <a:lnTo>
                      <a:pt x="42" y="258"/>
                    </a:lnTo>
                    <a:lnTo>
                      <a:pt x="30" y="270"/>
                    </a:lnTo>
                    <a:lnTo>
                      <a:pt x="6" y="282"/>
                    </a:lnTo>
                    <a:lnTo>
                      <a:pt x="0" y="294"/>
                    </a:lnTo>
                    <a:lnTo>
                      <a:pt x="6" y="306"/>
                    </a:lnTo>
                    <a:lnTo>
                      <a:pt x="18" y="318"/>
                    </a:lnTo>
                    <a:lnTo>
                      <a:pt x="18" y="330"/>
                    </a:lnTo>
                    <a:lnTo>
                      <a:pt x="12" y="342"/>
                    </a:lnTo>
                    <a:lnTo>
                      <a:pt x="12" y="348"/>
                    </a:lnTo>
                    <a:lnTo>
                      <a:pt x="18" y="354"/>
                    </a:lnTo>
                    <a:lnTo>
                      <a:pt x="18" y="366"/>
                    </a:lnTo>
                    <a:lnTo>
                      <a:pt x="24" y="378"/>
                    </a:lnTo>
                    <a:lnTo>
                      <a:pt x="24" y="396"/>
                    </a:lnTo>
                    <a:lnTo>
                      <a:pt x="18" y="402"/>
                    </a:lnTo>
                    <a:lnTo>
                      <a:pt x="18" y="432"/>
                    </a:lnTo>
                    <a:lnTo>
                      <a:pt x="30" y="444"/>
                    </a:lnTo>
                    <a:lnTo>
                      <a:pt x="36" y="444"/>
                    </a:lnTo>
                    <a:lnTo>
                      <a:pt x="48" y="450"/>
                    </a:lnTo>
                    <a:lnTo>
                      <a:pt x="72" y="474"/>
                    </a:lnTo>
                    <a:lnTo>
                      <a:pt x="78" y="486"/>
                    </a:lnTo>
                    <a:lnTo>
                      <a:pt x="78" y="546"/>
                    </a:lnTo>
                    <a:lnTo>
                      <a:pt x="84" y="558"/>
                    </a:lnTo>
                    <a:lnTo>
                      <a:pt x="114" y="594"/>
                    </a:lnTo>
                    <a:lnTo>
                      <a:pt x="114" y="600"/>
                    </a:lnTo>
                    <a:lnTo>
                      <a:pt x="108" y="612"/>
                    </a:lnTo>
                    <a:lnTo>
                      <a:pt x="108" y="618"/>
                    </a:lnTo>
                    <a:lnTo>
                      <a:pt x="126" y="618"/>
                    </a:lnTo>
                    <a:lnTo>
                      <a:pt x="138" y="612"/>
                    </a:lnTo>
                    <a:lnTo>
                      <a:pt x="138" y="630"/>
                    </a:lnTo>
                    <a:lnTo>
                      <a:pt x="144" y="636"/>
                    </a:lnTo>
                    <a:lnTo>
                      <a:pt x="162" y="636"/>
                    </a:lnTo>
                    <a:lnTo>
                      <a:pt x="180" y="654"/>
                    </a:lnTo>
                    <a:lnTo>
                      <a:pt x="192" y="654"/>
                    </a:lnTo>
                    <a:lnTo>
                      <a:pt x="204" y="648"/>
                    </a:lnTo>
                    <a:lnTo>
                      <a:pt x="204" y="666"/>
                    </a:lnTo>
                    <a:lnTo>
                      <a:pt x="222" y="666"/>
                    </a:lnTo>
                    <a:lnTo>
                      <a:pt x="240" y="678"/>
                    </a:lnTo>
                    <a:lnTo>
                      <a:pt x="264" y="678"/>
                    </a:lnTo>
                    <a:lnTo>
                      <a:pt x="270" y="696"/>
                    </a:lnTo>
                    <a:lnTo>
                      <a:pt x="300" y="696"/>
                    </a:lnTo>
                    <a:lnTo>
                      <a:pt x="300" y="690"/>
                    </a:lnTo>
                    <a:lnTo>
                      <a:pt x="312" y="678"/>
                    </a:lnTo>
                    <a:lnTo>
                      <a:pt x="318" y="684"/>
                    </a:lnTo>
                    <a:lnTo>
                      <a:pt x="330" y="690"/>
                    </a:lnTo>
                    <a:lnTo>
                      <a:pt x="336" y="702"/>
                    </a:lnTo>
                    <a:lnTo>
                      <a:pt x="348" y="714"/>
                    </a:lnTo>
                    <a:lnTo>
                      <a:pt x="348" y="774"/>
                    </a:lnTo>
                    <a:lnTo>
                      <a:pt x="354" y="774"/>
                    </a:lnTo>
                    <a:lnTo>
                      <a:pt x="360" y="780"/>
                    </a:lnTo>
                    <a:lnTo>
                      <a:pt x="360" y="792"/>
                    </a:lnTo>
                    <a:lnTo>
                      <a:pt x="354" y="798"/>
                    </a:lnTo>
                    <a:lnTo>
                      <a:pt x="354" y="804"/>
                    </a:lnTo>
                    <a:lnTo>
                      <a:pt x="348" y="810"/>
                    </a:lnTo>
                    <a:lnTo>
                      <a:pt x="348" y="816"/>
                    </a:lnTo>
                    <a:lnTo>
                      <a:pt x="366" y="834"/>
                    </a:lnTo>
                    <a:lnTo>
                      <a:pt x="378" y="840"/>
                    </a:lnTo>
                    <a:lnTo>
                      <a:pt x="372" y="858"/>
                    </a:lnTo>
                    <a:lnTo>
                      <a:pt x="408" y="858"/>
                    </a:lnTo>
                    <a:lnTo>
                      <a:pt x="414" y="852"/>
                    </a:lnTo>
                    <a:lnTo>
                      <a:pt x="420" y="852"/>
                    </a:lnTo>
                    <a:lnTo>
                      <a:pt x="432" y="840"/>
                    </a:lnTo>
                    <a:lnTo>
                      <a:pt x="444" y="840"/>
                    </a:lnTo>
                    <a:lnTo>
                      <a:pt x="456" y="846"/>
                    </a:lnTo>
                    <a:lnTo>
                      <a:pt x="462" y="858"/>
                    </a:lnTo>
                    <a:lnTo>
                      <a:pt x="474" y="864"/>
                    </a:lnTo>
                    <a:lnTo>
                      <a:pt x="480" y="870"/>
                    </a:lnTo>
                    <a:lnTo>
                      <a:pt x="492" y="870"/>
                    </a:lnTo>
                    <a:lnTo>
                      <a:pt x="510" y="852"/>
                    </a:lnTo>
                    <a:lnTo>
                      <a:pt x="516" y="852"/>
                    </a:lnTo>
                    <a:lnTo>
                      <a:pt x="522" y="858"/>
                    </a:lnTo>
                    <a:lnTo>
                      <a:pt x="534" y="864"/>
                    </a:lnTo>
                    <a:lnTo>
                      <a:pt x="552" y="864"/>
                    </a:lnTo>
                    <a:lnTo>
                      <a:pt x="564" y="852"/>
                    </a:lnTo>
                    <a:lnTo>
                      <a:pt x="576" y="846"/>
                    </a:lnTo>
                    <a:lnTo>
                      <a:pt x="582" y="834"/>
                    </a:lnTo>
                    <a:lnTo>
                      <a:pt x="588" y="828"/>
                    </a:lnTo>
                    <a:lnTo>
                      <a:pt x="612" y="828"/>
                    </a:lnTo>
                    <a:lnTo>
                      <a:pt x="618" y="834"/>
                    </a:lnTo>
                    <a:lnTo>
                      <a:pt x="618" y="840"/>
                    </a:lnTo>
                    <a:lnTo>
                      <a:pt x="630" y="840"/>
                    </a:lnTo>
                    <a:lnTo>
                      <a:pt x="642" y="834"/>
                    </a:lnTo>
                    <a:lnTo>
                      <a:pt x="654" y="822"/>
                    </a:lnTo>
                    <a:lnTo>
                      <a:pt x="660" y="822"/>
                    </a:lnTo>
                    <a:lnTo>
                      <a:pt x="690" y="816"/>
                    </a:lnTo>
                    <a:lnTo>
                      <a:pt x="768" y="762"/>
                    </a:lnTo>
                    <a:lnTo>
                      <a:pt x="762" y="744"/>
                    </a:lnTo>
                    <a:close/>
                    <a:moveTo>
                      <a:pt x="726" y="360"/>
                    </a:moveTo>
                    <a:lnTo>
                      <a:pt x="732" y="354"/>
                    </a:lnTo>
                    <a:lnTo>
                      <a:pt x="732" y="324"/>
                    </a:lnTo>
                    <a:lnTo>
                      <a:pt x="720" y="312"/>
                    </a:lnTo>
                    <a:lnTo>
                      <a:pt x="714" y="312"/>
                    </a:lnTo>
                    <a:lnTo>
                      <a:pt x="708" y="318"/>
                    </a:lnTo>
                    <a:lnTo>
                      <a:pt x="708" y="348"/>
                    </a:lnTo>
                    <a:lnTo>
                      <a:pt x="714" y="354"/>
                    </a:lnTo>
                    <a:lnTo>
                      <a:pt x="726" y="360"/>
                    </a:lnTo>
                    <a:close/>
                    <a:moveTo>
                      <a:pt x="678" y="420"/>
                    </a:moveTo>
                    <a:lnTo>
                      <a:pt x="690" y="426"/>
                    </a:lnTo>
                    <a:lnTo>
                      <a:pt x="696" y="438"/>
                    </a:lnTo>
                    <a:lnTo>
                      <a:pt x="708" y="444"/>
                    </a:lnTo>
                    <a:lnTo>
                      <a:pt x="720" y="444"/>
                    </a:lnTo>
                    <a:lnTo>
                      <a:pt x="726" y="438"/>
                    </a:lnTo>
                    <a:lnTo>
                      <a:pt x="720" y="432"/>
                    </a:lnTo>
                    <a:lnTo>
                      <a:pt x="720" y="426"/>
                    </a:lnTo>
                    <a:lnTo>
                      <a:pt x="708" y="414"/>
                    </a:lnTo>
                    <a:lnTo>
                      <a:pt x="708" y="390"/>
                    </a:lnTo>
                    <a:lnTo>
                      <a:pt x="702" y="378"/>
                    </a:lnTo>
                    <a:lnTo>
                      <a:pt x="684" y="378"/>
                    </a:lnTo>
                    <a:lnTo>
                      <a:pt x="678" y="384"/>
                    </a:lnTo>
                    <a:lnTo>
                      <a:pt x="678" y="42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4" name="Tajikis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0CF861D-9454-42F8-A1BA-7DFD31C647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37730" y="3038507"/>
                <a:ext cx="244605" cy="157655"/>
              </a:xfrm>
              <a:custGeom>
                <a:avLst/>
                <a:gdLst>
                  <a:gd name="T0" fmla="*/ 2147483647 w 552"/>
                  <a:gd name="T1" fmla="*/ 2147483647 h 348"/>
                  <a:gd name="T2" fmla="*/ 2147483647 w 552"/>
                  <a:gd name="T3" fmla="*/ 2147483647 h 348"/>
                  <a:gd name="T4" fmla="*/ 2147483647 w 552"/>
                  <a:gd name="T5" fmla="*/ 2147483647 h 348"/>
                  <a:gd name="T6" fmla="*/ 2147483647 w 552"/>
                  <a:gd name="T7" fmla="*/ 2147483647 h 348"/>
                  <a:gd name="T8" fmla="*/ 2147483647 w 552"/>
                  <a:gd name="T9" fmla="*/ 2147483647 h 348"/>
                  <a:gd name="T10" fmla="*/ 2147483647 w 552"/>
                  <a:gd name="T11" fmla="*/ 2147483647 h 348"/>
                  <a:gd name="T12" fmla="*/ 2147483647 w 552"/>
                  <a:gd name="T13" fmla="*/ 2147483647 h 348"/>
                  <a:gd name="T14" fmla="*/ 2147483647 w 552"/>
                  <a:gd name="T15" fmla="*/ 2147483647 h 348"/>
                  <a:gd name="T16" fmla="*/ 2147483647 w 552"/>
                  <a:gd name="T17" fmla="*/ 2147483647 h 348"/>
                  <a:gd name="T18" fmla="*/ 2147483647 w 552"/>
                  <a:gd name="T19" fmla="*/ 2147483647 h 348"/>
                  <a:gd name="T20" fmla="*/ 2147483647 w 552"/>
                  <a:gd name="T21" fmla="*/ 2147483647 h 348"/>
                  <a:gd name="T22" fmla="*/ 2147483647 w 552"/>
                  <a:gd name="T23" fmla="*/ 2147483647 h 348"/>
                  <a:gd name="T24" fmla="*/ 2147483647 w 552"/>
                  <a:gd name="T25" fmla="*/ 2147483647 h 348"/>
                  <a:gd name="T26" fmla="*/ 2147483647 w 552"/>
                  <a:gd name="T27" fmla="*/ 2147483647 h 348"/>
                  <a:gd name="T28" fmla="*/ 2147483647 w 552"/>
                  <a:gd name="T29" fmla="*/ 2147483647 h 348"/>
                  <a:gd name="T30" fmla="*/ 2147483647 w 552"/>
                  <a:gd name="T31" fmla="*/ 2147483647 h 348"/>
                  <a:gd name="T32" fmla="*/ 2147483647 w 552"/>
                  <a:gd name="T33" fmla="*/ 2147483647 h 348"/>
                  <a:gd name="T34" fmla="*/ 2147483647 w 552"/>
                  <a:gd name="T35" fmla="*/ 2147483647 h 348"/>
                  <a:gd name="T36" fmla="*/ 2147483647 w 552"/>
                  <a:gd name="T37" fmla="*/ 2147483647 h 348"/>
                  <a:gd name="T38" fmla="*/ 2147483647 w 552"/>
                  <a:gd name="T39" fmla="*/ 0 h 348"/>
                  <a:gd name="T40" fmla="*/ 2147483647 w 552"/>
                  <a:gd name="T41" fmla="*/ 2147483647 h 348"/>
                  <a:gd name="T42" fmla="*/ 2147483647 w 552"/>
                  <a:gd name="T43" fmla="*/ 2147483647 h 348"/>
                  <a:gd name="T44" fmla="*/ 2147483647 w 552"/>
                  <a:gd name="T45" fmla="*/ 2147483647 h 348"/>
                  <a:gd name="T46" fmla="*/ 2147483647 w 552"/>
                  <a:gd name="T47" fmla="*/ 2147483647 h 348"/>
                  <a:gd name="T48" fmla="*/ 2147483647 w 552"/>
                  <a:gd name="T49" fmla="*/ 2147483647 h 348"/>
                  <a:gd name="T50" fmla="*/ 2147483647 w 552"/>
                  <a:gd name="T51" fmla="*/ 2147483647 h 348"/>
                  <a:gd name="T52" fmla="*/ 2147483647 w 552"/>
                  <a:gd name="T53" fmla="*/ 2147483647 h 348"/>
                  <a:gd name="T54" fmla="*/ 2147483647 w 552"/>
                  <a:gd name="T55" fmla="*/ 2147483647 h 348"/>
                  <a:gd name="T56" fmla="*/ 2147483647 w 552"/>
                  <a:gd name="T57" fmla="*/ 2147483647 h 348"/>
                  <a:gd name="T58" fmla="*/ 2147483647 w 552"/>
                  <a:gd name="T59" fmla="*/ 2147483647 h 348"/>
                  <a:gd name="T60" fmla="*/ 2147483647 w 552"/>
                  <a:gd name="T61" fmla="*/ 2147483647 h 348"/>
                  <a:gd name="T62" fmla="*/ 2147483647 w 552"/>
                  <a:gd name="T63" fmla="*/ 2147483647 h 348"/>
                  <a:gd name="T64" fmla="*/ 2147483647 w 552"/>
                  <a:gd name="T65" fmla="*/ 2147483647 h 348"/>
                  <a:gd name="T66" fmla="*/ 2147483647 w 552"/>
                  <a:gd name="T67" fmla="*/ 2147483647 h 348"/>
                  <a:gd name="T68" fmla="*/ 2147483647 w 552"/>
                  <a:gd name="T69" fmla="*/ 2147483647 h 348"/>
                  <a:gd name="T70" fmla="*/ 2147483647 w 552"/>
                  <a:gd name="T71" fmla="*/ 2147483647 h 348"/>
                  <a:gd name="T72" fmla="*/ 2147483647 w 552"/>
                  <a:gd name="T73" fmla="*/ 2147483647 h 348"/>
                  <a:gd name="T74" fmla="*/ 2147483647 w 552"/>
                  <a:gd name="T75" fmla="*/ 2147483647 h 348"/>
                  <a:gd name="T76" fmla="*/ 2147483647 w 552"/>
                  <a:gd name="T77" fmla="*/ 2147483647 h 348"/>
                  <a:gd name="T78" fmla="*/ 2147483647 w 552"/>
                  <a:gd name="T79" fmla="*/ 2147483647 h 348"/>
                  <a:gd name="T80" fmla="*/ 2147483647 w 552"/>
                  <a:gd name="T81" fmla="*/ 2147483647 h 348"/>
                  <a:gd name="T82" fmla="*/ 2147483647 w 552"/>
                  <a:gd name="T83" fmla="*/ 2147483647 h 348"/>
                  <a:gd name="T84" fmla="*/ 2147483647 w 552"/>
                  <a:gd name="T85" fmla="*/ 2147483647 h 348"/>
                  <a:gd name="T86" fmla="*/ 2147483647 w 552"/>
                  <a:gd name="T87" fmla="*/ 2147483647 h 348"/>
                  <a:gd name="T88" fmla="*/ 2147483647 w 552"/>
                  <a:gd name="T89" fmla="*/ 2147483647 h 348"/>
                  <a:gd name="T90" fmla="*/ 2147483647 w 552"/>
                  <a:gd name="T91" fmla="*/ 2147483647 h 348"/>
                  <a:gd name="T92" fmla="*/ 2147483647 w 552"/>
                  <a:gd name="T93" fmla="*/ 2147483647 h 348"/>
                  <a:gd name="T94" fmla="*/ 2147483647 w 552"/>
                  <a:gd name="T95" fmla="*/ 2147483647 h 348"/>
                  <a:gd name="T96" fmla="*/ 2147483647 w 552"/>
                  <a:gd name="T97" fmla="*/ 2147483647 h 348"/>
                  <a:gd name="T98" fmla="*/ 2147483647 w 552"/>
                  <a:gd name="T99" fmla="*/ 2147483647 h 34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552"/>
                  <a:gd name="T151" fmla="*/ 0 h 348"/>
                  <a:gd name="T152" fmla="*/ 552 w 552"/>
                  <a:gd name="T153" fmla="*/ 348 h 34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552" h="348">
                    <a:moveTo>
                      <a:pt x="528" y="270"/>
                    </a:moveTo>
                    <a:lnTo>
                      <a:pt x="516" y="246"/>
                    </a:lnTo>
                    <a:lnTo>
                      <a:pt x="516" y="204"/>
                    </a:lnTo>
                    <a:lnTo>
                      <a:pt x="510" y="198"/>
                    </a:lnTo>
                    <a:lnTo>
                      <a:pt x="498" y="192"/>
                    </a:lnTo>
                    <a:lnTo>
                      <a:pt x="492" y="192"/>
                    </a:lnTo>
                    <a:lnTo>
                      <a:pt x="480" y="186"/>
                    </a:lnTo>
                    <a:lnTo>
                      <a:pt x="456" y="186"/>
                    </a:lnTo>
                    <a:lnTo>
                      <a:pt x="450" y="192"/>
                    </a:lnTo>
                    <a:lnTo>
                      <a:pt x="438" y="192"/>
                    </a:lnTo>
                    <a:lnTo>
                      <a:pt x="426" y="180"/>
                    </a:lnTo>
                    <a:lnTo>
                      <a:pt x="426" y="168"/>
                    </a:lnTo>
                    <a:lnTo>
                      <a:pt x="432" y="156"/>
                    </a:lnTo>
                    <a:lnTo>
                      <a:pt x="432" y="144"/>
                    </a:lnTo>
                    <a:lnTo>
                      <a:pt x="414" y="144"/>
                    </a:lnTo>
                    <a:lnTo>
                      <a:pt x="414" y="120"/>
                    </a:lnTo>
                    <a:lnTo>
                      <a:pt x="396" y="114"/>
                    </a:lnTo>
                    <a:lnTo>
                      <a:pt x="384" y="126"/>
                    </a:lnTo>
                    <a:lnTo>
                      <a:pt x="342" y="126"/>
                    </a:lnTo>
                    <a:lnTo>
                      <a:pt x="336" y="132"/>
                    </a:lnTo>
                    <a:lnTo>
                      <a:pt x="324" y="138"/>
                    </a:lnTo>
                    <a:lnTo>
                      <a:pt x="312" y="138"/>
                    </a:lnTo>
                    <a:lnTo>
                      <a:pt x="312" y="132"/>
                    </a:lnTo>
                    <a:lnTo>
                      <a:pt x="306" y="132"/>
                    </a:lnTo>
                    <a:lnTo>
                      <a:pt x="294" y="138"/>
                    </a:lnTo>
                    <a:lnTo>
                      <a:pt x="264" y="108"/>
                    </a:lnTo>
                    <a:lnTo>
                      <a:pt x="258" y="114"/>
                    </a:lnTo>
                    <a:lnTo>
                      <a:pt x="246" y="120"/>
                    </a:lnTo>
                    <a:lnTo>
                      <a:pt x="240" y="126"/>
                    </a:lnTo>
                    <a:lnTo>
                      <a:pt x="222" y="126"/>
                    </a:lnTo>
                    <a:lnTo>
                      <a:pt x="210" y="114"/>
                    </a:lnTo>
                    <a:lnTo>
                      <a:pt x="186" y="114"/>
                    </a:lnTo>
                    <a:lnTo>
                      <a:pt x="174" y="108"/>
                    </a:lnTo>
                    <a:lnTo>
                      <a:pt x="156" y="108"/>
                    </a:lnTo>
                    <a:lnTo>
                      <a:pt x="150" y="114"/>
                    </a:lnTo>
                    <a:lnTo>
                      <a:pt x="138" y="114"/>
                    </a:lnTo>
                    <a:lnTo>
                      <a:pt x="126" y="120"/>
                    </a:lnTo>
                    <a:lnTo>
                      <a:pt x="120" y="114"/>
                    </a:lnTo>
                    <a:lnTo>
                      <a:pt x="120" y="108"/>
                    </a:lnTo>
                    <a:lnTo>
                      <a:pt x="114" y="102"/>
                    </a:lnTo>
                    <a:lnTo>
                      <a:pt x="114" y="90"/>
                    </a:lnTo>
                    <a:lnTo>
                      <a:pt x="126" y="84"/>
                    </a:lnTo>
                    <a:lnTo>
                      <a:pt x="132" y="78"/>
                    </a:lnTo>
                    <a:lnTo>
                      <a:pt x="132" y="66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86" y="72"/>
                    </a:lnTo>
                    <a:lnTo>
                      <a:pt x="198" y="78"/>
                    </a:lnTo>
                    <a:lnTo>
                      <a:pt x="204" y="78"/>
                    </a:lnTo>
                    <a:lnTo>
                      <a:pt x="210" y="72"/>
                    </a:lnTo>
                    <a:lnTo>
                      <a:pt x="210" y="66"/>
                    </a:lnTo>
                    <a:lnTo>
                      <a:pt x="204" y="60"/>
                    </a:lnTo>
                    <a:lnTo>
                      <a:pt x="198" y="60"/>
                    </a:lnTo>
                    <a:lnTo>
                      <a:pt x="186" y="54"/>
                    </a:lnTo>
                    <a:lnTo>
                      <a:pt x="180" y="48"/>
                    </a:lnTo>
                    <a:lnTo>
                      <a:pt x="174" y="48"/>
                    </a:lnTo>
                    <a:lnTo>
                      <a:pt x="198" y="12"/>
                    </a:lnTo>
                    <a:lnTo>
                      <a:pt x="192" y="6"/>
                    </a:lnTo>
                    <a:lnTo>
                      <a:pt x="180" y="0"/>
                    </a:lnTo>
                    <a:lnTo>
                      <a:pt x="162" y="0"/>
                    </a:lnTo>
                    <a:lnTo>
                      <a:pt x="156" y="12"/>
                    </a:lnTo>
                    <a:lnTo>
                      <a:pt x="144" y="18"/>
                    </a:lnTo>
                    <a:lnTo>
                      <a:pt x="138" y="30"/>
                    </a:lnTo>
                    <a:lnTo>
                      <a:pt x="132" y="30"/>
                    </a:lnTo>
                    <a:lnTo>
                      <a:pt x="114" y="12"/>
                    </a:lnTo>
                    <a:lnTo>
                      <a:pt x="102" y="12"/>
                    </a:lnTo>
                    <a:lnTo>
                      <a:pt x="102" y="24"/>
                    </a:lnTo>
                    <a:lnTo>
                      <a:pt x="96" y="30"/>
                    </a:lnTo>
                    <a:lnTo>
                      <a:pt x="96" y="42"/>
                    </a:lnTo>
                    <a:lnTo>
                      <a:pt x="108" y="54"/>
                    </a:lnTo>
                    <a:lnTo>
                      <a:pt x="108" y="60"/>
                    </a:lnTo>
                    <a:lnTo>
                      <a:pt x="66" y="60"/>
                    </a:lnTo>
                    <a:lnTo>
                      <a:pt x="90" y="84"/>
                    </a:lnTo>
                    <a:lnTo>
                      <a:pt x="72" y="96"/>
                    </a:lnTo>
                    <a:lnTo>
                      <a:pt x="78" y="96"/>
                    </a:lnTo>
                    <a:lnTo>
                      <a:pt x="78" y="108"/>
                    </a:lnTo>
                    <a:lnTo>
                      <a:pt x="54" y="120"/>
                    </a:lnTo>
                    <a:lnTo>
                      <a:pt x="6" y="120"/>
                    </a:lnTo>
                    <a:lnTo>
                      <a:pt x="0" y="126"/>
                    </a:lnTo>
                    <a:lnTo>
                      <a:pt x="0" y="144"/>
                    </a:lnTo>
                    <a:lnTo>
                      <a:pt x="18" y="144"/>
                    </a:lnTo>
                    <a:lnTo>
                      <a:pt x="30" y="156"/>
                    </a:lnTo>
                    <a:lnTo>
                      <a:pt x="36" y="156"/>
                    </a:lnTo>
                    <a:lnTo>
                      <a:pt x="42" y="162"/>
                    </a:lnTo>
                    <a:lnTo>
                      <a:pt x="54" y="162"/>
                    </a:lnTo>
                    <a:lnTo>
                      <a:pt x="66" y="174"/>
                    </a:lnTo>
                    <a:lnTo>
                      <a:pt x="66" y="180"/>
                    </a:lnTo>
                    <a:lnTo>
                      <a:pt x="60" y="186"/>
                    </a:lnTo>
                    <a:lnTo>
                      <a:pt x="60" y="204"/>
                    </a:lnTo>
                    <a:lnTo>
                      <a:pt x="66" y="210"/>
                    </a:lnTo>
                    <a:lnTo>
                      <a:pt x="78" y="216"/>
                    </a:lnTo>
                    <a:lnTo>
                      <a:pt x="90" y="228"/>
                    </a:lnTo>
                    <a:lnTo>
                      <a:pt x="90" y="246"/>
                    </a:lnTo>
                    <a:lnTo>
                      <a:pt x="84" y="258"/>
                    </a:lnTo>
                    <a:lnTo>
                      <a:pt x="72" y="264"/>
                    </a:lnTo>
                    <a:lnTo>
                      <a:pt x="66" y="276"/>
                    </a:lnTo>
                    <a:lnTo>
                      <a:pt x="60" y="282"/>
                    </a:lnTo>
                    <a:lnTo>
                      <a:pt x="60" y="306"/>
                    </a:lnTo>
                    <a:lnTo>
                      <a:pt x="66" y="312"/>
                    </a:lnTo>
                    <a:lnTo>
                      <a:pt x="78" y="318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108" y="306"/>
                    </a:lnTo>
                    <a:lnTo>
                      <a:pt x="120" y="300"/>
                    </a:lnTo>
                    <a:lnTo>
                      <a:pt x="126" y="294"/>
                    </a:lnTo>
                    <a:lnTo>
                      <a:pt x="138" y="294"/>
                    </a:lnTo>
                    <a:lnTo>
                      <a:pt x="144" y="300"/>
                    </a:lnTo>
                    <a:lnTo>
                      <a:pt x="150" y="312"/>
                    </a:lnTo>
                    <a:lnTo>
                      <a:pt x="156" y="318"/>
                    </a:lnTo>
                    <a:lnTo>
                      <a:pt x="162" y="318"/>
                    </a:lnTo>
                    <a:lnTo>
                      <a:pt x="162" y="288"/>
                    </a:lnTo>
                    <a:lnTo>
                      <a:pt x="174" y="276"/>
                    </a:lnTo>
                    <a:lnTo>
                      <a:pt x="186" y="270"/>
                    </a:lnTo>
                    <a:lnTo>
                      <a:pt x="204" y="270"/>
                    </a:lnTo>
                    <a:lnTo>
                      <a:pt x="216" y="282"/>
                    </a:lnTo>
                    <a:lnTo>
                      <a:pt x="222" y="258"/>
                    </a:lnTo>
                    <a:lnTo>
                      <a:pt x="216" y="258"/>
                    </a:lnTo>
                    <a:lnTo>
                      <a:pt x="210" y="252"/>
                    </a:lnTo>
                    <a:lnTo>
                      <a:pt x="210" y="246"/>
                    </a:lnTo>
                    <a:lnTo>
                      <a:pt x="222" y="234"/>
                    </a:lnTo>
                    <a:lnTo>
                      <a:pt x="228" y="234"/>
                    </a:lnTo>
                    <a:lnTo>
                      <a:pt x="234" y="228"/>
                    </a:lnTo>
                    <a:lnTo>
                      <a:pt x="234" y="204"/>
                    </a:lnTo>
                    <a:lnTo>
                      <a:pt x="240" y="198"/>
                    </a:lnTo>
                    <a:lnTo>
                      <a:pt x="258" y="198"/>
                    </a:lnTo>
                    <a:lnTo>
                      <a:pt x="276" y="216"/>
                    </a:lnTo>
                    <a:lnTo>
                      <a:pt x="276" y="246"/>
                    </a:lnTo>
                    <a:lnTo>
                      <a:pt x="294" y="246"/>
                    </a:lnTo>
                    <a:lnTo>
                      <a:pt x="306" y="312"/>
                    </a:lnTo>
                    <a:lnTo>
                      <a:pt x="306" y="318"/>
                    </a:lnTo>
                    <a:lnTo>
                      <a:pt x="336" y="348"/>
                    </a:lnTo>
                    <a:lnTo>
                      <a:pt x="342" y="348"/>
                    </a:lnTo>
                    <a:lnTo>
                      <a:pt x="348" y="342"/>
                    </a:lnTo>
                    <a:lnTo>
                      <a:pt x="360" y="336"/>
                    </a:lnTo>
                    <a:lnTo>
                      <a:pt x="366" y="324"/>
                    </a:lnTo>
                    <a:lnTo>
                      <a:pt x="372" y="318"/>
                    </a:lnTo>
                    <a:lnTo>
                      <a:pt x="390" y="318"/>
                    </a:lnTo>
                    <a:lnTo>
                      <a:pt x="396" y="312"/>
                    </a:lnTo>
                    <a:lnTo>
                      <a:pt x="402" y="300"/>
                    </a:lnTo>
                    <a:lnTo>
                      <a:pt x="408" y="294"/>
                    </a:lnTo>
                    <a:lnTo>
                      <a:pt x="432" y="282"/>
                    </a:lnTo>
                    <a:lnTo>
                      <a:pt x="456" y="282"/>
                    </a:lnTo>
                    <a:lnTo>
                      <a:pt x="456" y="300"/>
                    </a:lnTo>
                    <a:lnTo>
                      <a:pt x="492" y="288"/>
                    </a:lnTo>
                    <a:lnTo>
                      <a:pt x="516" y="288"/>
                    </a:lnTo>
                    <a:lnTo>
                      <a:pt x="522" y="294"/>
                    </a:lnTo>
                    <a:lnTo>
                      <a:pt x="546" y="294"/>
                    </a:lnTo>
                    <a:lnTo>
                      <a:pt x="552" y="288"/>
                    </a:lnTo>
                    <a:lnTo>
                      <a:pt x="540" y="276"/>
                    </a:lnTo>
                    <a:lnTo>
                      <a:pt x="534" y="276"/>
                    </a:lnTo>
                    <a:lnTo>
                      <a:pt x="528" y="27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5" name="Sy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FE22BE3-F334-4557-981C-0696867B46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2210" y="3167820"/>
                <a:ext cx="199178" cy="185999"/>
              </a:xfrm>
              <a:custGeom>
                <a:avLst/>
                <a:gdLst>
                  <a:gd name="T0" fmla="*/ 2147483647 w 450"/>
                  <a:gd name="T1" fmla="*/ 2147483647 h 414"/>
                  <a:gd name="T2" fmla="*/ 2147483647 w 450"/>
                  <a:gd name="T3" fmla="*/ 2147483647 h 414"/>
                  <a:gd name="T4" fmla="*/ 2147483647 w 450"/>
                  <a:gd name="T5" fmla="*/ 2147483647 h 414"/>
                  <a:gd name="T6" fmla="*/ 2147483647 w 450"/>
                  <a:gd name="T7" fmla="*/ 0 h 414"/>
                  <a:gd name="T8" fmla="*/ 2147483647 w 450"/>
                  <a:gd name="T9" fmla="*/ 2147483647 h 414"/>
                  <a:gd name="T10" fmla="*/ 2147483647 w 450"/>
                  <a:gd name="T11" fmla="*/ 2147483647 h 414"/>
                  <a:gd name="T12" fmla="*/ 2147483647 w 450"/>
                  <a:gd name="T13" fmla="*/ 2147483647 h 414"/>
                  <a:gd name="T14" fmla="*/ 2147483647 w 450"/>
                  <a:gd name="T15" fmla="*/ 2147483647 h 414"/>
                  <a:gd name="T16" fmla="*/ 2147483647 w 450"/>
                  <a:gd name="T17" fmla="*/ 2147483647 h 414"/>
                  <a:gd name="T18" fmla="*/ 2147483647 w 450"/>
                  <a:gd name="T19" fmla="*/ 2147483647 h 414"/>
                  <a:gd name="T20" fmla="*/ 2147483647 w 450"/>
                  <a:gd name="T21" fmla="*/ 2147483647 h 414"/>
                  <a:gd name="T22" fmla="*/ 2147483647 w 450"/>
                  <a:gd name="T23" fmla="*/ 2147483647 h 414"/>
                  <a:gd name="T24" fmla="*/ 2147483647 w 450"/>
                  <a:gd name="T25" fmla="*/ 2147483647 h 414"/>
                  <a:gd name="T26" fmla="*/ 2147483647 w 450"/>
                  <a:gd name="T27" fmla="*/ 2147483647 h 414"/>
                  <a:gd name="T28" fmla="*/ 2147483647 w 450"/>
                  <a:gd name="T29" fmla="*/ 2147483647 h 414"/>
                  <a:gd name="T30" fmla="*/ 2147483647 w 450"/>
                  <a:gd name="T31" fmla="*/ 2147483647 h 414"/>
                  <a:gd name="T32" fmla="*/ 2147483647 w 450"/>
                  <a:gd name="T33" fmla="*/ 2147483647 h 414"/>
                  <a:gd name="T34" fmla="*/ 2147483647 w 450"/>
                  <a:gd name="T35" fmla="*/ 2147483647 h 414"/>
                  <a:gd name="T36" fmla="*/ 2147483647 w 450"/>
                  <a:gd name="T37" fmla="*/ 2147483647 h 414"/>
                  <a:gd name="T38" fmla="*/ 2147483647 w 450"/>
                  <a:gd name="T39" fmla="*/ 2147483647 h 414"/>
                  <a:gd name="T40" fmla="*/ 2147483647 w 450"/>
                  <a:gd name="T41" fmla="*/ 2147483647 h 414"/>
                  <a:gd name="T42" fmla="*/ 2147483647 w 450"/>
                  <a:gd name="T43" fmla="*/ 2147483647 h 414"/>
                  <a:gd name="T44" fmla="*/ 2147483647 w 450"/>
                  <a:gd name="T45" fmla="*/ 2147483647 h 414"/>
                  <a:gd name="T46" fmla="*/ 2147483647 w 450"/>
                  <a:gd name="T47" fmla="*/ 2147483647 h 414"/>
                  <a:gd name="T48" fmla="*/ 2147483647 w 450"/>
                  <a:gd name="T49" fmla="*/ 2147483647 h 414"/>
                  <a:gd name="T50" fmla="*/ 2147483647 w 450"/>
                  <a:gd name="T51" fmla="*/ 2147483647 h 414"/>
                  <a:gd name="T52" fmla="*/ 2147483647 w 450"/>
                  <a:gd name="T53" fmla="*/ 2147483647 h 414"/>
                  <a:gd name="T54" fmla="*/ 2147483647 w 450"/>
                  <a:gd name="T55" fmla="*/ 2147483647 h 414"/>
                  <a:gd name="T56" fmla="*/ 2147483647 w 450"/>
                  <a:gd name="T57" fmla="*/ 2147483647 h 414"/>
                  <a:gd name="T58" fmla="*/ 2147483647 w 450"/>
                  <a:gd name="T59" fmla="*/ 2147483647 h 414"/>
                  <a:gd name="T60" fmla="*/ 2147483647 w 450"/>
                  <a:gd name="T61" fmla="*/ 2147483647 h 414"/>
                  <a:gd name="T62" fmla="*/ 2147483647 w 450"/>
                  <a:gd name="T63" fmla="*/ 2147483647 h 414"/>
                  <a:gd name="T64" fmla="*/ 2147483647 w 450"/>
                  <a:gd name="T65" fmla="*/ 2147483647 h 414"/>
                  <a:gd name="T66" fmla="*/ 2147483647 w 450"/>
                  <a:gd name="T67" fmla="*/ 2147483647 h 414"/>
                  <a:gd name="T68" fmla="*/ 2147483647 w 450"/>
                  <a:gd name="T69" fmla="*/ 2147483647 h 414"/>
                  <a:gd name="T70" fmla="*/ 2147483647 w 450"/>
                  <a:gd name="T71" fmla="*/ 2147483647 h 414"/>
                  <a:gd name="T72" fmla="*/ 2147483647 w 450"/>
                  <a:gd name="T73" fmla="*/ 2147483647 h 414"/>
                  <a:gd name="T74" fmla="*/ 2147483647 w 450"/>
                  <a:gd name="T75" fmla="*/ 2147483647 h 414"/>
                  <a:gd name="T76" fmla="*/ 2147483647 w 450"/>
                  <a:gd name="T77" fmla="*/ 2147483647 h 414"/>
                  <a:gd name="T78" fmla="*/ 2147483647 w 450"/>
                  <a:gd name="T79" fmla="*/ 2147483647 h 414"/>
                  <a:gd name="T80" fmla="*/ 2147483647 w 450"/>
                  <a:gd name="T81" fmla="*/ 2147483647 h 414"/>
                  <a:gd name="T82" fmla="*/ 2147483647 w 450"/>
                  <a:gd name="T83" fmla="*/ 2147483647 h 414"/>
                  <a:gd name="T84" fmla="*/ 2147483647 w 450"/>
                  <a:gd name="T85" fmla="*/ 2147483647 h 414"/>
                  <a:gd name="T86" fmla="*/ 2147483647 w 450"/>
                  <a:gd name="T87" fmla="*/ 2147483647 h 414"/>
                  <a:gd name="T88" fmla="*/ 2147483647 w 450"/>
                  <a:gd name="T89" fmla="*/ 2147483647 h 414"/>
                  <a:gd name="T90" fmla="*/ 2147483647 w 450"/>
                  <a:gd name="T91" fmla="*/ 2147483647 h 414"/>
                  <a:gd name="T92" fmla="*/ 2147483647 w 450"/>
                  <a:gd name="T93" fmla="*/ 2147483647 h 414"/>
                  <a:gd name="T94" fmla="*/ 2147483647 w 450"/>
                  <a:gd name="T95" fmla="*/ 2147483647 h 414"/>
                  <a:gd name="T96" fmla="*/ 2147483647 w 450"/>
                  <a:gd name="T97" fmla="*/ 2147483647 h 41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50"/>
                  <a:gd name="T148" fmla="*/ 0 h 414"/>
                  <a:gd name="T149" fmla="*/ 450 w 450"/>
                  <a:gd name="T150" fmla="*/ 414 h 414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50" h="414">
                    <a:moveTo>
                      <a:pt x="426" y="60"/>
                    </a:moveTo>
                    <a:lnTo>
                      <a:pt x="432" y="54"/>
                    </a:lnTo>
                    <a:lnTo>
                      <a:pt x="438" y="42"/>
                    </a:lnTo>
                    <a:lnTo>
                      <a:pt x="450" y="30"/>
                    </a:lnTo>
                    <a:lnTo>
                      <a:pt x="444" y="30"/>
                    </a:lnTo>
                    <a:lnTo>
                      <a:pt x="438" y="24"/>
                    </a:lnTo>
                    <a:lnTo>
                      <a:pt x="438" y="0"/>
                    </a:lnTo>
                    <a:lnTo>
                      <a:pt x="432" y="0"/>
                    </a:lnTo>
                    <a:lnTo>
                      <a:pt x="432" y="6"/>
                    </a:lnTo>
                    <a:lnTo>
                      <a:pt x="426" y="18"/>
                    </a:lnTo>
                    <a:lnTo>
                      <a:pt x="402" y="18"/>
                    </a:lnTo>
                    <a:lnTo>
                      <a:pt x="390" y="30"/>
                    </a:lnTo>
                    <a:lnTo>
                      <a:pt x="372" y="30"/>
                    </a:lnTo>
                    <a:lnTo>
                      <a:pt x="366" y="24"/>
                    </a:lnTo>
                    <a:lnTo>
                      <a:pt x="318" y="24"/>
                    </a:lnTo>
                    <a:lnTo>
                      <a:pt x="306" y="30"/>
                    </a:lnTo>
                    <a:lnTo>
                      <a:pt x="294" y="42"/>
                    </a:lnTo>
                    <a:lnTo>
                      <a:pt x="282" y="48"/>
                    </a:lnTo>
                    <a:lnTo>
                      <a:pt x="276" y="54"/>
                    </a:lnTo>
                    <a:lnTo>
                      <a:pt x="258" y="54"/>
                    </a:lnTo>
                    <a:lnTo>
                      <a:pt x="246" y="60"/>
                    </a:lnTo>
                    <a:lnTo>
                      <a:pt x="234" y="60"/>
                    </a:lnTo>
                    <a:lnTo>
                      <a:pt x="222" y="54"/>
                    </a:lnTo>
                    <a:lnTo>
                      <a:pt x="204" y="54"/>
                    </a:lnTo>
                    <a:lnTo>
                      <a:pt x="192" y="42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38" y="54"/>
                    </a:lnTo>
                    <a:lnTo>
                      <a:pt x="120" y="60"/>
                    </a:lnTo>
                    <a:lnTo>
                      <a:pt x="84" y="60"/>
                    </a:lnTo>
                    <a:lnTo>
                      <a:pt x="84" y="54"/>
                    </a:lnTo>
                    <a:lnTo>
                      <a:pt x="90" y="48"/>
                    </a:lnTo>
                    <a:lnTo>
                      <a:pt x="66" y="48"/>
                    </a:lnTo>
                    <a:lnTo>
                      <a:pt x="66" y="78"/>
                    </a:lnTo>
                    <a:lnTo>
                      <a:pt x="72" y="78"/>
                    </a:lnTo>
                    <a:lnTo>
                      <a:pt x="72" y="102"/>
                    </a:lnTo>
                    <a:lnTo>
                      <a:pt x="60" y="102"/>
                    </a:lnTo>
                    <a:lnTo>
                      <a:pt x="54" y="96"/>
                    </a:lnTo>
                    <a:lnTo>
                      <a:pt x="54" y="114"/>
                    </a:lnTo>
                    <a:lnTo>
                      <a:pt x="48" y="120"/>
                    </a:lnTo>
                    <a:lnTo>
                      <a:pt x="48" y="126"/>
                    </a:lnTo>
                    <a:lnTo>
                      <a:pt x="36" y="126"/>
                    </a:lnTo>
                    <a:lnTo>
                      <a:pt x="24" y="114"/>
                    </a:lnTo>
                    <a:lnTo>
                      <a:pt x="18" y="120"/>
                    </a:lnTo>
                    <a:lnTo>
                      <a:pt x="12" y="132"/>
                    </a:lnTo>
                    <a:lnTo>
                      <a:pt x="12" y="150"/>
                    </a:lnTo>
                    <a:lnTo>
                      <a:pt x="6" y="150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24" y="222"/>
                    </a:lnTo>
                    <a:lnTo>
                      <a:pt x="72" y="222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8" y="252"/>
                    </a:lnTo>
                    <a:lnTo>
                      <a:pt x="78" y="270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54" y="288"/>
                    </a:lnTo>
                    <a:lnTo>
                      <a:pt x="48" y="288"/>
                    </a:lnTo>
                    <a:lnTo>
                      <a:pt x="42" y="294"/>
                    </a:lnTo>
                    <a:lnTo>
                      <a:pt x="42" y="318"/>
                    </a:lnTo>
                    <a:lnTo>
                      <a:pt x="24" y="336"/>
                    </a:lnTo>
                    <a:lnTo>
                      <a:pt x="30" y="378"/>
                    </a:lnTo>
                    <a:lnTo>
                      <a:pt x="36" y="378"/>
                    </a:lnTo>
                    <a:lnTo>
                      <a:pt x="72" y="396"/>
                    </a:lnTo>
                    <a:lnTo>
                      <a:pt x="84" y="408"/>
                    </a:lnTo>
                    <a:lnTo>
                      <a:pt x="96" y="414"/>
                    </a:lnTo>
                    <a:lnTo>
                      <a:pt x="114" y="414"/>
                    </a:lnTo>
                    <a:lnTo>
                      <a:pt x="174" y="384"/>
                    </a:lnTo>
                    <a:lnTo>
                      <a:pt x="204" y="354"/>
                    </a:lnTo>
                    <a:lnTo>
                      <a:pt x="228" y="336"/>
                    </a:lnTo>
                    <a:lnTo>
                      <a:pt x="240" y="324"/>
                    </a:lnTo>
                    <a:lnTo>
                      <a:pt x="300" y="276"/>
                    </a:lnTo>
                    <a:lnTo>
                      <a:pt x="312" y="270"/>
                    </a:lnTo>
                    <a:lnTo>
                      <a:pt x="372" y="246"/>
                    </a:lnTo>
                    <a:lnTo>
                      <a:pt x="396" y="234"/>
                    </a:lnTo>
                    <a:lnTo>
                      <a:pt x="402" y="228"/>
                    </a:lnTo>
                    <a:lnTo>
                      <a:pt x="402" y="222"/>
                    </a:lnTo>
                    <a:lnTo>
                      <a:pt x="384" y="204"/>
                    </a:lnTo>
                    <a:lnTo>
                      <a:pt x="384" y="198"/>
                    </a:lnTo>
                    <a:lnTo>
                      <a:pt x="390" y="180"/>
                    </a:lnTo>
                    <a:lnTo>
                      <a:pt x="396" y="168"/>
                    </a:lnTo>
                    <a:lnTo>
                      <a:pt x="396" y="138"/>
                    </a:lnTo>
                    <a:lnTo>
                      <a:pt x="390" y="126"/>
                    </a:lnTo>
                    <a:lnTo>
                      <a:pt x="390" y="114"/>
                    </a:lnTo>
                    <a:lnTo>
                      <a:pt x="384" y="108"/>
                    </a:lnTo>
                    <a:lnTo>
                      <a:pt x="378" y="96"/>
                    </a:lnTo>
                    <a:lnTo>
                      <a:pt x="378" y="84"/>
                    </a:lnTo>
                    <a:lnTo>
                      <a:pt x="384" y="72"/>
                    </a:lnTo>
                    <a:lnTo>
                      <a:pt x="390" y="66"/>
                    </a:lnTo>
                    <a:lnTo>
                      <a:pt x="402" y="66"/>
                    </a:lnTo>
                    <a:lnTo>
                      <a:pt x="414" y="60"/>
                    </a:lnTo>
                    <a:lnTo>
                      <a:pt x="426" y="6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6" name="Swazi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2B9D949-20EB-4378-B1C1-A81B42576F9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01653" y="5451171"/>
                <a:ext cx="45426" cy="60228"/>
              </a:xfrm>
              <a:custGeom>
                <a:avLst/>
                <a:gdLst>
                  <a:gd name="T0" fmla="*/ 2147483647 w 102"/>
                  <a:gd name="T1" fmla="*/ 2147483647 h 132"/>
                  <a:gd name="T2" fmla="*/ 2147483647 w 102"/>
                  <a:gd name="T3" fmla="*/ 2147483647 h 132"/>
                  <a:gd name="T4" fmla="*/ 2147483647 w 102"/>
                  <a:gd name="T5" fmla="*/ 2147483647 h 132"/>
                  <a:gd name="T6" fmla="*/ 2147483647 w 102"/>
                  <a:gd name="T7" fmla="*/ 2147483647 h 132"/>
                  <a:gd name="T8" fmla="*/ 2147483647 w 102"/>
                  <a:gd name="T9" fmla="*/ 2147483647 h 132"/>
                  <a:gd name="T10" fmla="*/ 2147483647 w 102"/>
                  <a:gd name="T11" fmla="*/ 0 h 132"/>
                  <a:gd name="T12" fmla="*/ 2147483647 w 102"/>
                  <a:gd name="T13" fmla="*/ 0 h 132"/>
                  <a:gd name="T14" fmla="*/ 2147483647 w 102"/>
                  <a:gd name="T15" fmla="*/ 2147483647 h 132"/>
                  <a:gd name="T16" fmla="*/ 2147483647 w 102"/>
                  <a:gd name="T17" fmla="*/ 2147483647 h 132"/>
                  <a:gd name="T18" fmla="*/ 2147483647 w 102"/>
                  <a:gd name="T19" fmla="*/ 2147483647 h 132"/>
                  <a:gd name="T20" fmla="*/ 2147483647 w 102"/>
                  <a:gd name="T21" fmla="*/ 2147483647 h 132"/>
                  <a:gd name="T22" fmla="*/ 0 w 102"/>
                  <a:gd name="T23" fmla="*/ 2147483647 h 132"/>
                  <a:gd name="T24" fmla="*/ 0 w 102"/>
                  <a:gd name="T25" fmla="*/ 2147483647 h 132"/>
                  <a:gd name="T26" fmla="*/ 2147483647 w 102"/>
                  <a:gd name="T27" fmla="*/ 2147483647 h 132"/>
                  <a:gd name="T28" fmla="*/ 2147483647 w 102"/>
                  <a:gd name="T29" fmla="*/ 2147483647 h 132"/>
                  <a:gd name="T30" fmla="*/ 2147483647 w 102"/>
                  <a:gd name="T31" fmla="*/ 2147483647 h 132"/>
                  <a:gd name="T32" fmla="*/ 2147483647 w 102"/>
                  <a:gd name="T33" fmla="*/ 2147483647 h 132"/>
                  <a:gd name="T34" fmla="*/ 2147483647 w 102"/>
                  <a:gd name="T35" fmla="*/ 2147483647 h 132"/>
                  <a:gd name="T36" fmla="*/ 2147483647 w 102"/>
                  <a:gd name="T37" fmla="*/ 2147483647 h 132"/>
                  <a:gd name="T38" fmla="*/ 2147483647 w 102"/>
                  <a:gd name="T39" fmla="*/ 2147483647 h 132"/>
                  <a:gd name="T40" fmla="*/ 2147483647 w 102"/>
                  <a:gd name="T41" fmla="*/ 2147483647 h 132"/>
                  <a:gd name="T42" fmla="*/ 2147483647 w 102"/>
                  <a:gd name="T43" fmla="*/ 2147483647 h 132"/>
                  <a:gd name="T44" fmla="*/ 2147483647 w 102"/>
                  <a:gd name="T45" fmla="*/ 2147483647 h 132"/>
                  <a:gd name="T46" fmla="*/ 2147483647 w 102"/>
                  <a:gd name="T47" fmla="*/ 2147483647 h 132"/>
                  <a:gd name="T48" fmla="*/ 2147483647 w 102"/>
                  <a:gd name="T49" fmla="*/ 2147483647 h 13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2"/>
                  <a:gd name="T76" fmla="*/ 0 h 132"/>
                  <a:gd name="T77" fmla="*/ 102 w 102"/>
                  <a:gd name="T78" fmla="*/ 132 h 13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2" h="132">
                    <a:moveTo>
                      <a:pt x="84" y="54"/>
                    </a:moveTo>
                    <a:lnTo>
                      <a:pt x="84" y="30"/>
                    </a:lnTo>
                    <a:lnTo>
                      <a:pt x="90" y="18"/>
                    </a:lnTo>
                    <a:lnTo>
                      <a:pt x="66" y="18"/>
                    </a:lnTo>
                    <a:lnTo>
                      <a:pt x="54" y="6"/>
                    </a:lnTo>
                    <a:lnTo>
                      <a:pt x="42" y="0"/>
                    </a:lnTo>
                    <a:lnTo>
                      <a:pt x="36" y="0"/>
                    </a:lnTo>
                    <a:lnTo>
                      <a:pt x="24" y="12"/>
                    </a:lnTo>
                    <a:lnTo>
                      <a:pt x="18" y="24"/>
                    </a:lnTo>
                    <a:lnTo>
                      <a:pt x="18" y="36"/>
                    </a:lnTo>
                    <a:lnTo>
                      <a:pt x="6" y="48"/>
                    </a:lnTo>
                    <a:lnTo>
                      <a:pt x="0" y="60"/>
                    </a:lnTo>
                    <a:lnTo>
                      <a:pt x="0" y="84"/>
                    </a:lnTo>
                    <a:lnTo>
                      <a:pt x="12" y="108"/>
                    </a:lnTo>
                    <a:lnTo>
                      <a:pt x="24" y="114"/>
                    </a:lnTo>
                    <a:lnTo>
                      <a:pt x="36" y="126"/>
                    </a:lnTo>
                    <a:lnTo>
                      <a:pt x="54" y="126"/>
                    </a:lnTo>
                    <a:lnTo>
                      <a:pt x="66" y="132"/>
                    </a:lnTo>
                    <a:lnTo>
                      <a:pt x="78" y="132"/>
                    </a:lnTo>
                    <a:lnTo>
                      <a:pt x="90" y="90"/>
                    </a:lnTo>
                    <a:lnTo>
                      <a:pt x="96" y="90"/>
                    </a:lnTo>
                    <a:lnTo>
                      <a:pt x="102" y="84"/>
                    </a:lnTo>
                    <a:lnTo>
                      <a:pt x="96" y="60"/>
                    </a:lnTo>
                    <a:lnTo>
                      <a:pt x="90" y="60"/>
                    </a:lnTo>
                    <a:lnTo>
                      <a:pt x="84" y="54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7" name="Somal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C688B51-0AA4-4FD9-A07F-D79694CF459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42354" y="4085409"/>
                <a:ext cx="316238" cy="497767"/>
              </a:xfrm>
              <a:custGeom>
                <a:avLst/>
                <a:gdLst>
                  <a:gd name="T0" fmla="*/ 2147483647 w 714"/>
                  <a:gd name="T1" fmla="*/ 2147483647 h 1104"/>
                  <a:gd name="T2" fmla="*/ 2147483647 w 714"/>
                  <a:gd name="T3" fmla="*/ 2147483647 h 1104"/>
                  <a:gd name="T4" fmla="*/ 2147483647 w 714"/>
                  <a:gd name="T5" fmla="*/ 2147483647 h 1104"/>
                  <a:gd name="T6" fmla="*/ 2147483647 w 714"/>
                  <a:gd name="T7" fmla="*/ 2147483647 h 1104"/>
                  <a:gd name="T8" fmla="*/ 2147483647 w 714"/>
                  <a:gd name="T9" fmla="*/ 2147483647 h 1104"/>
                  <a:gd name="T10" fmla="*/ 2147483647 w 714"/>
                  <a:gd name="T11" fmla="*/ 2147483647 h 1104"/>
                  <a:gd name="T12" fmla="*/ 2147483647 w 714"/>
                  <a:gd name="T13" fmla="*/ 2147483647 h 1104"/>
                  <a:gd name="T14" fmla="*/ 2147483647 w 714"/>
                  <a:gd name="T15" fmla="*/ 2147483647 h 1104"/>
                  <a:gd name="T16" fmla="*/ 2147483647 w 714"/>
                  <a:gd name="T17" fmla="*/ 2147483647 h 1104"/>
                  <a:gd name="T18" fmla="*/ 2147483647 w 714"/>
                  <a:gd name="T19" fmla="*/ 2147483647 h 1104"/>
                  <a:gd name="T20" fmla="*/ 2147483647 w 714"/>
                  <a:gd name="T21" fmla="*/ 2147483647 h 1104"/>
                  <a:gd name="T22" fmla="*/ 2147483647 w 714"/>
                  <a:gd name="T23" fmla="*/ 2147483647 h 1104"/>
                  <a:gd name="T24" fmla="*/ 0 w 714"/>
                  <a:gd name="T25" fmla="*/ 2147483647 h 1104"/>
                  <a:gd name="T26" fmla="*/ 2147483647 w 714"/>
                  <a:gd name="T27" fmla="*/ 2147483647 h 1104"/>
                  <a:gd name="T28" fmla="*/ 2147483647 w 714"/>
                  <a:gd name="T29" fmla="*/ 2147483647 h 1104"/>
                  <a:gd name="T30" fmla="*/ 2147483647 w 714"/>
                  <a:gd name="T31" fmla="*/ 2147483647 h 1104"/>
                  <a:gd name="T32" fmla="*/ 2147483647 w 714"/>
                  <a:gd name="T33" fmla="*/ 2147483647 h 1104"/>
                  <a:gd name="T34" fmla="*/ 2147483647 w 714"/>
                  <a:gd name="T35" fmla="*/ 2147483647 h 1104"/>
                  <a:gd name="T36" fmla="*/ 2147483647 w 714"/>
                  <a:gd name="T37" fmla="*/ 2147483647 h 1104"/>
                  <a:gd name="T38" fmla="*/ 2147483647 w 714"/>
                  <a:gd name="T39" fmla="*/ 2147483647 h 1104"/>
                  <a:gd name="T40" fmla="*/ 2147483647 w 714"/>
                  <a:gd name="T41" fmla="*/ 2147483647 h 1104"/>
                  <a:gd name="T42" fmla="*/ 2147483647 w 714"/>
                  <a:gd name="T43" fmla="*/ 2147483647 h 1104"/>
                  <a:gd name="T44" fmla="*/ 2147483647 w 714"/>
                  <a:gd name="T45" fmla="*/ 2147483647 h 1104"/>
                  <a:gd name="T46" fmla="*/ 2147483647 w 714"/>
                  <a:gd name="T47" fmla="*/ 2147483647 h 1104"/>
                  <a:gd name="T48" fmla="*/ 2147483647 w 714"/>
                  <a:gd name="T49" fmla="*/ 2147483647 h 1104"/>
                  <a:gd name="T50" fmla="*/ 2147483647 w 714"/>
                  <a:gd name="T51" fmla="*/ 2147483647 h 1104"/>
                  <a:gd name="T52" fmla="*/ 2147483647 w 714"/>
                  <a:gd name="T53" fmla="*/ 2147483647 h 1104"/>
                  <a:gd name="T54" fmla="*/ 2147483647 w 714"/>
                  <a:gd name="T55" fmla="*/ 2147483647 h 1104"/>
                  <a:gd name="T56" fmla="*/ 2147483647 w 714"/>
                  <a:gd name="T57" fmla="*/ 2147483647 h 1104"/>
                  <a:gd name="T58" fmla="*/ 2147483647 w 714"/>
                  <a:gd name="T59" fmla="*/ 2147483647 h 1104"/>
                  <a:gd name="T60" fmla="*/ 2147483647 w 714"/>
                  <a:gd name="T61" fmla="*/ 2147483647 h 1104"/>
                  <a:gd name="T62" fmla="*/ 2147483647 w 714"/>
                  <a:gd name="T63" fmla="*/ 2147483647 h 1104"/>
                  <a:gd name="T64" fmla="*/ 2147483647 w 714"/>
                  <a:gd name="T65" fmla="*/ 2147483647 h 1104"/>
                  <a:gd name="T66" fmla="*/ 2147483647 w 714"/>
                  <a:gd name="T67" fmla="*/ 2147483647 h 1104"/>
                  <a:gd name="T68" fmla="*/ 2147483647 w 714"/>
                  <a:gd name="T69" fmla="*/ 2147483647 h 1104"/>
                  <a:gd name="T70" fmla="*/ 2147483647 w 714"/>
                  <a:gd name="T71" fmla="*/ 2147483647 h 1104"/>
                  <a:gd name="T72" fmla="*/ 2147483647 w 714"/>
                  <a:gd name="T73" fmla="*/ 2147483647 h 1104"/>
                  <a:gd name="T74" fmla="*/ 2147483647 w 714"/>
                  <a:gd name="T75" fmla="*/ 2147483647 h 1104"/>
                  <a:gd name="T76" fmla="*/ 2147483647 w 714"/>
                  <a:gd name="T77" fmla="*/ 2147483647 h 1104"/>
                  <a:gd name="T78" fmla="*/ 2147483647 w 714"/>
                  <a:gd name="T79" fmla="*/ 2147483647 h 1104"/>
                  <a:gd name="T80" fmla="*/ 2147483647 w 714"/>
                  <a:gd name="T81" fmla="*/ 2147483647 h 1104"/>
                  <a:gd name="T82" fmla="*/ 2147483647 w 714"/>
                  <a:gd name="T83" fmla="*/ 2147483647 h 1104"/>
                  <a:gd name="T84" fmla="*/ 2147483647 w 714"/>
                  <a:gd name="T85" fmla="*/ 2147483647 h 1104"/>
                  <a:gd name="T86" fmla="*/ 2147483647 w 714"/>
                  <a:gd name="T87" fmla="*/ 2147483647 h 110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14"/>
                  <a:gd name="T133" fmla="*/ 0 h 1104"/>
                  <a:gd name="T134" fmla="*/ 714 w 714"/>
                  <a:gd name="T135" fmla="*/ 1104 h 1104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14" h="1104">
                    <a:moveTo>
                      <a:pt x="108" y="114"/>
                    </a:moveTo>
                    <a:lnTo>
                      <a:pt x="120" y="126"/>
                    </a:lnTo>
                    <a:lnTo>
                      <a:pt x="120" y="138"/>
                    </a:lnTo>
                    <a:lnTo>
                      <a:pt x="126" y="150"/>
                    </a:lnTo>
                    <a:lnTo>
                      <a:pt x="132" y="156"/>
                    </a:lnTo>
                    <a:lnTo>
                      <a:pt x="138" y="168"/>
                    </a:lnTo>
                    <a:lnTo>
                      <a:pt x="144" y="174"/>
                    </a:lnTo>
                    <a:lnTo>
                      <a:pt x="156" y="198"/>
                    </a:lnTo>
                    <a:lnTo>
                      <a:pt x="162" y="204"/>
                    </a:lnTo>
                    <a:lnTo>
                      <a:pt x="162" y="210"/>
                    </a:lnTo>
                    <a:lnTo>
                      <a:pt x="186" y="210"/>
                    </a:lnTo>
                    <a:lnTo>
                      <a:pt x="192" y="222"/>
                    </a:lnTo>
                    <a:lnTo>
                      <a:pt x="198" y="228"/>
                    </a:lnTo>
                    <a:lnTo>
                      <a:pt x="204" y="240"/>
                    </a:lnTo>
                    <a:lnTo>
                      <a:pt x="240" y="258"/>
                    </a:lnTo>
                    <a:lnTo>
                      <a:pt x="312" y="282"/>
                    </a:lnTo>
                    <a:lnTo>
                      <a:pt x="336" y="288"/>
                    </a:lnTo>
                    <a:lnTo>
                      <a:pt x="348" y="294"/>
                    </a:lnTo>
                    <a:lnTo>
                      <a:pt x="366" y="300"/>
                    </a:lnTo>
                    <a:lnTo>
                      <a:pt x="378" y="312"/>
                    </a:lnTo>
                    <a:lnTo>
                      <a:pt x="414" y="330"/>
                    </a:lnTo>
                    <a:lnTo>
                      <a:pt x="486" y="324"/>
                    </a:lnTo>
                    <a:lnTo>
                      <a:pt x="276" y="570"/>
                    </a:lnTo>
                    <a:lnTo>
                      <a:pt x="192" y="570"/>
                    </a:lnTo>
                    <a:lnTo>
                      <a:pt x="186" y="576"/>
                    </a:lnTo>
                    <a:lnTo>
                      <a:pt x="174" y="576"/>
                    </a:lnTo>
                    <a:lnTo>
                      <a:pt x="162" y="582"/>
                    </a:lnTo>
                    <a:lnTo>
                      <a:pt x="156" y="588"/>
                    </a:lnTo>
                    <a:lnTo>
                      <a:pt x="144" y="594"/>
                    </a:lnTo>
                    <a:lnTo>
                      <a:pt x="144" y="606"/>
                    </a:lnTo>
                    <a:lnTo>
                      <a:pt x="126" y="624"/>
                    </a:lnTo>
                    <a:lnTo>
                      <a:pt x="102" y="624"/>
                    </a:lnTo>
                    <a:lnTo>
                      <a:pt x="90" y="630"/>
                    </a:lnTo>
                    <a:lnTo>
                      <a:pt x="78" y="630"/>
                    </a:lnTo>
                    <a:lnTo>
                      <a:pt x="66" y="642"/>
                    </a:lnTo>
                    <a:lnTo>
                      <a:pt x="66" y="654"/>
                    </a:lnTo>
                    <a:lnTo>
                      <a:pt x="60" y="660"/>
                    </a:lnTo>
                    <a:lnTo>
                      <a:pt x="42" y="696"/>
                    </a:lnTo>
                    <a:lnTo>
                      <a:pt x="0" y="738"/>
                    </a:lnTo>
                    <a:lnTo>
                      <a:pt x="0" y="1038"/>
                    </a:lnTo>
                    <a:lnTo>
                      <a:pt x="42" y="1104"/>
                    </a:lnTo>
                    <a:lnTo>
                      <a:pt x="48" y="1086"/>
                    </a:lnTo>
                    <a:lnTo>
                      <a:pt x="84" y="1032"/>
                    </a:lnTo>
                    <a:lnTo>
                      <a:pt x="96" y="1008"/>
                    </a:lnTo>
                    <a:lnTo>
                      <a:pt x="114" y="996"/>
                    </a:lnTo>
                    <a:lnTo>
                      <a:pt x="144" y="966"/>
                    </a:lnTo>
                    <a:lnTo>
                      <a:pt x="150" y="954"/>
                    </a:lnTo>
                    <a:lnTo>
                      <a:pt x="162" y="936"/>
                    </a:lnTo>
                    <a:lnTo>
                      <a:pt x="192" y="906"/>
                    </a:lnTo>
                    <a:lnTo>
                      <a:pt x="216" y="876"/>
                    </a:lnTo>
                    <a:lnTo>
                      <a:pt x="246" y="846"/>
                    </a:lnTo>
                    <a:lnTo>
                      <a:pt x="264" y="840"/>
                    </a:lnTo>
                    <a:lnTo>
                      <a:pt x="276" y="828"/>
                    </a:lnTo>
                    <a:lnTo>
                      <a:pt x="294" y="816"/>
                    </a:lnTo>
                    <a:lnTo>
                      <a:pt x="318" y="804"/>
                    </a:lnTo>
                    <a:lnTo>
                      <a:pt x="336" y="786"/>
                    </a:lnTo>
                    <a:lnTo>
                      <a:pt x="372" y="756"/>
                    </a:lnTo>
                    <a:lnTo>
                      <a:pt x="420" y="708"/>
                    </a:lnTo>
                    <a:lnTo>
                      <a:pt x="438" y="684"/>
                    </a:lnTo>
                    <a:lnTo>
                      <a:pt x="462" y="654"/>
                    </a:lnTo>
                    <a:lnTo>
                      <a:pt x="492" y="618"/>
                    </a:lnTo>
                    <a:lnTo>
                      <a:pt x="516" y="570"/>
                    </a:lnTo>
                    <a:lnTo>
                      <a:pt x="528" y="540"/>
                    </a:lnTo>
                    <a:lnTo>
                      <a:pt x="546" y="516"/>
                    </a:lnTo>
                    <a:lnTo>
                      <a:pt x="558" y="498"/>
                    </a:lnTo>
                    <a:lnTo>
                      <a:pt x="564" y="492"/>
                    </a:lnTo>
                    <a:lnTo>
                      <a:pt x="570" y="480"/>
                    </a:lnTo>
                    <a:lnTo>
                      <a:pt x="576" y="474"/>
                    </a:lnTo>
                    <a:lnTo>
                      <a:pt x="576" y="450"/>
                    </a:lnTo>
                    <a:lnTo>
                      <a:pt x="582" y="432"/>
                    </a:lnTo>
                    <a:lnTo>
                      <a:pt x="588" y="420"/>
                    </a:lnTo>
                    <a:lnTo>
                      <a:pt x="588" y="402"/>
                    </a:lnTo>
                    <a:lnTo>
                      <a:pt x="594" y="390"/>
                    </a:lnTo>
                    <a:lnTo>
                      <a:pt x="606" y="378"/>
                    </a:lnTo>
                    <a:lnTo>
                      <a:pt x="612" y="366"/>
                    </a:lnTo>
                    <a:lnTo>
                      <a:pt x="624" y="354"/>
                    </a:lnTo>
                    <a:lnTo>
                      <a:pt x="624" y="324"/>
                    </a:lnTo>
                    <a:lnTo>
                      <a:pt x="636" y="318"/>
                    </a:lnTo>
                    <a:lnTo>
                      <a:pt x="642" y="306"/>
                    </a:lnTo>
                    <a:lnTo>
                      <a:pt x="660" y="252"/>
                    </a:lnTo>
                    <a:lnTo>
                      <a:pt x="672" y="252"/>
                    </a:lnTo>
                    <a:lnTo>
                      <a:pt x="672" y="246"/>
                    </a:lnTo>
                    <a:lnTo>
                      <a:pt x="684" y="234"/>
                    </a:lnTo>
                    <a:lnTo>
                      <a:pt x="684" y="138"/>
                    </a:lnTo>
                    <a:lnTo>
                      <a:pt x="708" y="126"/>
                    </a:lnTo>
                    <a:lnTo>
                      <a:pt x="702" y="54"/>
                    </a:lnTo>
                    <a:lnTo>
                      <a:pt x="708" y="42"/>
                    </a:lnTo>
                    <a:lnTo>
                      <a:pt x="708" y="36"/>
                    </a:lnTo>
                    <a:lnTo>
                      <a:pt x="714" y="24"/>
                    </a:lnTo>
                    <a:lnTo>
                      <a:pt x="714" y="12"/>
                    </a:lnTo>
                    <a:lnTo>
                      <a:pt x="690" y="0"/>
                    </a:lnTo>
                    <a:lnTo>
                      <a:pt x="672" y="0"/>
                    </a:lnTo>
                    <a:lnTo>
                      <a:pt x="666" y="12"/>
                    </a:lnTo>
                    <a:lnTo>
                      <a:pt x="654" y="18"/>
                    </a:lnTo>
                    <a:lnTo>
                      <a:pt x="648" y="30"/>
                    </a:lnTo>
                    <a:lnTo>
                      <a:pt x="624" y="42"/>
                    </a:lnTo>
                    <a:lnTo>
                      <a:pt x="612" y="42"/>
                    </a:lnTo>
                    <a:lnTo>
                      <a:pt x="594" y="48"/>
                    </a:lnTo>
                    <a:lnTo>
                      <a:pt x="582" y="54"/>
                    </a:lnTo>
                    <a:lnTo>
                      <a:pt x="564" y="54"/>
                    </a:lnTo>
                    <a:lnTo>
                      <a:pt x="546" y="48"/>
                    </a:lnTo>
                    <a:lnTo>
                      <a:pt x="534" y="42"/>
                    </a:lnTo>
                    <a:lnTo>
                      <a:pt x="516" y="48"/>
                    </a:lnTo>
                    <a:lnTo>
                      <a:pt x="510" y="54"/>
                    </a:lnTo>
                    <a:lnTo>
                      <a:pt x="498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74" y="78"/>
                    </a:lnTo>
                    <a:lnTo>
                      <a:pt x="462" y="72"/>
                    </a:lnTo>
                    <a:lnTo>
                      <a:pt x="456" y="60"/>
                    </a:lnTo>
                    <a:lnTo>
                      <a:pt x="444" y="60"/>
                    </a:lnTo>
                    <a:lnTo>
                      <a:pt x="438" y="66"/>
                    </a:lnTo>
                    <a:lnTo>
                      <a:pt x="426" y="72"/>
                    </a:lnTo>
                    <a:lnTo>
                      <a:pt x="396" y="102"/>
                    </a:lnTo>
                    <a:lnTo>
                      <a:pt x="384" y="108"/>
                    </a:lnTo>
                    <a:lnTo>
                      <a:pt x="372" y="108"/>
                    </a:lnTo>
                    <a:lnTo>
                      <a:pt x="360" y="102"/>
                    </a:lnTo>
                    <a:lnTo>
                      <a:pt x="354" y="96"/>
                    </a:lnTo>
                    <a:lnTo>
                      <a:pt x="342" y="90"/>
                    </a:lnTo>
                    <a:lnTo>
                      <a:pt x="330" y="90"/>
                    </a:lnTo>
                    <a:lnTo>
                      <a:pt x="306" y="102"/>
                    </a:lnTo>
                    <a:lnTo>
                      <a:pt x="294" y="114"/>
                    </a:lnTo>
                    <a:lnTo>
                      <a:pt x="270" y="126"/>
                    </a:lnTo>
                    <a:lnTo>
                      <a:pt x="210" y="126"/>
                    </a:lnTo>
                    <a:lnTo>
                      <a:pt x="192" y="108"/>
                    </a:lnTo>
                    <a:lnTo>
                      <a:pt x="186" y="96"/>
                    </a:lnTo>
                    <a:lnTo>
                      <a:pt x="174" y="90"/>
                    </a:lnTo>
                    <a:lnTo>
                      <a:pt x="168" y="78"/>
                    </a:lnTo>
                    <a:lnTo>
                      <a:pt x="168" y="66"/>
                    </a:lnTo>
                    <a:lnTo>
                      <a:pt x="156" y="54"/>
                    </a:lnTo>
                    <a:lnTo>
                      <a:pt x="150" y="54"/>
                    </a:lnTo>
                    <a:lnTo>
                      <a:pt x="126" y="78"/>
                    </a:lnTo>
                    <a:lnTo>
                      <a:pt x="108" y="11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8" name="Sierra Leon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5EB7043-3136-4989-B49A-BE3EC31316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33615" y="4156266"/>
                <a:ext cx="92600" cy="120456"/>
              </a:xfrm>
              <a:custGeom>
                <a:avLst/>
                <a:gdLst>
                  <a:gd name="T0" fmla="*/ 2147483647 w 210"/>
                  <a:gd name="T1" fmla="*/ 2147483647 h 270"/>
                  <a:gd name="T2" fmla="*/ 2147483647 w 210"/>
                  <a:gd name="T3" fmla="*/ 2147483647 h 270"/>
                  <a:gd name="T4" fmla="*/ 2147483647 w 210"/>
                  <a:gd name="T5" fmla="*/ 2147483647 h 270"/>
                  <a:gd name="T6" fmla="*/ 2147483647 w 210"/>
                  <a:gd name="T7" fmla="*/ 2147483647 h 270"/>
                  <a:gd name="T8" fmla="*/ 2147483647 w 210"/>
                  <a:gd name="T9" fmla="*/ 2147483647 h 270"/>
                  <a:gd name="T10" fmla="*/ 2147483647 w 210"/>
                  <a:gd name="T11" fmla="*/ 2147483647 h 270"/>
                  <a:gd name="T12" fmla="*/ 2147483647 w 210"/>
                  <a:gd name="T13" fmla="*/ 2147483647 h 270"/>
                  <a:gd name="T14" fmla="*/ 2147483647 w 210"/>
                  <a:gd name="T15" fmla="*/ 2147483647 h 270"/>
                  <a:gd name="T16" fmla="*/ 2147483647 w 210"/>
                  <a:gd name="T17" fmla="*/ 2147483647 h 270"/>
                  <a:gd name="T18" fmla="*/ 2147483647 w 210"/>
                  <a:gd name="T19" fmla="*/ 2147483647 h 270"/>
                  <a:gd name="T20" fmla="*/ 2147483647 w 210"/>
                  <a:gd name="T21" fmla="*/ 2147483647 h 270"/>
                  <a:gd name="T22" fmla="*/ 2147483647 w 210"/>
                  <a:gd name="T23" fmla="*/ 0 h 270"/>
                  <a:gd name="T24" fmla="*/ 2147483647 w 210"/>
                  <a:gd name="T25" fmla="*/ 0 h 270"/>
                  <a:gd name="T26" fmla="*/ 2147483647 w 210"/>
                  <a:gd name="T27" fmla="*/ 2147483647 h 270"/>
                  <a:gd name="T28" fmla="*/ 2147483647 w 210"/>
                  <a:gd name="T29" fmla="*/ 2147483647 h 270"/>
                  <a:gd name="T30" fmla="*/ 2147483647 w 210"/>
                  <a:gd name="T31" fmla="*/ 2147483647 h 270"/>
                  <a:gd name="T32" fmla="*/ 2147483647 w 210"/>
                  <a:gd name="T33" fmla="*/ 2147483647 h 270"/>
                  <a:gd name="T34" fmla="*/ 2147483647 w 210"/>
                  <a:gd name="T35" fmla="*/ 2147483647 h 270"/>
                  <a:gd name="T36" fmla="*/ 2147483647 w 210"/>
                  <a:gd name="T37" fmla="*/ 2147483647 h 270"/>
                  <a:gd name="T38" fmla="*/ 2147483647 w 210"/>
                  <a:gd name="T39" fmla="*/ 2147483647 h 270"/>
                  <a:gd name="T40" fmla="*/ 2147483647 w 210"/>
                  <a:gd name="T41" fmla="*/ 2147483647 h 270"/>
                  <a:gd name="T42" fmla="*/ 2147483647 w 210"/>
                  <a:gd name="T43" fmla="*/ 2147483647 h 270"/>
                  <a:gd name="T44" fmla="*/ 0 w 210"/>
                  <a:gd name="T45" fmla="*/ 2147483647 h 270"/>
                  <a:gd name="T46" fmla="*/ 2147483647 w 210"/>
                  <a:gd name="T47" fmla="*/ 2147483647 h 270"/>
                  <a:gd name="T48" fmla="*/ 2147483647 w 210"/>
                  <a:gd name="T49" fmla="*/ 2147483647 h 270"/>
                  <a:gd name="T50" fmla="*/ 0 w 210"/>
                  <a:gd name="T51" fmla="*/ 2147483647 h 270"/>
                  <a:gd name="T52" fmla="*/ 0 w 210"/>
                  <a:gd name="T53" fmla="*/ 2147483647 h 270"/>
                  <a:gd name="T54" fmla="*/ 2147483647 w 210"/>
                  <a:gd name="T55" fmla="*/ 2147483647 h 270"/>
                  <a:gd name="T56" fmla="*/ 2147483647 w 210"/>
                  <a:gd name="T57" fmla="*/ 2147483647 h 270"/>
                  <a:gd name="T58" fmla="*/ 2147483647 w 210"/>
                  <a:gd name="T59" fmla="*/ 2147483647 h 270"/>
                  <a:gd name="T60" fmla="*/ 2147483647 w 210"/>
                  <a:gd name="T61" fmla="*/ 2147483647 h 270"/>
                  <a:gd name="T62" fmla="*/ 2147483647 w 210"/>
                  <a:gd name="T63" fmla="*/ 2147483647 h 270"/>
                  <a:gd name="T64" fmla="*/ 2147483647 w 210"/>
                  <a:gd name="T65" fmla="*/ 2147483647 h 270"/>
                  <a:gd name="T66" fmla="*/ 2147483647 w 210"/>
                  <a:gd name="T67" fmla="*/ 2147483647 h 270"/>
                  <a:gd name="T68" fmla="*/ 2147483647 w 210"/>
                  <a:gd name="T69" fmla="*/ 2147483647 h 270"/>
                  <a:gd name="T70" fmla="*/ 2147483647 w 210"/>
                  <a:gd name="T71" fmla="*/ 2147483647 h 270"/>
                  <a:gd name="T72" fmla="*/ 2147483647 w 210"/>
                  <a:gd name="T73" fmla="*/ 2147483647 h 270"/>
                  <a:gd name="T74" fmla="*/ 2147483647 w 210"/>
                  <a:gd name="T75" fmla="*/ 2147483647 h 270"/>
                  <a:gd name="T76" fmla="*/ 2147483647 w 210"/>
                  <a:gd name="T77" fmla="*/ 2147483647 h 270"/>
                  <a:gd name="T78" fmla="*/ 2147483647 w 210"/>
                  <a:gd name="T79" fmla="*/ 2147483647 h 270"/>
                  <a:gd name="T80" fmla="*/ 2147483647 w 210"/>
                  <a:gd name="T81" fmla="*/ 2147483647 h 270"/>
                  <a:gd name="T82" fmla="*/ 2147483647 w 210"/>
                  <a:gd name="T83" fmla="*/ 2147483647 h 270"/>
                  <a:gd name="T84" fmla="*/ 2147483647 w 210"/>
                  <a:gd name="T85" fmla="*/ 2147483647 h 270"/>
                  <a:gd name="T86" fmla="*/ 2147483647 w 210"/>
                  <a:gd name="T87" fmla="*/ 2147483647 h 27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0"/>
                  <a:gd name="T133" fmla="*/ 0 h 270"/>
                  <a:gd name="T134" fmla="*/ 210 w 210"/>
                  <a:gd name="T135" fmla="*/ 270 h 27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0" h="270">
                    <a:moveTo>
                      <a:pt x="186" y="180"/>
                    </a:moveTo>
                    <a:lnTo>
                      <a:pt x="186" y="162"/>
                    </a:lnTo>
                    <a:lnTo>
                      <a:pt x="210" y="156"/>
                    </a:lnTo>
                    <a:lnTo>
                      <a:pt x="204" y="132"/>
                    </a:lnTo>
                    <a:lnTo>
                      <a:pt x="174" y="144"/>
                    </a:lnTo>
                    <a:lnTo>
                      <a:pt x="180" y="126"/>
                    </a:lnTo>
                    <a:lnTo>
                      <a:pt x="186" y="120"/>
                    </a:lnTo>
                    <a:lnTo>
                      <a:pt x="192" y="108"/>
                    </a:lnTo>
                    <a:lnTo>
                      <a:pt x="192" y="90"/>
                    </a:lnTo>
                    <a:lnTo>
                      <a:pt x="180" y="78"/>
                    </a:lnTo>
                    <a:lnTo>
                      <a:pt x="180" y="60"/>
                    </a:lnTo>
                    <a:lnTo>
                      <a:pt x="138" y="0"/>
                    </a:lnTo>
                    <a:lnTo>
                      <a:pt x="102" y="0"/>
                    </a:lnTo>
                    <a:lnTo>
                      <a:pt x="96" y="18"/>
                    </a:lnTo>
                    <a:lnTo>
                      <a:pt x="60" y="18"/>
                    </a:lnTo>
                    <a:lnTo>
                      <a:pt x="60" y="24"/>
                    </a:lnTo>
                    <a:lnTo>
                      <a:pt x="54" y="30"/>
                    </a:lnTo>
                    <a:lnTo>
                      <a:pt x="48" y="42"/>
                    </a:lnTo>
                    <a:lnTo>
                      <a:pt x="36" y="54"/>
                    </a:lnTo>
                    <a:lnTo>
                      <a:pt x="30" y="66"/>
                    </a:lnTo>
                    <a:lnTo>
                      <a:pt x="18" y="72"/>
                    </a:lnTo>
                    <a:lnTo>
                      <a:pt x="12" y="78"/>
                    </a:lnTo>
                    <a:lnTo>
                      <a:pt x="0" y="84"/>
                    </a:lnTo>
                    <a:lnTo>
                      <a:pt x="12" y="96"/>
                    </a:lnTo>
                    <a:lnTo>
                      <a:pt x="6" y="102"/>
                    </a:lnTo>
                    <a:lnTo>
                      <a:pt x="0" y="114"/>
                    </a:lnTo>
                    <a:lnTo>
                      <a:pt x="0" y="132"/>
                    </a:lnTo>
                    <a:lnTo>
                      <a:pt x="6" y="138"/>
                    </a:lnTo>
                    <a:lnTo>
                      <a:pt x="18" y="144"/>
                    </a:lnTo>
                    <a:lnTo>
                      <a:pt x="24" y="150"/>
                    </a:lnTo>
                    <a:lnTo>
                      <a:pt x="18" y="180"/>
                    </a:lnTo>
                    <a:lnTo>
                      <a:pt x="42" y="198"/>
                    </a:lnTo>
                    <a:lnTo>
                      <a:pt x="42" y="204"/>
                    </a:lnTo>
                    <a:lnTo>
                      <a:pt x="48" y="210"/>
                    </a:lnTo>
                    <a:lnTo>
                      <a:pt x="54" y="222"/>
                    </a:lnTo>
                    <a:lnTo>
                      <a:pt x="78" y="234"/>
                    </a:lnTo>
                    <a:lnTo>
                      <a:pt x="96" y="234"/>
                    </a:lnTo>
                    <a:lnTo>
                      <a:pt x="126" y="270"/>
                    </a:lnTo>
                    <a:lnTo>
                      <a:pt x="126" y="234"/>
                    </a:lnTo>
                    <a:lnTo>
                      <a:pt x="144" y="216"/>
                    </a:lnTo>
                    <a:lnTo>
                      <a:pt x="156" y="210"/>
                    </a:lnTo>
                    <a:lnTo>
                      <a:pt x="168" y="198"/>
                    </a:lnTo>
                    <a:lnTo>
                      <a:pt x="180" y="192"/>
                    </a:lnTo>
                    <a:lnTo>
                      <a:pt x="186" y="18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19" name="Senega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F174E2C-478B-406A-9085-2EF0364FCD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04973" y="3911811"/>
                <a:ext cx="185201" cy="164743"/>
              </a:xfrm>
              <a:custGeom>
                <a:avLst/>
                <a:gdLst>
                  <a:gd name="T0" fmla="*/ 2147483647 w 414"/>
                  <a:gd name="T1" fmla="*/ 2147483647 h 366"/>
                  <a:gd name="T2" fmla="*/ 2147483647 w 414"/>
                  <a:gd name="T3" fmla="*/ 2147483647 h 366"/>
                  <a:gd name="T4" fmla="*/ 2147483647 w 414"/>
                  <a:gd name="T5" fmla="*/ 2147483647 h 366"/>
                  <a:gd name="T6" fmla="*/ 2147483647 w 414"/>
                  <a:gd name="T7" fmla="*/ 2147483647 h 366"/>
                  <a:gd name="T8" fmla="*/ 2147483647 w 414"/>
                  <a:gd name="T9" fmla="*/ 2147483647 h 366"/>
                  <a:gd name="T10" fmla="*/ 2147483647 w 414"/>
                  <a:gd name="T11" fmla="*/ 2147483647 h 366"/>
                  <a:gd name="T12" fmla="*/ 2147483647 w 414"/>
                  <a:gd name="T13" fmla="*/ 2147483647 h 366"/>
                  <a:gd name="T14" fmla="*/ 2147483647 w 414"/>
                  <a:gd name="T15" fmla="*/ 2147483647 h 366"/>
                  <a:gd name="T16" fmla="*/ 2147483647 w 414"/>
                  <a:gd name="T17" fmla="*/ 2147483647 h 366"/>
                  <a:gd name="T18" fmla="*/ 2147483647 w 414"/>
                  <a:gd name="T19" fmla="*/ 2147483647 h 366"/>
                  <a:gd name="T20" fmla="*/ 2147483647 w 414"/>
                  <a:gd name="T21" fmla="*/ 2147483647 h 366"/>
                  <a:gd name="T22" fmla="*/ 2147483647 w 414"/>
                  <a:gd name="T23" fmla="*/ 2147483647 h 366"/>
                  <a:gd name="T24" fmla="*/ 2147483647 w 414"/>
                  <a:gd name="T25" fmla="*/ 2147483647 h 366"/>
                  <a:gd name="T26" fmla="*/ 2147483647 w 414"/>
                  <a:gd name="T27" fmla="*/ 2147483647 h 366"/>
                  <a:gd name="T28" fmla="*/ 2147483647 w 414"/>
                  <a:gd name="T29" fmla="*/ 0 h 366"/>
                  <a:gd name="T30" fmla="*/ 2147483647 w 414"/>
                  <a:gd name="T31" fmla="*/ 2147483647 h 366"/>
                  <a:gd name="T32" fmla="*/ 2147483647 w 414"/>
                  <a:gd name="T33" fmla="*/ 2147483647 h 366"/>
                  <a:gd name="T34" fmla="*/ 2147483647 w 414"/>
                  <a:gd name="T35" fmla="*/ 2147483647 h 366"/>
                  <a:gd name="T36" fmla="*/ 2147483647 w 414"/>
                  <a:gd name="T37" fmla="*/ 2147483647 h 366"/>
                  <a:gd name="T38" fmla="*/ 2147483647 w 414"/>
                  <a:gd name="T39" fmla="*/ 2147483647 h 366"/>
                  <a:gd name="T40" fmla="*/ 2147483647 w 414"/>
                  <a:gd name="T41" fmla="*/ 2147483647 h 366"/>
                  <a:gd name="T42" fmla="*/ 0 w 414"/>
                  <a:gd name="T43" fmla="*/ 2147483647 h 366"/>
                  <a:gd name="T44" fmla="*/ 2147483647 w 414"/>
                  <a:gd name="T45" fmla="*/ 2147483647 h 366"/>
                  <a:gd name="T46" fmla="*/ 2147483647 w 414"/>
                  <a:gd name="T47" fmla="*/ 2147483647 h 366"/>
                  <a:gd name="T48" fmla="*/ 2147483647 w 414"/>
                  <a:gd name="T49" fmla="*/ 2147483647 h 366"/>
                  <a:gd name="T50" fmla="*/ 2147483647 w 414"/>
                  <a:gd name="T51" fmla="*/ 2147483647 h 366"/>
                  <a:gd name="T52" fmla="*/ 2147483647 w 414"/>
                  <a:gd name="T53" fmla="*/ 2147483647 h 366"/>
                  <a:gd name="T54" fmla="*/ 2147483647 w 414"/>
                  <a:gd name="T55" fmla="*/ 2147483647 h 366"/>
                  <a:gd name="T56" fmla="*/ 2147483647 w 414"/>
                  <a:gd name="T57" fmla="*/ 2147483647 h 366"/>
                  <a:gd name="T58" fmla="*/ 2147483647 w 414"/>
                  <a:gd name="T59" fmla="*/ 2147483647 h 366"/>
                  <a:gd name="T60" fmla="*/ 2147483647 w 414"/>
                  <a:gd name="T61" fmla="*/ 2147483647 h 366"/>
                  <a:gd name="T62" fmla="*/ 2147483647 w 414"/>
                  <a:gd name="T63" fmla="*/ 2147483647 h 366"/>
                  <a:gd name="T64" fmla="*/ 2147483647 w 414"/>
                  <a:gd name="T65" fmla="*/ 2147483647 h 366"/>
                  <a:gd name="T66" fmla="*/ 2147483647 w 414"/>
                  <a:gd name="T67" fmla="*/ 2147483647 h 366"/>
                  <a:gd name="T68" fmla="*/ 2147483647 w 414"/>
                  <a:gd name="T69" fmla="*/ 2147483647 h 366"/>
                  <a:gd name="T70" fmla="*/ 2147483647 w 414"/>
                  <a:gd name="T71" fmla="*/ 2147483647 h 366"/>
                  <a:gd name="T72" fmla="*/ 2147483647 w 414"/>
                  <a:gd name="T73" fmla="*/ 2147483647 h 366"/>
                  <a:gd name="T74" fmla="*/ 2147483647 w 414"/>
                  <a:gd name="T75" fmla="*/ 2147483647 h 366"/>
                  <a:gd name="T76" fmla="*/ 2147483647 w 414"/>
                  <a:gd name="T77" fmla="*/ 2147483647 h 366"/>
                  <a:gd name="T78" fmla="*/ 2147483647 w 414"/>
                  <a:gd name="T79" fmla="*/ 2147483647 h 366"/>
                  <a:gd name="T80" fmla="*/ 2147483647 w 414"/>
                  <a:gd name="T81" fmla="*/ 2147483647 h 366"/>
                  <a:gd name="T82" fmla="*/ 2147483647 w 414"/>
                  <a:gd name="T83" fmla="*/ 2147483647 h 366"/>
                  <a:gd name="T84" fmla="*/ 2147483647 w 414"/>
                  <a:gd name="T85" fmla="*/ 2147483647 h 366"/>
                  <a:gd name="T86" fmla="*/ 2147483647 w 414"/>
                  <a:gd name="T87" fmla="*/ 2147483647 h 366"/>
                  <a:gd name="T88" fmla="*/ 2147483647 w 414"/>
                  <a:gd name="T89" fmla="*/ 2147483647 h 366"/>
                  <a:gd name="T90" fmla="*/ 2147483647 w 414"/>
                  <a:gd name="T91" fmla="*/ 2147483647 h 366"/>
                  <a:gd name="T92" fmla="*/ 2147483647 w 414"/>
                  <a:gd name="T93" fmla="*/ 2147483647 h 366"/>
                  <a:gd name="T94" fmla="*/ 2147483647 w 414"/>
                  <a:gd name="T95" fmla="*/ 2147483647 h 366"/>
                  <a:gd name="T96" fmla="*/ 2147483647 w 414"/>
                  <a:gd name="T97" fmla="*/ 2147483647 h 366"/>
                  <a:gd name="T98" fmla="*/ 2147483647 w 414"/>
                  <a:gd name="T99" fmla="*/ 2147483647 h 366"/>
                  <a:gd name="T100" fmla="*/ 2147483647 w 414"/>
                  <a:gd name="T101" fmla="*/ 2147483647 h 366"/>
                  <a:gd name="T102" fmla="*/ 2147483647 w 414"/>
                  <a:gd name="T103" fmla="*/ 2147483647 h 366"/>
                  <a:gd name="T104" fmla="*/ 2147483647 w 414"/>
                  <a:gd name="T105" fmla="*/ 2147483647 h 36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14"/>
                  <a:gd name="T160" fmla="*/ 0 h 366"/>
                  <a:gd name="T161" fmla="*/ 414 w 414"/>
                  <a:gd name="T162" fmla="*/ 366 h 36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14" h="366">
                    <a:moveTo>
                      <a:pt x="402" y="270"/>
                    </a:moveTo>
                    <a:lnTo>
                      <a:pt x="396" y="270"/>
                    </a:lnTo>
                    <a:lnTo>
                      <a:pt x="396" y="276"/>
                    </a:lnTo>
                    <a:lnTo>
                      <a:pt x="384" y="276"/>
                    </a:lnTo>
                    <a:lnTo>
                      <a:pt x="378" y="270"/>
                    </a:lnTo>
                    <a:lnTo>
                      <a:pt x="378" y="246"/>
                    </a:lnTo>
                    <a:lnTo>
                      <a:pt x="384" y="240"/>
                    </a:lnTo>
                    <a:lnTo>
                      <a:pt x="384" y="222"/>
                    </a:lnTo>
                    <a:lnTo>
                      <a:pt x="372" y="210"/>
                    </a:lnTo>
                    <a:lnTo>
                      <a:pt x="372" y="204"/>
                    </a:lnTo>
                    <a:lnTo>
                      <a:pt x="360" y="186"/>
                    </a:lnTo>
                    <a:lnTo>
                      <a:pt x="360" y="162"/>
                    </a:lnTo>
                    <a:lnTo>
                      <a:pt x="348" y="138"/>
                    </a:lnTo>
                    <a:lnTo>
                      <a:pt x="318" y="132"/>
                    </a:lnTo>
                    <a:lnTo>
                      <a:pt x="318" y="108"/>
                    </a:lnTo>
                    <a:lnTo>
                      <a:pt x="312" y="102"/>
                    </a:lnTo>
                    <a:lnTo>
                      <a:pt x="294" y="102"/>
                    </a:lnTo>
                    <a:lnTo>
                      <a:pt x="294" y="72"/>
                    </a:lnTo>
                    <a:lnTo>
                      <a:pt x="288" y="60"/>
                    </a:lnTo>
                    <a:lnTo>
                      <a:pt x="288" y="54"/>
                    </a:lnTo>
                    <a:lnTo>
                      <a:pt x="282" y="48"/>
                    </a:lnTo>
                    <a:lnTo>
                      <a:pt x="264" y="48"/>
                    </a:lnTo>
                    <a:lnTo>
                      <a:pt x="252" y="54"/>
                    </a:lnTo>
                    <a:lnTo>
                      <a:pt x="246" y="42"/>
                    </a:lnTo>
                    <a:lnTo>
                      <a:pt x="234" y="30"/>
                    </a:lnTo>
                    <a:lnTo>
                      <a:pt x="228" y="18"/>
                    </a:lnTo>
                    <a:lnTo>
                      <a:pt x="222" y="18"/>
                    </a:lnTo>
                    <a:lnTo>
                      <a:pt x="210" y="12"/>
                    </a:lnTo>
                    <a:lnTo>
                      <a:pt x="186" y="12"/>
                    </a:lnTo>
                    <a:lnTo>
                      <a:pt x="162" y="0"/>
                    </a:lnTo>
                    <a:lnTo>
                      <a:pt x="162" y="18"/>
                    </a:lnTo>
                    <a:lnTo>
                      <a:pt x="132" y="12"/>
                    </a:lnTo>
                    <a:lnTo>
                      <a:pt x="120" y="18"/>
                    </a:lnTo>
                    <a:lnTo>
                      <a:pt x="114" y="18"/>
                    </a:lnTo>
                    <a:lnTo>
                      <a:pt x="108" y="12"/>
                    </a:lnTo>
                    <a:lnTo>
                      <a:pt x="102" y="12"/>
                    </a:lnTo>
                    <a:lnTo>
                      <a:pt x="90" y="18"/>
                    </a:lnTo>
                    <a:lnTo>
                      <a:pt x="84" y="24"/>
                    </a:lnTo>
                    <a:lnTo>
                      <a:pt x="66" y="60"/>
                    </a:lnTo>
                    <a:lnTo>
                      <a:pt x="60" y="66"/>
                    </a:lnTo>
                    <a:lnTo>
                      <a:pt x="60" y="90"/>
                    </a:lnTo>
                    <a:lnTo>
                      <a:pt x="48" y="96"/>
                    </a:lnTo>
                    <a:lnTo>
                      <a:pt x="30" y="132"/>
                    </a:lnTo>
                    <a:lnTo>
                      <a:pt x="0" y="162"/>
                    </a:lnTo>
                    <a:lnTo>
                      <a:pt x="6" y="168"/>
                    </a:lnTo>
                    <a:lnTo>
                      <a:pt x="12" y="168"/>
                    </a:lnTo>
                    <a:lnTo>
                      <a:pt x="18" y="174"/>
                    </a:lnTo>
                    <a:lnTo>
                      <a:pt x="24" y="186"/>
                    </a:lnTo>
                    <a:lnTo>
                      <a:pt x="24" y="204"/>
                    </a:lnTo>
                    <a:lnTo>
                      <a:pt x="42" y="222"/>
                    </a:lnTo>
                    <a:lnTo>
                      <a:pt x="42" y="246"/>
                    </a:lnTo>
                    <a:lnTo>
                      <a:pt x="48" y="252"/>
                    </a:lnTo>
                    <a:lnTo>
                      <a:pt x="126" y="252"/>
                    </a:lnTo>
                    <a:lnTo>
                      <a:pt x="126" y="240"/>
                    </a:lnTo>
                    <a:lnTo>
                      <a:pt x="180" y="240"/>
                    </a:lnTo>
                    <a:lnTo>
                      <a:pt x="180" y="252"/>
                    </a:lnTo>
                    <a:lnTo>
                      <a:pt x="192" y="246"/>
                    </a:lnTo>
                    <a:lnTo>
                      <a:pt x="198" y="252"/>
                    </a:lnTo>
                    <a:lnTo>
                      <a:pt x="204" y="264"/>
                    </a:lnTo>
                    <a:lnTo>
                      <a:pt x="216" y="264"/>
                    </a:lnTo>
                    <a:lnTo>
                      <a:pt x="222" y="258"/>
                    </a:lnTo>
                    <a:lnTo>
                      <a:pt x="246" y="258"/>
                    </a:lnTo>
                    <a:lnTo>
                      <a:pt x="252" y="264"/>
                    </a:lnTo>
                    <a:lnTo>
                      <a:pt x="252" y="270"/>
                    </a:lnTo>
                    <a:lnTo>
                      <a:pt x="246" y="276"/>
                    </a:lnTo>
                    <a:lnTo>
                      <a:pt x="234" y="282"/>
                    </a:lnTo>
                    <a:lnTo>
                      <a:pt x="228" y="288"/>
                    </a:lnTo>
                    <a:lnTo>
                      <a:pt x="204" y="288"/>
                    </a:lnTo>
                    <a:lnTo>
                      <a:pt x="186" y="282"/>
                    </a:lnTo>
                    <a:lnTo>
                      <a:pt x="180" y="270"/>
                    </a:lnTo>
                    <a:lnTo>
                      <a:pt x="168" y="264"/>
                    </a:lnTo>
                    <a:lnTo>
                      <a:pt x="162" y="258"/>
                    </a:lnTo>
                    <a:lnTo>
                      <a:pt x="156" y="264"/>
                    </a:lnTo>
                    <a:lnTo>
                      <a:pt x="150" y="276"/>
                    </a:lnTo>
                    <a:lnTo>
                      <a:pt x="126" y="276"/>
                    </a:lnTo>
                    <a:lnTo>
                      <a:pt x="120" y="282"/>
                    </a:lnTo>
                    <a:lnTo>
                      <a:pt x="108" y="282"/>
                    </a:lnTo>
                    <a:lnTo>
                      <a:pt x="108" y="294"/>
                    </a:lnTo>
                    <a:lnTo>
                      <a:pt x="36" y="294"/>
                    </a:lnTo>
                    <a:lnTo>
                      <a:pt x="36" y="318"/>
                    </a:lnTo>
                    <a:lnTo>
                      <a:pt x="30" y="324"/>
                    </a:lnTo>
                    <a:lnTo>
                      <a:pt x="30" y="336"/>
                    </a:lnTo>
                    <a:lnTo>
                      <a:pt x="36" y="342"/>
                    </a:lnTo>
                    <a:lnTo>
                      <a:pt x="42" y="354"/>
                    </a:lnTo>
                    <a:lnTo>
                      <a:pt x="48" y="360"/>
                    </a:lnTo>
                    <a:lnTo>
                      <a:pt x="60" y="366"/>
                    </a:lnTo>
                    <a:lnTo>
                      <a:pt x="66" y="366"/>
                    </a:lnTo>
                    <a:lnTo>
                      <a:pt x="72" y="360"/>
                    </a:lnTo>
                    <a:lnTo>
                      <a:pt x="78" y="360"/>
                    </a:lnTo>
                    <a:lnTo>
                      <a:pt x="90" y="348"/>
                    </a:lnTo>
                    <a:lnTo>
                      <a:pt x="126" y="348"/>
                    </a:lnTo>
                    <a:lnTo>
                      <a:pt x="156" y="324"/>
                    </a:lnTo>
                    <a:lnTo>
                      <a:pt x="294" y="330"/>
                    </a:lnTo>
                    <a:lnTo>
                      <a:pt x="294" y="336"/>
                    </a:lnTo>
                    <a:lnTo>
                      <a:pt x="300" y="348"/>
                    </a:lnTo>
                    <a:lnTo>
                      <a:pt x="318" y="348"/>
                    </a:lnTo>
                    <a:lnTo>
                      <a:pt x="324" y="342"/>
                    </a:lnTo>
                    <a:lnTo>
                      <a:pt x="330" y="348"/>
                    </a:lnTo>
                    <a:lnTo>
                      <a:pt x="336" y="360"/>
                    </a:lnTo>
                    <a:lnTo>
                      <a:pt x="342" y="366"/>
                    </a:lnTo>
                    <a:lnTo>
                      <a:pt x="354" y="366"/>
                    </a:lnTo>
                    <a:lnTo>
                      <a:pt x="366" y="360"/>
                    </a:lnTo>
                    <a:lnTo>
                      <a:pt x="372" y="354"/>
                    </a:lnTo>
                    <a:lnTo>
                      <a:pt x="414" y="354"/>
                    </a:lnTo>
                    <a:lnTo>
                      <a:pt x="414" y="288"/>
                    </a:lnTo>
                    <a:lnTo>
                      <a:pt x="408" y="276"/>
                    </a:lnTo>
                    <a:lnTo>
                      <a:pt x="402" y="27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0" name="Rwand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9F11F3A-DB95-4BDC-A0D1-3618E7F7CD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56225" y="4558380"/>
                <a:ext cx="66393" cy="65543"/>
              </a:xfrm>
              <a:custGeom>
                <a:avLst/>
                <a:gdLst>
                  <a:gd name="T0" fmla="*/ 2147483647 w 150"/>
                  <a:gd name="T1" fmla="*/ 2147483647 h 150"/>
                  <a:gd name="T2" fmla="*/ 2147483647 w 150"/>
                  <a:gd name="T3" fmla="*/ 2147483647 h 150"/>
                  <a:gd name="T4" fmla="*/ 2147483647 w 150"/>
                  <a:gd name="T5" fmla="*/ 2147483647 h 150"/>
                  <a:gd name="T6" fmla="*/ 2147483647 w 150"/>
                  <a:gd name="T7" fmla="*/ 2147483647 h 150"/>
                  <a:gd name="T8" fmla="*/ 2147483647 w 150"/>
                  <a:gd name="T9" fmla="*/ 2147483647 h 150"/>
                  <a:gd name="T10" fmla="*/ 2147483647 w 150"/>
                  <a:gd name="T11" fmla="*/ 2147483647 h 150"/>
                  <a:gd name="T12" fmla="*/ 2147483647 w 150"/>
                  <a:gd name="T13" fmla="*/ 2147483647 h 150"/>
                  <a:gd name="T14" fmla="*/ 2147483647 w 150"/>
                  <a:gd name="T15" fmla="*/ 2147483647 h 150"/>
                  <a:gd name="T16" fmla="*/ 2147483647 w 150"/>
                  <a:gd name="T17" fmla="*/ 2147483647 h 150"/>
                  <a:gd name="T18" fmla="*/ 2147483647 w 150"/>
                  <a:gd name="T19" fmla="*/ 2147483647 h 150"/>
                  <a:gd name="T20" fmla="*/ 2147483647 w 150"/>
                  <a:gd name="T21" fmla="*/ 2147483647 h 150"/>
                  <a:gd name="T22" fmla="*/ 2147483647 w 150"/>
                  <a:gd name="T23" fmla="*/ 2147483647 h 150"/>
                  <a:gd name="T24" fmla="*/ 2147483647 w 150"/>
                  <a:gd name="T25" fmla="*/ 2147483647 h 150"/>
                  <a:gd name="T26" fmla="*/ 2147483647 w 150"/>
                  <a:gd name="T27" fmla="*/ 0 h 150"/>
                  <a:gd name="T28" fmla="*/ 2147483647 w 150"/>
                  <a:gd name="T29" fmla="*/ 2147483647 h 150"/>
                  <a:gd name="T30" fmla="*/ 2147483647 w 150"/>
                  <a:gd name="T31" fmla="*/ 2147483647 h 150"/>
                  <a:gd name="T32" fmla="*/ 2147483647 w 150"/>
                  <a:gd name="T33" fmla="*/ 2147483647 h 150"/>
                  <a:gd name="T34" fmla="*/ 2147483647 w 150"/>
                  <a:gd name="T35" fmla="*/ 2147483647 h 150"/>
                  <a:gd name="T36" fmla="*/ 2147483647 w 150"/>
                  <a:gd name="T37" fmla="*/ 2147483647 h 150"/>
                  <a:gd name="T38" fmla="*/ 2147483647 w 150"/>
                  <a:gd name="T39" fmla="*/ 2147483647 h 150"/>
                  <a:gd name="T40" fmla="*/ 2147483647 w 150"/>
                  <a:gd name="T41" fmla="*/ 2147483647 h 150"/>
                  <a:gd name="T42" fmla="*/ 2147483647 w 150"/>
                  <a:gd name="T43" fmla="*/ 2147483647 h 150"/>
                  <a:gd name="T44" fmla="*/ 2147483647 w 150"/>
                  <a:gd name="T45" fmla="*/ 2147483647 h 150"/>
                  <a:gd name="T46" fmla="*/ 2147483647 w 150"/>
                  <a:gd name="T47" fmla="*/ 2147483647 h 150"/>
                  <a:gd name="T48" fmla="*/ 2147483647 w 150"/>
                  <a:gd name="T49" fmla="*/ 2147483647 h 150"/>
                  <a:gd name="T50" fmla="*/ 2147483647 w 150"/>
                  <a:gd name="T51" fmla="*/ 2147483647 h 150"/>
                  <a:gd name="T52" fmla="*/ 2147483647 w 150"/>
                  <a:gd name="T53" fmla="*/ 2147483647 h 150"/>
                  <a:gd name="T54" fmla="*/ 2147483647 w 150"/>
                  <a:gd name="T55" fmla="*/ 2147483647 h 150"/>
                  <a:gd name="T56" fmla="*/ 2147483647 w 150"/>
                  <a:gd name="T57" fmla="*/ 2147483647 h 150"/>
                  <a:gd name="T58" fmla="*/ 2147483647 w 150"/>
                  <a:gd name="T59" fmla="*/ 2147483647 h 150"/>
                  <a:gd name="T60" fmla="*/ 0 w 150"/>
                  <a:gd name="T61" fmla="*/ 2147483647 h 150"/>
                  <a:gd name="T62" fmla="*/ 0 w 150"/>
                  <a:gd name="T63" fmla="*/ 2147483647 h 150"/>
                  <a:gd name="T64" fmla="*/ 2147483647 w 150"/>
                  <a:gd name="T65" fmla="*/ 2147483647 h 150"/>
                  <a:gd name="T66" fmla="*/ 2147483647 w 150"/>
                  <a:gd name="T67" fmla="*/ 2147483647 h 150"/>
                  <a:gd name="T68" fmla="*/ 2147483647 w 150"/>
                  <a:gd name="T69" fmla="*/ 2147483647 h 150"/>
                  <a:gd name="T70" fmla="*/ 2147483647 w 150"/>
                  <a:gd name="T71" fmla="*/ 2147483647 h 150"/>
                  <a:gd name="T72" fmla="*/ 2147483647 w 150"/>
                  <a:gd name="T73" fmla="*/ 2147483647 h 15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0"/>
                  <a:gd name="T112" fmla="*/ 0 h 150"/>
                  <a:gd name="T113" fmla="*/ 150 w 150"/>
                  <a:gd name="T114" fmla="*/ 150 h 15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0" h="150">
                    <a:moveTo>
                      <a:pt x="48" y="150"/>
                    </a:moveTo>
                    <a:lnTo>
                      <a:pt x="54" y="150"/>
                    </a:lnTo>
                    <a:lnTo>
                      <a:pt x="60" y="144"/>
                    </a:lnTo>
                    <a:lnTo>
                      <a:pt x="72" y="138"/>
                    </a:lnTo>
                    <a:lnTo>
                      <a:pt x="78" y="114"/>
                    </a:lnTo>
                    <a:lnTo>
                      <a:pt x="138" y="114"/>
                    </a:lnTo>
                    <a:lnTo>
                      <a:pt x="150" y="102"/>
                    </a:lnTo>
                    <a:lnTo>
                      <a:pt x="150" y="72"/>
                    </a:lnTo>
                    <a:lnTo>
                      <a:pt x="144" y="66"/>
                    </a:lnTo>
                    <a:lnTo>
                      <a:pt x="144" y="48"/>
                    </a:lnTo>
                    <a:lnTo>
                      <a:pt x="138" y="42"/>
                    </a:lnTo>
                    <a:lnTo>
                      <a:pt x="132" y="30"/>
                    </a:lnTo>
                    <a:lnTo>
                      <a:pt x="126" y="24"/>
                    </a:lnTo>
                    <a:lnTo>
                      <a:pt x="132" y="0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02" y="18"/>
                    </a:lnTo>
                    <a:lnTo>
                      <a:pt x="90" y="42"/>
                    </a:lnTo>
                    <a:lnTo>
                      <a:pt x="84" y="42"/>
                    </a:lnTo>
                    <a:lnTo>
                      <a:pt x="72" y="30"/>
                    </a:lnTo>
                    <a:lnTo>
                      <a:pt x="54" y="30"/>
                    </a:lnTo>
                    <a:lnTo>
                      <a:pt x="48" y="36"/>
                    </a:lnTo>
                    <a:lnTo>
                      <a:pt x="24" y="48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24" y="72"/>
                    </a:lnTo>
                    <a:lnTo>
                      <a:pt x="30" y="78"/>
                    </a:lnTo>
                    <a:lnTo>
                      <a:pt x="30" y="90"/>
                    </a:lnTo>
                    <a:lnTo>
                      <a:pt x="18" y="102"/>
                    </a:lnTo>
                    <a:lnTo>
                      <a:pt x="6" y="108"/>
                    </a:lnTo>
                    <a:lnTo>
                      <a:pt x="0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30" y="132"/>
                    </a:lnTo>
                    <a:lnTo>
                      <a:pt x="36" y="144"/>
                    </a:lnTo>
                    <a:lnTo>
                      <a:pt x="42" y="150"/>
                    </a:lnTo>
                    <a:lnTo>
                      <a:pt x="48" y="15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1" name="Paragu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6046CC0-EBBB-42E5-A81E-9EC2324015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22311" y="5217344"/>
                <a:ext cx="265570" cy="304683"/>
              </a:xfrm>
              <a:custGeom>
                <a:avLst/>
                <a:gdLst>
                  <a:gd name="T0" fmla="*/ 2147483647 w 600"/>
                  <a:gd name="T1" fmla="*/ 2147483647 h 678"/>
                  <a:gd name="T2" fmla="*/ 2147483647 w 600"/>
                  <a:gd name="T3" fmla="*/ 2147483647 h 678"/>
                  <a:gd name="T4" fmla="*/ 2147483647 w 600"/>
                  <a:gd name="T5" fmla="*/ 2147483647 h 678"/>
                  <a:gd name="T6" fmla="*/ 2147483647 w 600"/>
                  <a:gd name="T7" fmla="*/ 2147483647 h 678"/>
                  <a:gd name="T8" fmla="*/ 2147483647 w 600"/>
                  <a:gd name="T9" fmla="*/ 2147483647 h 678"/>
                  <a:gd name="T10" fmla="*/ 2147483647 w 600"/>
                  <a:gd name="T11" fmla="*/ 2147483647 h 678"/>
                  <a:gd name="T12" fmla="*/ 2147483647 w 600"/>
                  <a:gd name="T13" fmla="*/ 2147483647 h 678"/>
                  <a:gd name="T14" fmla="*/ 2147483647 w 600"/>
                  <a:gd name="T15" fmla="*/ 2147483647 h 678"/>
                  <a:gd name="T16" fmla="*/ 2147483647 w 600"/>
                  <a:gd name="T17" fmla="*/ 2147483647 h 678"/>
                  <a:gd name="T18" fmla="*/ 2147483647 w 600"/>
                  <a:gd name="T19" fmla="*/ 2147483647 h 678"/>
                  <a:gd name="T20" fmla="*/ 2147483647 w 600"/>
                  <a:gd name="T21" fmla="*/ 2147483647 h 678"/>
                  <a:gd name="T22" fmla="*/ 2147483647 w 600"/>
                  <a:gd name="T23" fmla="*/ 2147483647 h 678"/>
                  <a:gd name="T24" fmla="*/ 2147483647 w 600"/>
                  <a:gd name="T25" fmla="*/ 2147483647 h 678"/>
                  <a:gd name="T26" fmla="*/ 2147483647 w 600"/>
                  <a:gd name="T27" fmla="*/ 2147483647 h 678"/>
                  <a:gd name="T28" fmla="*/ 2147483647 w 600"/>
                  <a:gd name="T29" fmla="*/ 2147483647 h 678"/>
                  <a:gd name="T30" fmla="*/ 2147483647 w 600"/>
                  <a:gd name="T31" fmla="*/ 2147483647 h 678"/>
                  <a:gd name="T32" fmla="*/ 2147483647 w 600"/>
                  <a:gd name="T33" fmla="*/ 2147483647 h 678"/>
                  <a:gd name="T34" fmla="*/ 2147483647 w 600"/>
                  <a:gd name="T35" fmla="*/ 2147483647 h 678"/>
                  <a:gd name="T36" fmla="*/ 2147483647 w 600"/>
                  <a:gd name="T37" fmla="*/ 2147483647 h 678"/>
                  <a:gd name="T38" fmla="*/ 2147483647 w 600"/>
                  <a:gd name="T39" fmla="*/ 2147483647 h 678"/>
                  <a:gd name="T40" fmla="*/ 2147483647 w 600"/>
                  <a:gd name="T41" fmla="*/ 2147483647 h 678"/>
                  <a:gd name="T42" fmla="*/ 2147483647 w 600"/>
                  <a:gd name="T43" fmla="*/ 2147483647 h 678"/>
                  <a:gd name="T44" fmla="*/ 2147483647 w 600"/>
                  <a:gd name="T45" fmla="*/ 2147483647 h 678"/>
                  <a:gd name="T46" fmla="*/ 2147483647 w 600"/>
                  <a:gd name="T47" fmla="*/ 2147483647 h 678"/>
                  <a:gd name="T48" fmla="*/ 2147483647 w 600"/>
                  <a:gd name="T49" fmla="*/ 2147483647 h 678"/>
                  <a:gd name="T50" fmla="*/ 2147483647 w 600"/>
                  <a:gd name="T51" fmla="*/ 2147483647 h 678"/>
                  <a:gd name="T52" fmla="*/ 2147483647 w 600"/>
                  <a:gd name="T53" fmla="*/ 0 h 678"/>
                  <a:gd name="T54" fmla="*/ 2147483647 w 600"/>
                  <a:gd name="T55" fmla="*/ 2147483647 h 678"/>
                  <a:gd name="T56" fmla="*/ 2147483647 w 600"/>
                  <a:gd name="T57" fmla="*/ 2147483647 h 678"/>
                  <a:gd name="T58" fmla="*/ 0 w 600"/>
                  <a:gd name="T59" fmla="*/ 2147483647 h 678"/>
                  <a:gd name="T60" fmla="*/ 2147483647 w 600"/>
                  <a:gd name="T61" fmla="*/ 2147483647 h 678"/>
                  <a:gd name="T62" fmla="*/ 2147483647 w 600"/>
                  <a:gd name="T63" fmla="*/ 2147483647 h 678"/>
                  <a:gd name="T64" fmla="*/ 2147483647 w 600"/>
                  <a:gd name="T65" fmla="*/ 2147483647 h 678"/>
                  <a:gd name="T66" fmla="*/ 2147483647 w 600"/>
                  <a:gd name="T67" fmla="*/ 2147483647 h 678"/>
                  <a:gd name="T68" fmla="*/ 2147483647 w 600"/>
                  <a:gd name="T69" fmla="*/ 2147483647 h 678"/>
                  <a:gd name="T70" fmla="*/ 2147483647 w 600"/>
                  <a:gd name="T71" fmla="*/ 2147483647 h 678"/>
                  <a:gd name="T72" fmla="*/ 2147483647 w 600"/>
                  <a:gd name="T73" fmla="*/ 2147483647 h 678"/>
                  <a:gd name="T74" fmla="*/ 2147483647 w 600"/>
                  <a:gd name="T75" fmla="*/ 2147483647 h 678"/>
                  <a:gd name="T76" fmla="*/ 2147483647 w 600"/>
                  <a:gd name="T77" fmla="*/ 2147483647 h 678"/>
                  <a:gd name="T78" fmla="*/ 2147483647 w 600"/>
                  <a:gd name="T79" fmla="*/ 2147483647 h 678"/>
                  <a:gd name="T80" fmla="*/ 2147483647 w 600"/>
                  <a:gd name="T81" fmla="*/ 2147483647 h 678"/>
                  <a:gd name="T82" fmla="*/ 2147483647 w 600"/>
                  <a:gd name="T83" fmla="*/ 2147483647 h 678"/>
                  <a:gd name="T84" fmla="*/ 2147483647 w 600"/>
                  <a:gd name="T85" fmla="*/ 2147483647 h 678"/>
                  <a:gd name="T86" fmla="*/ 2147483647 w 600"/>
                  <a:gd name="T87" fmla="*/ 2147483647 h 678"/>
                  <a:gd name="T88" fmla="*/ 2147483647 w 600"/>
                  <a:gd name="T89" fmla="*/ 2147483647 h 678"/>
                  <a:gd name="T90" fmla="*/ 2147483647 w 600"/>
                  <a:gd name="T91" fmla="*/ 2147483647 h 678"/>
                  <a:gd name="T92" fmla="*/ 2147483647 w 600"/>
                  <a:gd name="T93" fmla="*/ 2147483647 h 678"/>
                  <a:gd name="T94" fmla="*/ 2147483647 w 600"/>
                  <a:gd name="T95" fmla="*/ 2147483647 h 678"/>
                  <a:gd name="T96" fmla="*/ 2147483647 w 600"/>
                  <a:gd name="T97" fmla="*/ 2147483647 h 678"/>
                  <a:gd name="T98" fmla="*/ 2147483647 w 600"/>
                  <a:gd name="T99" fmla="*/ 2147483647 h 678"/>
                  <a:gd name="T100" fmla="*/ 2147483647 w 600"/>
                  <a:gd name="T101" fmla="*/ 2147483647 h 678"/>
                  <a:gd name="T102" fmla="*/ 2147483647 w 600"/>
                  <a:gd name="T103" fmla="*/ 2147483647 h 678"/>
                  <a:gd name="T104" fmla="*/ 2147483647 w 600"/>
                  <a:gd name="T105" fmla="*/ 2147483647 h 678"/>
                  <a:gd name="T106" fmla="*/ 2147483647 w 600"/>
                  <a:gd name="T107" fmla="*/ 2147483647 h 678"/>
                  <a:gd name="T108" fmla="*/ 2147483647 w 600"/>
                  <a:gd name="T109" fmla="*/ 2147483647 h 678"/>
                  <a:gd name="T110" fmla="*/ 2147483647 w 600"/>
                  <a:gd name="T111" fmla="*/ 2147483647 h 678"/>
                  <a:gd name="T112" fmla="*/ 2147483647 w 600"/>
                  <a:gd name="T113" fmla="*/ 2147483647 h 678"/>
                  <a:gd name="T114" fmla="*/ 2147483647 w 600"/>
                  <a:gd name="T115" fmla="*/ 2147483647 h 678"/>
                  <a:gd name="T116" fmla="*/ 2147483647 w 600"/>
                  <a:gd name="T117" fmla="*/ 2147483647 h 678"/>
                  <a:gd name="T118" fmla="*/ 2147483647 w 600"/>
                  <a:gd name="T119" fmla="*/ 2147483647 h 67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600"/>
                  <a:gd name="T181" fmla="*/ 0 h 678"/>
                  <a:gd name="T182" fmla="*/ 600 w 600"/>
                  <a:gd name="T183" fmla="*/ 678 h 67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600" h="678">
                    <a:moveTo>
                      <a:pt x="480" y="660"/>
                    </a:moveTo>
                    <a:lnTo>
                      <a:pt x="492" y="678"/>
                    </a:lnTo>
                    <a:lnTo>
                      <a:pt x="492" y="660"/>
                    </a:lnTo>
                    <a:lnTo>
                      <a:pt x="498" y="654"/>
                    </a:lnTo>
                    <a:lnTo>
                      <a:pt x="510" y="654"/>
                    </a:lnTo>
                    <a:lnTo>
                      <a:pt x="516" y="660"/>
                    </a:lnTo>
                    <a:lnTo>
                      <a:pt x="516" y="666"/>
                    </a:lnTo>
                    <a:lnTo>
                      <a:pt x="522" y="660"/>
                    </a:lnTo>
                    <a:lnTo>
                      <a:pt x="534" y="636"/>
                    </a:lnTo>
                    <a:lnTo>
                      <a:pt x="546" y="624"/>
                    </a:lnTo>
                    <a:lnTo>
                      <a:pt x="552" y="624"/>
                    </a:lnTo>
                    <a:lnTo>
                      <a:pt x="558" y="618"/>
                    </a:lnTo>
                    <a:lnTo>
                      <a:pt x="570" y="612"/>
                    </a:lnTo>
                    <a:lnTo>
                      <a:pt x="576" y="600"/>
                    </a:lnTo>
                    <a:lnTo>
                      <a:pt x="588" y="594"/>
                    </a:lnTo>
                    <a:lnTo>
                      <a:pt x="588" y="516"/>
                    </a:lnTo>
                    <a:lnTo>
                      <a:pt x="582" y="498"/>
                    </a:lnTo>
                    <a:lnTo>
                      <a:pt x="582" y="486"/>
                    </a:lnTo>
                    <a:lnTo>
                      <a:pt x="588" y="474"/>
                    </a:lnTo>
                    <a:lnTo>
                      <a:pt x="588" y="468"/>
                    </a:lnTo>
                    <a:lnTo>
                      <a:pt x="594" y="462"/>
                    </a:lnTo>
                    <a:lnTo>
                      <a:pt x="594" y="432"/>
                    </a:lnTo>
                    <a:lnTo>
                      <a:pt x="600" y="414"/>
                    </a:lnTo>
                    <a:lnTo>
                      <a:pt x="600" y="396"/>
                    </a:lnTo>
                    <a:lnTo>
                      <a:pt x="594" y="384"/>
                    </a:lnTo>
                    <a:lnTo>
                      <a:pt x="582" y="372"/>
                    </a:lnTo>
                    <a:lnTo>
                      <a:pt x="570" y="366"/>
                    </a:lnTo>
                    <a:lnTo>
                      <a:pt x="558" y="366"/>
                    </a:lnTo>
                    <a:lnTo>
                      <a:pt x="540" y="384"/>
                    </a:lnTo>
                    <a:lnTo>
                      <a:pt x="528" y="384"/>
                    </a:lnTo>
                    <a:lnTo>
                      <a:pt x="516" y="378"/>
                    </a:lnTo>
                    <a:lnTo>
                      <a:pt x="504" y="354"/>
                    </a:lnTo>
                    <a:lnTo>
                      <a:pt x="504" y="336"/>
                    </a:lnTo>
                    <a:lnTo>
                      <a:pt x="498" y="318"/>
                    </a:lnTo>
                    <a:lnTo>
                      <a:pt x="498" y="294"/>
                    </a:lnTo>
                    <a:lnTo>
                      <a:pt x="492" y="276"/>
                    </a:lnTo>
                    <a:lnTo>
                      <a:pt x="492" y="252"/>
                    </a:lnTo>
                    <a:lnTo>
                      <a:pt x="486" y="246"/>
                    </a:lnTo>
                    <a:lnTo>
                      <a:pt x="474" y="240"/>
                    </a:lnTo>
                    <a:lnTo>
                      <a:pt x="402" y="240"/>
                    </a:lnTo>
                    <a:lnTo>
                      <a:pt x="360" y="234"/>
                    </a:lnTo>
                    <a:lnTo>
                      <a:pt x="324" y="222"/>
                    </a:lnTo>
                    <a:lnTo>
                      <a:pt x="318" y="216"/>
                    </a:lnTo>
                    <a:lnTo>
                      <a:pt x="312" y="204"/>
                    </a:lnTo>
                    <a:lnTo>
                      <a:pt x="312" y="162"/>
                    </a:lnTo>
                    <a:lnTo>
                      <a:pt x="318" y="150"/>
                    </a:lnTo>
                    <a:lnTo>
                      <a:pt x="318" y="132"/>
                    </a:lnTo>
                    <a:lnTo>
                      <a:pt x="306" y="132"/>
                    </a:lnTo>
                    <a:lnTo>
                      <a:pt x="306" y="96"/>
                    </a:lnTo>
                    <a:lnTo>
                      <a:pt x="294" y="90"/>
                    </a:lnTo>
                    <a:lnTo>
                      <a:pt x="288" y="84"/>
                    </a:lnTo>
                    <a:lnTo>
                      <a:pt x="288" y="78"/>
                    </a:lnTo>
                    <a:lnTo>
                      <a:pt x="270" y="42"/>
                    </a:lnTo>
                    <a:lnTo>
                      <a:pt x="216" y="0"/>
                    </a:lnTo>
                    <a:lnTo>
                      <a:pt x="138" y="12"/>
                    </a:lnTo>
                    <a:lnTo>
                      <a:pt x="36" y="30"/>
                    </a:lnTo>
                    <a:lnTo>
                      <a:pt x="30" y="60"/>
                    </a:lnTo>
                    <a:lnTo>
                      <a:pt x="18" y="72"/>
                    </a:lnTo>
                    <a:lnTo>
                      <a:pt x="6" y="78"/>
                    </a:lnTo>
                    <a:lnTo>
                      <a:pt x="0" y="84"/>
                    </a:lnTo>
                    <a:lnTo>
                      <a:pt x="0" y="96"/>
                    </a:lnTo>
                    <a:lnTo>
                      <a:pt x="12" y="120"/>
                    </a:lnTo>
                    <a:lnTo>
                      <a:pt x="12" y="126"/>
                    </a:lnTo>
                    <a:lnTo>
                      <a:pt x="18" y="132"/>
                    </a:lnTo>
                    <a:lnTo>
                      <a:pt x="18" y="156"/>
                    </a:lnTo>
                    <a:lnTo>
                      <a:pt x="6" y="228"/>
                    </a:lnTo>
                    <a:lnTo>
                      <a:pt x="6" y="246"/>
                    </a:lnTo>
                    <a:lnTo>
                      <a:pt x="24" y="264"/>
                    </a:lnTo>
                    <a:lnTo>
                      <a:pt x="24" y="270"/>
                    </a:lnTo>
                    <a:lnTo>
                      <a:pt x="30" y="276"/>
                    </a:lnTo>
                    <a:lnTo>
                      <a:pt x="36" y="288"/>
                    </a:lnTo>
                    <a:lnTo>
                      <a:pt x="48" y="294"/>
                    </a:lnTo>
                    <a:lnTo>
                      <a:pt x="54" y="306"/>
                    </a:lnTo>
                    <a:lnTo>
                      <a:pt x="60" y="312"/>
                    </a:lnTo>
                    <a:lnTo>
                      <a:pt x="84" y="324"/>
                    </a:lnTo>
                    <a:lnTo>
                      <a:pt x="102" y="342"/>
                    </a:lnTo>
                    <a:lnTo>
                      <a:pt x="114" y="348"/>
                    </a:lnTo>
                    <a:lnTo>
                      <a:pt x="120" y="366"/>
                    </a:lnTo>
                    <a:lnTo>
                      <a:pt x="126" y="366"/>
                    </a:lnTo>
                    <a:lnTo>
                      <a:pt x="132" y="372"/>
                    </a:lnTo>
                    <a:lnTo>
                      <a:pt x="168" y="390"/>
                    </a:lnTo>
                    <a:lnTo>
                      <a:pt x="198" y="390"/>
                    </a:lnTo>
                    <a:lnTo>
                      <a:pt x="210" y="396"/>
                    </a:lnTo>
                    <a:lnTo>
                      <a:pt x="216" y="402"/>
                    </a:lnTo>
                    <a:lnTo>
                      <a:pt x="228" y="408"/>
                    </a:lnTo>
                    <a:lnTo>
                      <a:pt x="234" y="414"/>
                    </a:lnTo>
                    <a:lnTo>
                      <a:pt x="240" y="414"/>
                    </a:lnTo>
                    <a:lnTo>
                      <a:pt x="246" y="420"/>
                    </a:lnTo>
                    <a:lnTo>
                      <a:pt x="258" y="426"/>
                    </a:lnTo>
                    <a:lnTo>
                      <a:pt x="276" y="438"/>
                    </a:lnTo>
                    <a:lnTo>
                      <a:pt x="312" y="456"/>
                    </a:lnTo>
                    <a:lnTo>
                      <a:pt x="318" y="462"/>
                    </a:lnTo>
                    <a:lnTo>
                      <a:pt x="330" y="462"/>
                    </a:lnTo>
                    <a:lnTo>
                      <a:pt x="342" y="468"/>
                    </a:lnTo>
                    <a:lnTo>
                      <a:pt x="360" y="474"/>
                    </a:lnTo>
                    <a:lnTo>
                      <a:pt x="372" y="480"/>
                    </a:lnTo>
                    <a:lnTo>
                      <a:pt x="378" y="486"/>
                    </a:lnTo>
                    <a:lnTo>
                      <a:pt x="372" y="492"/>
                    </a:lnTo>
                    <a:lnTo>
                      <a:pt x="372" y="504"/>
                    </a:lnTo>
                    <a:lnTo>
                      <a:pt x="366" y="510"/>
                    </a:lnTo>
                    <a:lnTo>
                      <a:pt x="360" y="522"/>
                    </a:lnTo>
                    <a:lnTo>
                      <a:pt x="366" y="528"/>
                    </a:lnTo>
                    <a:lnTo>
                      <a:pt x="372" y="540"/>
                    </a:lnTo>
                    <a:lnTo>
                      <a:pt x="372" y="546"/>
                    </a:lnTo>
                    <a:lnTo>
                      <a:pt x="366" y="552"/>
                    </a:lnTo>
                    <a:lnTo>
                      <a:pt x="348" y="552"/>
                    </a:lnTo>
                    <a:lnTo>
                      <a:pt x="348" y="588"/>
                    </a:lnTo>
                    <a:lnTo>
                      <a:pt x="342" y="594"/>
                    </a:lnTo>
                    <a:lnTo>
                      <a:pt x="336" y="606"/>
                    </a:lnTo>
                    <a:lnTo>
                      <a:pt x="330" y="612"/>
                    </a:lnTo>
                    <a:lnTo>
                      <a:pt x="324" y="624"/>
                    </a:lnTo>
                    <a:lnTo>
                      <a:pt x="324" y="636"/>
                    </a:lnTo>
                    <a:lnTo>
                      <a:pt x="330" y="642"/>
                    </a:lnTo>
                    <a:lnTo>
                      <a:pt x="354" y="642"/>
                    </a:lnTo>
                    <a:lnTo>
                      <a:pt x="366" y="636"/>
                    </a:lnTo>
                    <a:lnTo>
                      <a:pt x="372" y="636"/>
                    </a:lnTo>
                    <a:lnTo>
                      <a:pt x="384" y="642"/>
                    </a:lnTo>
                    <a:lnTo>
                      <a:pt x="390" y="648"/>
                    </a:lnTo>
                    <a:lnTo>
                      <a:pt x="402" y="654"/>
                    </a:lnTo>
                    <a:lnTo>
                      <a:pt x="420" y="660"/>
                    </a:lnTo>
                    <a:lnTo>
                      <a:pt x="480" y="66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lumMod val="50000"/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2" name="Papua New Guine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99AE893-8C8D-4692-B2CB-42500B17A56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975039" y="4588492"/>
                <a:ext cx="482220" cy="325940"/>
              </a:xfrm>
              <a:custGeom>
                <a:avLst/>
                <a:gdLst>
                  <a:gd name="T0" fmla="*/ 2147483647 w 1086"/>
                  <a:gd name="T1" fmla="*/ 2147483647 h 726"/>
                  <a:gd name="T2" fmla="*/ 2147483647 w 1086"/>
                  <a:gd name="T3" fmla="*/ 2147483647 h 726"/>
                  <a:gd name="T4" fmla="*/ 2147483647 w 1086"/>
                  <a:gd name="T5" fmla="*/ 2147483647 h 726"/>
                  <a:gd name="T6" fmla="*/ 2147483647 w 1086"/>
                  <a:gd name="T7" fmla="*/ 2147483647 h 726"/>
                  <a:gd name="T8" fmla="*/ 2147483647 w 1086"/>
                  <a:gd name="T9" fmla="*/ 2147483647 h 726"/>
                  <a:gd name="T10" fmla="*/ 2147483647 w 1086"/>
                  <a:gd name="T11" fmla="*/ 2147483647 h 726"/>
                  <a:gd name="T12" fmla="*/ 2147483647 w 1086"/>
                  <a:gd name="T13" fmla="*/ 2147483647 h 726"/>
                  <a:gd name="T14" fmla="*/ 2147483647 w 1086"/>
                  <a:gd name="T15" fmla="*/ 2147483647 h 726"/>
                  <a:gd name="T16" fmla="*/ 2147483647 w 1086"/>
                  <a:gd name="T17" fmla="*/ 2147483647 h 726"/>
                  <a:gd name="T18" fmla="*/ 2147483647 w 1086"/>
                  <a:gd name="T19" fmla="*/ 2147483647 h 726"/>
                  <a:gd name="T20" fmla="*/ 2147483647 w 1086"/>
                  <a:gd name="T21" fmla="*/ 2147483647 h 726"/>
                  <a:gd name="T22" fmla="*/ 2147483647 w 1086"/>
                  <a:gd name="T23" fmla="*/ 2147483647 h 726"/>
                  <a:gd name="T24" fmla="*/ 2147483647 w 1086"/>
                  <a:gd name="T25" fmla="*/ 2147483647 h 726"/>
                  <a:gd name="T26" fmla="*/ 2147483647 w 1086"/>
                  <a:gd name="T27" fmla="*/ 2147483647 h 726"/>
                  <a:gd name="T28" fmla="*/ 2147483647 w 1086"/>
                  <a:gd name="T29" fmla="*/ 2147483647 h 726"/>
                  <a:gd name="T30" fmla="*/ 2147483647 w 1086"/>
                  <a:gd name="T31" fmla="*/ 2147483647 h 726"/>
                  <a:gd name="T32" fmla="*/ 2147483647 w 1086"/>
                  <a:gd name="T33" fmla="*/ 2147483647 h 726"/>
                  <a:gd name="T34" fmla="*/ 2147483647 w 1086"/>
                  <a:gd name="T35" fmla="*/ 2147483647 h 726"/>
                  <a:gd name="T36" fmla="*/ 2147483647 w 1086"/>
                  <a:gd name="T37" fmla="*/ 2147483647 h 726"/>
                  <a:gd name="T38" fmla="*/ 2147483647 w 1086"/>
                  <a:gd name="T39" fmla="*/ 2147483647 h 726"/>
                  <a:gd name="T40" fmla="*/ 2147483647 w 1086"/>
                  <a:gd name="T41" fmla="*/ 2147483647 h 726"/>
                  <a:gd name="T42" fmla="*/ 2147483647 w 1086"/>
                  <a:gd name="T43" fmla="*/ 2147483647 h 726"/>
                  <a:gd name="T44" fmla="*/ 2147483647 w 1086"/>
                  <a:gd name="T45" fmla="*/ 2147483647 h 726"/>
                  <a:gd name="T46" fmla="*/ 2147483647 w 1086"/>
                  <a:gd name="T47" fmla="*/ 2147483647 h 726"/>
                  <a:gd name="T48" fmla="*/ 2147483647 w 1086"/>
                  <a:gd name="T49" fmla="*/ 2147483647 h 726"/>
                  <a:gd name="T50" fmla="*/ 2147483647 w 1086"/>
                  <a:gd name="T51" fmla="*/ 2147483647 h 726"/>
                  <a:gd name="T52" fmla="*/ 2147483647 w 1086"/>
                  <a:gd name="T53" fmla="*/ 2147483647 h 726"/>
                  <a:gd name="T54" fmla="*/ 2147483647 w 1086"/>
                  <a:gd name="T55" fmla="*/ 2147483647 h 726"/>
                  <a:gd name="T56" fmla="*/ 2147483647 w 1086"/>
                  <a:gd name="T57" fmla="*/ 2147483647 h 726"/>
                  <a:gd name="T58" fmla="*/ 2147483647 w 1086"/>
                  <a:gd name="T59" fmla="*/ 2147483647 h 726"/>
                  <a:gd name="T60" fmla="*/ 2147483647 w 1086"/>
                  <a:gd name="T61" fmla="*/ 2147483647 h 726"/>
                  <a:gd name="T62" fmla="*/ 2147483647 w 1086"/>
                  <a:gd name="T63" fmla="*/ 2147483647 h 726"/>
                  <a:gd name="T64" fmla="*/ 2147483647 w 1086"/>
                  <a:gd name="T65" fmla="*/ 2147483647 h 726"/>
                  <a:gd name="T66" fmla="*/ 2147483647 w 1086"/>
                  <a:gd name="T67" fmla="*/ 2147483647 h 726"/>
                  <a:gd name="T68" fmla="*/ 2147483647 w 1086"/>
                  <a:gd name="T69" fmla="*/ 2147483647 h 726"/>
                  <a:gd name="T70" fmla="*/ 2147483647 w 1086"/>
                  <a:gd name="T71" fmla="*/ 2147483647 h 726"/>
                  <a:gd name="T72" fmla="*/ 2147483647 w 1086"/>
                  <a:gd name="T73" fmla="*/ 2147483647 h 726"/>
                  <a:gd name="T74" fmla="*/ 2147483647 w 1086"/>
                  <a:gd name="T75" fmla="*/ 2147483647 h 726"/>
                  <a:gd name="T76" fmla="*/ 2147483647 w 1086"/>
                  <a:gd name="T77" fmla="*/ 2147483647 h 726"/>
                  <a:gd name="T78" fmla="*/ 2147483647 w 1086"/>
                  <a:gd name="T79" fmla="*/ 2147483647 h 726"/>
                  <a:gd name="T80" fmla="*/ 2147483647 w 1086"/>
                  <a:gd name="T81" fmla="*/ 2147483647 h 726"/>
                  <a:gd name="T82" fmla="*/ 2147483647 w 1086"/>
                  <a:gd name="T83" fmla="*/ 2147483647 h 726"/>
                  <a:gd name="T84" fmla="*/ 2147483647 w 1086"/>
                  <a:gd name="T85" fmla="*/ 2147483647 h 726"/>
                  <a:gd name="T86" fmla="*/ 2147483647 w 1086"/>
                  <a:gd name="T87" fmla="*/ 2147483647 h 726"/>
                  <a:gd name="T88" fmla="*/ 2147483647 w 1086"/>
                  <a:gd name="T89" fmla="*/ 2147483647 h 726"/>
                  <a:gd name="T90" fmla="*/ 2147483647 w 1086"/>
                  <a:gd name="T91" fmla="*/ 2147483647 h 726"/>
                  <a:gd name="T92" fmla="*/ 2147483647 w 1086"/>
                  <a:gd name="T93" fmla="*/ 2147483647 h 726"/>
                  <a:gd name="T94" fmla="*/ 2147483647 w 1086"/>
                  <a:gd name="T95" fmla="*/ 2147483647 h 726"/>
                  <a:gd name="T96" fmla="*/ 2147483647 w 1086"/>
                  <a:gd name="T97" fmla="*/ 2147483647 h 726"/>
                  <a:gd name="T98" fmla="*/ 2147483647 w 1086"/>
                  <a:gd name="T99" fmla="*/ 2147483647 h 726"/>
                  <a:gd name="T100" fmla="*/ 2147483647 w 1086"/>
                  <a:gd name="T101" fmla="*/ 2147483647 h 726"/>
                  <a:gd name="T102" fmla="*/ 2147483647 w 1086"/>
                  <a:gd name="T103" fmla="*/ 2147483647 h 726"/>
                  <a:gd name="T104" fmla="*/ 2147483647 w 1086"/>
                  <a:gd name="T105" fmla="*/ 2147483647 h 726"/>
                  <a:gd name="T106" fmla="*/ 2147483647 w 1086"/>
                  <a:gd name="T107" fmla="*/ 2147483647 h 726"/>
                  <a:gd name="T108" fmla="*/ 2147483647 w 1086"/>
                  <a:gd name="T109" fmla="*/ 2147483647 h 726"/>
                  <a:gd name="T110" fmla="*/ 2147483647 w 1086"/>
                  <a:gd name="T111" fmla="*/ 2147483647 h 726"/>
                  <a:gd name="T112" fmla="*/ 2147483647 w 1086"/>
                  <a:gd name="T113" fmla="*/ 2147483647 h 72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086"/>
                  <a:gd name="T172" fmla="*/ 0 h 726"/>
                  <a:gd name="T173" fmla="*/ 1086 w 1086"/>
                  <a:gd name="T174" fmla="*/ 726 h 72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086" h="726">
                    <a:moveTo>
                      <a:pt x="486" y="0"/>
                    </a:moveTo>
                    <a:lnTo>
                      <a:pt x="462" y="0"/>
                    </a:lnTo>
                    <a:lnTo>
                      <a:pt x="450" y="6"/>
                    </a:lnTo>
                    <a:lnTo>
                      <a:pt x="444" y="12"/>
                    </a:lnTo>
                    <a:lnTo>
                      <a:pt x="432" y="18"/>
                    </a:lnTo>
                    <a:lnTo>
                      <a:pt x="462" y="36"/>
                    </a:lnTo>
                    <a:lnTo>
                      <a:pt x="474" y="36"/>
                    </a:lnTo>
                    <a:lnTo>
                      <a:pt x="486" y="30"/>
                    </a:lnTo>
                    <a:lnTo>
                      <a:pt x="498" y="18"/>
                    </a:lnTo>
                    <a:lnTo>
                      <a:pt x="492" y="6"/>
                    </a:lnTo>
                    <a:lnTo>
                      <a:pt x="486" y="0"/>
                    </a:lnTo>
                    <a:close/>
                    <a:moveTo>
                      <a:pt x="756" y="216"/>
                    </a:moveTo>
                    <a:lnTo>
                      <a:pt x="750" y="222"/>
                    </a:lnTo>
                    <a:lnTo>
                      <a:pt x="750" y="228"/>
                    </a:lnTo>
                    <a:lnTo>
                      <a:pt x="756" y="234"/>
                    </a:lnTo>
                    <a:lnTo>
                      <a:pt x="768" y="240"/>
                    </a:lnTo>
                    <a:lnTo>
                      <a:pt x="774" y="246"/>
                    </a:lnTo>
                    <a:lnTo>
                      <a:pt x="774" y="264"/>
                    </a:lnTo>
                    <a:lnTo>
                      <a:pt x="702" y="300"/>
                    </a:lnTo>
                    <a:lnTo>
                      <a:pt x="666" y="300"/>
                    </a:lnTo>
                    <a:lnTo>
                      <a:pt x="630" y="312"/>
                    </a:lnTo>
                    <a:lnTo>
                      <a:pt x="594" y="330"/>
                    </a:lnTo>
                    <a:lnTo>
                      <a:pt x="588" y="336"/>
                    </a:lnTo>
                    <a:lnTo>
                      <a:pt x="570" y="336"/>
                    </a:lnTo>
                    <a:lnTo>
                      <a:pt x="564" y="342"/>
                    </a:lnTo>
                    <a:lnTo>
                      <a:pt x="588" y="378"/>
                    </a:lnTo>
                    <a:lnTo>
                      <a:pt x="684" y="378"/>
                    </a:lnTo>
                    <a:lnTo>
                      <a:pt x="702" y="366"/>
                    </a:lnTo>
                    <a:lnTo>
                      <a:pt x="738" y="366"/>
                    </a:lnTo>
                    <a:lnTo>
                      <a:pt x="750" y="360"/>
                    </a:lnTo>
                    <a:lnTo>
                      <a:pt x="774" y="336"/>
                    </a:lnTo>
                    <a:lnTo>
                      <a:pt x="774" y="330"/>
                    </a:lnTo>
                    <a:lnTo>
                      <a:pt x="804" y="324"/>
                    </a:lnTo>
                    <a:lnTo>
                      <a:pt x="798" y="300"/>
                    </a:lnTo>
                    <a:lnTo>
                      <a:pt x="822" y="300"/>
                    </a:lnTo>
                    <a:lnTo>
                      <a:pt x="822" y="288"/>
                    </a:lnTo>
                    <a:lnTo>
                      <a:pt x="828" y="258"/>
                    </a:lnTo>
                    <a:lnTo>
                      <a:pt x="828" y="228"/>
                    </a:lnTo>
                    <a:lnTo>
                      <a:pt x="822" y="198"/>
                    </a:lnTo>
                    <a:lnTo>
                      <a:pt x="816" y="192"/>
                    </a:lnTo>
                    <a:lnTo>
                      <a:pt x="804" y="186"/>
                    </a:lnTo>
                    <a:lnTo>
                      <a:pt x="792" y="192"/>
                    </a:lnTo>
                    <a:lnTo>
                      <a:pt x="786" y="198"/>
                    </a:lnTo>
                    <a:lnTo>
                      <a:pt x="762" y="210"/>
                    </a:lnTo>
                    <a:lnTo>
                      <a:pt x="756" y="216"/>
                    </a:lnTo>
                    <a:close/>
                    <a:moveTo>
                      <a:pt x="834" y="132"/>
                    </a:moveTo>
                    <a:lnTo>
                      <a:pt x="822" y="132"/>
                    </a:lnTo>
                    <a:lnTo>
                      <a:pt x="816" y="120"/>
                    </a:lnTo>
                    <a:lnTo>
                      <a:pt x="804" y="108"/>
                    </a:lnTo>
                    <a:lnTo>
                      <a:pt x="792" y="102"/>
                    </a:lnTo>
                    <a:lnTo>
                      <a:pt x="786" y="90"/>
                    </a:lnTo>
                    <a:lnTo>
                      <a:pt x="774" y="78"/>
                    </a:lnTo>
                    <a:lnTo>
                      <a:pt x="768" y="78"/>
                    </a:lnTo>
                    <a:lnTo>
                      <a:pt x="762" y="72"/>
                    </a:lnTo>
                    <a:lnTo>
                      <a:pt x="756" y="72"/>
                    </a:lnTo>
                    <a:lnTo>
                      <a:pt x="732" y="36"/>
                    </a:lnTo>
                    <a:lnTo>
                      <a:pt x="720" y="84"/>
                    </a:lnTo>
                    <a:lnTo>
                      <a:pt x="762" y="96"/>
                    </a:lnTo>
                    <a:lnTo>
                      <a:pt x="816" y="150"/>
                    </a:lnTo>
                    <a:lnTo>
                      <a:pt x="828" y="150"/>
                    </a:lnTo>
                    <a:lnTo>
                      <a:pt x="834" y="156"/>
                    </a:lnTo>
                    <a:lnTo>
                      <a:pt x="846" y="162"/>
                    </a:lnTo>
                    <a:lnTo>
                      <a:pt x="852" y="174"/>
                    </a:lnTo>
                    <a:lnTo>
                      <a:pt x="852" y="180"/>
                    </a:lnTo>
                    <a:lnTo>
                      <a:pt x="858" y="192"/>
                    </a:lnTo>
                    <a:lnTo>
                      <a:pt x="852" y="204"/>
                    </a:lnTo>
                    <a:lnTo>
                      <a:pt x="852" y="240"/>
                    </a:lnTo>
                    <a:lnTo>
                      <a:pt x="858" y="252"/>
                    </a:lnTo>
                    <a:lnTo>
                      <a:pt x="864" y="258"/>
                    </a:lnTo>
                    <a:lnTo>
                      <a:pt x="882" y="258"/>
                    </a:lnTo>
                    <a:lnTo>
                      <a:pt x="894" y="246"/>
                    </a:lnTo>
                    <a:lnTo>
                      <a:pt x="900" y="234"/>
                    </a:lnTo>
                    <a:lnTo>
                      <a:pt x="900" y="222"/>
                    </a:lnTo>
                    <a:lnTo>
                      <a:pt x="888" y="186"/>
                    </a:lnTo>
                    <a:lnTo>
                      <a:pt x="876" y="174"/>
                    </a:lnTo>
                    <a:lnTo>
                      <a:pt x="864" y="156"/>
                    </a:lnTo>
                    <a:lnTo>
                      <a:pt x="852" y="150"/>
                    </a:lnTo>
                    <a:lnTo>
                      <a:pt x="846" y="138"/>
                    </a:lnTo>
                    <a:lnTo>
                      <a:pt x="834" y="132"/>
                    </a:lnTo>
                    <a:close/>
                    <a:moveTo>
                      <a:pt x="1086" y="360"/>
                    </a:moveTo>
                    <a:lnTo>
                      <a:pt x="1020" y="294"/>
                    </a:lnTo>
                    <a:lnTo>
                      <a:pt x="1020" y="288"/>
                    </a:lnTo>
                    <a:lnTo>
                      <a:pt x="1002" y="270"/>
                    </a:lnTo>
                    <a:lnTo>
                      <a:pt x="984" y="270"/>
                    </a:lnTo>
                    <a:lnTo>
                      <a:pt x="978" y="276"/>
                    </a:lnTo>
                    <a:lnTo>
                      <a:pt x="978" y="300"/>
                    </a:lnTo>
                    <a:lnTo>
                      <a:pt x="996" y="330"/>
                    </a:lnTo>
                    <a:lnTo>
                      <a:pt x="1020" y="378"/>
                    </a:lnTo>
                    <a:lnTo>
                      <a:pt x="1086" y="438"/>
                    </a:lnTo>
                    <a:lnTo>
                      <a:pt x="1086" y="360"/>
                    </a:lnTo>
                    <a:close/>
                    <a:moveTo>
                      <a:pt x="672" y="672"/>
                    </a:moveTo>
                    <a:lnTo>
                      <a:pt x="630" y="642"/>
                    </a:lnTo>
                    <a:lnTo>
                      <a:pt x="648" y="630"/>
                    </a:lnTo>
                    <a:lnTo>
                      <a:pt x="636" y="630"/>
                    </a:lnTo>
                    <a:lnTo>
                      <a:pt x="624" y="624"/>
                    </a:lnTo>
                    <a:lnTo>
                      <a:pt x="612" y="624"/>
                    </a:lnTo>
                    <a:lnTo>
                      <a:pt x="600" y="618"/>
                    </a:lnTo>
                    <a:lnTo>
                      <a:pt x="594" y="606"/>
                    </a:lnTo>
                    <a:lnTo>
                      <a:pt x="594" y="594"/>
                    </a:lnTo>
                    <a:lnTo>
                      <a:pt x="600" y="582"/>
                    </a:lnTo>
                    <a:lnTo>
                      <a:pt x="600" y="564"/>
                    </a:lnTo>
                    <a:lnTo>
                      <a:pt x="588" y="570"/>
                    </a:lnTo>
                    <a:lnTo>
                      <a:pt x="582" y="570"/>
                    </a:lnTo>
                    <a:lnTo>
                      <a:pt x="570" y="576"/>
                    </a:lnTo>
                    <a:lnTo>
                      <a:pt x="564" y="576"/>
                    </a:lnTo>
                    <a:lnTo>
                      <a:pt x="552" y="582"/>
                    </a:lnTo>
                    <a:lnTo>
                      <a:pt x="552" y="552"/>
                    </a:lnTo>
                    <a:lnTo>
                      <a:pt x="528" y="540"/>
                    </a:lnTo>
                    <a:lnTo>
                      <a:pt x="528" y="492"/>
                    </a:lnTo>
                    <a:lnTo>
                      <a:pt x="474" y="456"/>
                    </a:lnTo>
                    <a:lnTo>
                      <a:pt x="450" y="402"/>
                    </a:lnTo>
                    <a:lnTo>
                      <a:pt x="474" y="390"/>
                    </a:lnTo>
                    <a:lnTo>
                      <a:pt x="480" y="384"/>
                    </a:lnTo>
                    <a:lnTo>
                      <a:pt x="492" y="378"/>
                    </a:lnTo>
                    <a:lnTo>
                      <a:pt x="504" y="366"/>
                    </a:lnTo>
                    <a:lnTo>
                      <a:pt x="504" y="360"/>
                    </a:lnTo>
                    <a:lnTo>
                      <a:pt x="492" y="336"/>
                    </a:lnTo>
                    <a:lnTo>
                      <a:pt x="468" y="324"/>
                    </a:lnTo>
                    <a:lnTo>
                      <a:pt x="462" y="318"/>
                    </a:lnTo>
                    <a:lnTo>
                      <a:pt x="456" y="318"/>
                    </a:lnTo>
                    <a:lnTo>
                      <a:pt x="450" y="312"/>
                    </a:lnTo>
                    <a:lnTo>
                      <a:pt x="438" y="312"/>
                    </a:lnTo>
                    <a:lnTo>
                      <a:pt x="402" y="300"/>
                    </a:lnTo>
                    <a:lnTo>
                      <a:pt x="390" y="300"/>
                    </a:lnTo>
                    <a:lnTo>
                      <a:pt x="378" y="294"/>
                    </a:lnTo>
                    <a:lnTo>
                      <a:pt x="372" y="294"/>
                    </a:lnTo>
                    <a:lnTo>
                      <a:pt x="372" y="234"/>
                    </a:lnTo>
                    <a:lnTo>
                      <a:pt x="366" y="222"/>
                    </a:lnTo>
                    <a:lnTo>
                      <a:pt x="354" y="210"/>
                    </a:lnTo>
                    <a:lnTo>
                      <a:pt x="342" y="210"/>
                    </a:lnTo>
                    <a:lnTo>
                      <a:pt x="288" y="156"/>
                    </a:lnTo>
                    <a:lnTo>
                      <a:pt x="252" y="162"/>
                    </a:lnTo>
                    <a:lnTo>
                      <a:pt x="216" y="126"/>
                    </a:lnTo>
                    <a:lnTo>
                      <a:pt x="186" y="120"/>
                    </a:lnTo>
                    <a:lnTo>
                      <a:pt x="66" y="60"/>
                    </a:lnTo>
                    <a:lnTo>
                      <a:pt x="42" y="72"/>
                    </a:lnTo>
                    <a:lnTo>
                      <a:pt x="0" y="42"/>
                    </a:lnTo>
                    <a:lnTo>
                      <a:pt x="42" y="72"/>
                    </a:lnTo>
                    <a:lnTo>
                      <a:pt x="36" y="102"/>
                    </a:lnTo>
                    <a:lnTo>
                      <a:pt x="36" y="240"/>
                    </a:lnTo>
                    <a:lnTo>
                      <a:pt x="30" y="258"/>
                    </a:lnTo>
                    <a:lnTo>
                      <a:pt x="30" y="372"/>
                    </a:lnTo>
                    <a:lnTo>
                      <a:pt x="24" y="378"/>
                    </a:lnTo>
                    <a:lnTo>
                      <a:pt x="12" y="384"/>
                    </a:lnTo>
                    <a:lnTo>
                      <a:pt x="0" y="396"/>
                    </a:lnTo>
                    <a:lnTo>
                      <a:pt x="0" y="402"/>
                    </a:lnTo>
                    <a:lnTo>
                      <a:pt x="6" y="408"/>
                    </a:lnTo>
                    <a:lnTo>
                      <a:pt x="18" y="414"/>
                    </a:lnTo>
                    <a:lnTo>
                      <a:pt x="30" y="414"/>
                    </a:lnTo>
                    <a:lnTo>
                      <a:pt x="30" y="444"/>
                    </a:lnTo>
                    <a:lnTo>
                      <a:pt x="24" y="456"/>
                    </a:lnTo>
                    <a:lnTo>
                      <a:pt x="24" y="480"/>
                    </a:lnTo>
                    <a:lnTo>
                      <a:pt x="18" y="492"/>
                    </a:lnTo>
                    <a:lnTo>
                      <a:pt x="18" y="504"/>
                    </a:lnTo>
                    <a:lnTo>
                      <a:pt x="12" y="510"/>
                    </a:lnTo>
                    <a:lnTo>
                      <a:pt x="12" y="516"/>
                    </a:lnTo>
                    <a:lnTo>
                      <a:pt x="18" y="540"/>
                    </a:lnTo>
                    <a:lnTo>
                      <a:pt x="18" y="588"/>
                    </a:lnTo>
                    <a:lnTo>
                      <a:pt x="30" y="594"/>
                    </a:lnTo>
                    <a:lnTo>
                      <a:pt x="48" y="594"/>
                    </a:lnTo>
                    <a:lnTo>
                      <a:pt x="60" y="588"/>
                    </a:lnTo>
                    <a:lnTo>
                      <a:pt x="90" y="588"/>
                    </a:lnTo>
                    <a:lnTo>
                      <a:pt x="96" y="582"/>
                    </a:lnTo>
                    <a:lnTo>
                      <a:pt x="102" y="582"/>
                    </a:lnTo>
                    <a:lnTo>
                      <a:pt x="126" y="600"/>
                    </a:lnTo>
                    <a:lnTo>
                      <a:pt x="132" y="600"/>
                    </a:lnTo>
                    <a:lnTo>
                      <a:pt x="138" y="594"/>
                    </a:lnTo>
                    <a:lnTo>
                      <a:pt x="156" y="588"/>
                    </a:lnTo>
                    <a:lnTo>
                      <a:pt x="168" y="582"/>
                    </a:lnTo>
                    <a:lnTo>
                      <a:pt x="180" y="570"/>
                    </a:lnTo>
                    <a:lnTo>
                      <a:pt x="180" y="564"/>
                    </a:lnTo>
                    <a:lnTo>
                      <a:pt x="168" y="552"/>
                    </a:lnTo>
                    <a:lnTo>
                      <a:pt x="150" y="540"/>
                    </a:lnTo>
                    <a:lnTo>
                      <a:pt x="138" y="534"/>
                    </a:lnTo>
                    <a:lnTo>
                      <a:pt x="120" y="522"/>
                    </a:lnTo>
                    <a:lnTo>
                      <a:pt x="108" y="516"/>
                    </a:lnTo>
                    <a:lnTo>
                      <a:pt x="102" y="510"/>
                    </a:lnTo>
                    <a:lnTo>
                      <a:pt x="96" y="510"/>
                    </a:lnTo>
                    <a:lnTo>
                      <a:pt x="108" y="510"/>
                    </a:lnTo>
                    <a:lnTo>
                      <a:pt x="138" y="516"/>
                    </a:lnTo>
                    <a:lnTo>
                      <a:pt x="204" y="516"/>
                    </a:lnTo>
                    <a:lnTo>
                      <a:pt x="204" y="510"/>
                    </a:lnTo>
                    <a:lnTo>
                      <a:pt x="198" y="504"/>
                    </a:lnTo>
                    <a:lnTo>
                      <a:pt x="198" y="498"/>
                    </a:lnTo>
                    <a:lnTo>
                      <a:pt x="186" y="486"/>
                    </a:lnTo>
                    <a:lnTo>
                      <a:pt x="192" y="492"/>
                    </a:lnTo>
                    <a:lnTo>
                      <a:pt x="204" y="492"/>
                    </a:lnTo>
                    <a:lnTo>
                      <a:pt x="210" y="498"/>
                    </a:lnTo>
                    <a:lnTo>
                      <a:pt x="216" y="498"/>
                    </a:lnTo>
                    <a:lnTo>
                      <a:pt x="222" y="492"/>
                    </a:lnTo>
                    <a:lnTo>
                      <a:pt x="222" y="486"/>
                    </a:lnTo>
                    <a:lnTo>
                      <a:pt x="216" y="480"/>
                    </a:lnTo>
                    <a:lnTo>
                      <a:pt x="216" y="468"/>
                    </a:lnTo>
                    <a:lnTo>
                      <a:pt x="210" y="462"/>
                    </a:lnTo>
                    <a:lnTo>
                      <a:pt x="222" y="468"/>
                    </a:lnTo>
                    <a:lnTo>
                      <a:pt x="228" y="474"/>
                    </a:lnTo>
                    <a:lnTo>
                      <a:pt x="246" y="474"/>
                    </a:lnTo>
                    <a:lnTo>
                      <a:pt x="252" y="468"/>
                    </a:lnTo>
                    <a:lnTo>
                      <a:pt x="264" y="462"/>
                    </a:lnTo>
                    <a:lnTo>
                      <a:pt x="270" y="456"/>
                    </a:lnTo>
                    <a:lnTo>
                      <a:pt x="288" y="474"/>
                    </a:lnTo>
                    <a:lnTo>
                      <a:pt x="300" y="480"/>
                    </a:lnTo>
                    <a:lnTo>
                      <a:pt x="306" y="486"/>
                    </a:lnTo>
                    <a:lnTo>
                      <a:pt x="312" y="486"/>
                    </a:lnTo>
                    <a:lnTo>
                      <a:pt x="330" y="492"/>
                    </a:lnTo>
                    <a:lnTo>
                      <a:pt x="342" y="492"/>
                    </a:lnTo>
                    <a:lnTo>
                      <a:pt x="378" y="504"/>
                    </a:lnTo>
                    <a:lnTo>
                      <a:pt x="390" y="510"/>
                    </a:lnTo>
                    <a:lnTo>
                      <a:pt x="402" y="534"/>
                    </a:lnTo>
                    <a:lnTo>
                      <a:pt x="402" y="558"/>
                    </a:lnTo>
                    <a:lnTo>
                      <a:pt x="408" y="570"/>
                    </a:lnTo>
                    <a:lnTo>
                      <a:pt x="420" y="582"/>
                    </a:lnTo>
                    <a:lnTo>
                      <a:pt x="438" y="582"/>
                    </a:lnTo>
                    <a:lnTo>
                      <a:pt x="450" y="594"/>
                    </a:lnTo>
                    <a:lnTo>
                      <a:pt x="450" y="606"/>
                    </a:lnTo>
                    <a:lnTo>
                      <a:pt x="456" y="618"/>
                    </a:lnTo>
                    <a:lnTo>
                      <a:pt x="468" y="654"/>
                    </a:lnTo>
                    <a:lnTo>
                      <a:pt x="486" y="672"/>
                    </a:lnTo>
                    <a:lnTo>
                      <a:pt x="516" y="678"/>
                    </a:lnTo>
                    <a:lnTo>
                      <a:pt x="558" y="684"/>
                    </a:lnTo>
                    <a:lnTo>
                      <a:pt x="618" y="684"/>
                    </a:lnTo>
                    <a:lnTo>
                      <a:pt x="630" y="690"/>
                    </a:lnTo>
                    <a:lnTo>
                      <a:pt x="654" y="714"/>
                    </a:lnTo>
                    <a:lnTo>
                      <a:pt x="678" y="726"/>
                    </a:lnTo>
                    <a:lnTo>
                      <a:pt x="684" y="726"/>
                    </a:lnTo>
                    <a:lnTo>
                      <a:pt x="684" y="720"/>
                    </a:lnTo>
                    <a:lnTo>
                      <a:pt x="678" y="708"/>
                    </a:lnTo>
                    <a:lnTo>
                      <a:pt x="678" y="702"/>
                    </a:lnTo>
                    <a:lnTo>
                      <a:pt x="672" y="690"/>
                    </a:lnTo>
                    <a:lnTo>
                      <a:pt x="666" y="684"/>
                    </a:lnTo>
                    <a:lnTo>
                      <a:pt x="672" y="67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3" name="Pakis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08366F5-C71F-43B4-B403-0514B9FAB8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408439" y="3181992"/>
                <a:ext cx="464749" cy="472968"/>
              </a:xfrm>
              <a:custGeom>
                <a:avLst/>
                <a:gdLst>
                  <a:gd name="T0" fmla="*/ 2147483647 w 1050"/>
                  <a:gd name="T1" fmla="*/ 2147483647 h 1056"/>
                  <a:gd name="T2" fmla="*/ 2147483647 w 1050"/>
                  <a:gd name="T3" fmla="*/ 2147483647 h 1056"/>
                  <a:gd name="T4" fmla="*/ 2147483647 w 1050"/>
                  <a:gd name="T5" fmla="*/ 2147483647 h 1056"/>
                  <a:gd name="T6" fmla="*/ 2147483647 w 1050"/>
                  <a:gd name="T7" fmla="*/ 2147483647 h 1056"/>
                  <a:gd name="T8" fmla="*/ 2147483647 w 1050"/>
                  <a:gd name="T9" fmla="*/ 2147483647 h 1056"/>
                  <a:gd name="T10" fmla="*/ 2147483647 w 1050"/>
                  <a:gd name="T11" fmla="*/ 2147483647 h 1056"/>
                  <a:gd name="T12" fmla="*/ 2147483647 w 1050"/>
                  <a:gd name="T13" fmla="*/ 2147483647 h 1056"/>
                  <a:gd name="T14" fmla="*/ 2147483647 w 1050"/>
                  <a:gd name="T15" fmla="*/ 2147483647 h 1056"/>
                  <a:gd name="T16" fmla="*/ 2147483647 w 1050"/>
                  <a:gd name="T17" fmla="*/ 2147483647 h 1056"/>
                  <a:gd name="T18" fmla="*/ 2147483647 w 1050"/>
                  <a:gd name="T19" fmla="*/ 2147483647 h 1056"/>
                  <a:gd name="T20" fmla="*/ 2147483647 w 1050"/>
                  <a:gd name="T21" fmla="*/ 2147483647 h 1056"/>
                  <a:gd name="T22" fmla="*/ 2147483647 w 1050"/>
                  <a:gd name="T23" fmla="*/ 2147483647 h 1056"/>
                  <a:gd name="T24" fmla="*/ 2147483647 w 1050"/>
                  <a:gd name="T25" fmla="*/ 2147483647 h 1056"/>
                  <a:gd name="T26" fmla="*/ 2147483647 w 1050"/>
                  <a:gd name="T27" fmla="*/ 2147483647 h 1056"/>
                  <a:gd name="T28" fmla="*/ 2147483647 w 1050"/>
                  <a:gd name="T29" fmla="*/ 2147483647 h 1056"/>
                  <a:gd name="T30" fmla="*/ 2147483647 w 1050"/>
                  <a:gd name="T31" fmla="*/ 2147483647 h 1056"/>
                  <a:gd name="T32" fmla="*/ 2147483647 w 1050"/>
                  <a:gd name="T33" fmla="*/ 2147483647 h 1056"/>
                  <a:gd name="T34" fmla="*/ 2147483647 w 1050"/>
                  <a:gd name="T35" fmla="*/ 2147483647 h 1056"/>
                  <a:gd name="T36" fmla="*/ 2147483647 w 1050"/>
                  <a:gd name="T37" fmla="*/ 2147483647 h 1056"/>
                  <a:gd name="T38" fmla="*/ 2147483647 w 1050"/>
                  <a:gd name="T39" fmla="*/ 2147483647 h 1056"/>
                  <a:gd name="T40" fmla="*/ 2147483647 w 1050"/>
                  <a:gd name="T41" fmla="*/ 2147483647 h 1056"/>
                  <a:gd name="T42" fmla="*/ 2147483647 w 1050"/>
                  <a:gd name="T43" fmla="*/ 2147483647 h 1056"/>
                  <a:gd name="T44" fmla="*/ 0 w 1050"/>
                  <a:gd name="T45" fmla="*/ 2147483647 h 1056"/>
                  <a:gd name="T46" fmla="*/ 2147483647 w 1050"/>
                  <a:gd name="T47" fmla="*/ 2147483647 h 1056"/>
                  <a:gd name="T48" fmla="*/ 2147483647 w 1050"/>
                  <a:gd name="T49" fmla="*/ 2147483647 h 1056"/>
                  <a:gd name="T50" fmla="*/ 2147483647 w 1050"/>
                  <a:gd name="T51" fmla="*/ 2147483647 h 1056"/>
                  <a:gd name="T52" fmla="*/ 2147483647 w 1050"/>
                  <a:gd name="T53" fmla="*/ 2147483647 h 1056"/>
                  <a:gd name="T54" fmla="*/ 2147483647 w 1050"/>
                  <a:gd name="T55" fmla="*/ 2147483647 h 1056"/>
                  <a:gd name="T56" fmla="*/ 2147483647 w 1050"/>
                  <a:gd name="T57" fmla="*/ 2147483647 h 1056"/>
                  <a:gd name="T58" fmla="*/ 2147483647 w 1050"/>
                  <a:gd name="T59" fmla="*/ 2147483647 h 1056"/>
                  <a:gd name="T60" fmla="*/ 2147483647 w 1050"/>
                  <a:gd name="T61" fmla="*/ 2147483647 h 1056"/>
                  <a:gd name="T62" fmla="*/ 2147483647 w 1050"/>
                  <a:gd name="T63" fmla="*/ 2147483647 h 1056"/>
                  <a:gd name="T64" fmla="*/ 2147483647 w 1050"/>
                  <a:gd name="T65" fmla="*/ 2147483647 h 1056"/>
                  <a:gd name="T66" fmla="*/ 2147483647 w 1050"/>
                  <a:gd name="T67" fmla="*/ 2147483647 h 1056"/>
                  <a:gd name="T68" fmla="*/ 2147483647 w 1050"/>
                  <a:gd name="T69" fmla="*/ 2147483647 h 1056"/>
                  <a:gd name="T70" fmla="*/ 2147483647 w 1050"/>
                  <a:gd name="T71" fmla="*/ 2147483647 h 1056"/>
                  <a:gd name="T72" fmla="*/ 2147483647 w 1050"/>
                  <a:gd name="T73" fmla="*/ 2147483647 h 1056"/>
                  <a:gd name="T74" fmla="*/ 2147483647 w 1050"/>
                  <a:gd name="T75" fmla="*/ 2147483647 h 1056"/>
                  <a:gd name="T76" fmla="*/ 2147483647 w 1050"/>
                  <a:gd name="T77" fmla="*/ 2147483647 h 1056"/>
                  <a:gd name="T78" fmla="*/ 2147483647 w 1050"/>
                  <a:gd name="T79" fmla="*/ 2147483647 h 1056"/>
                  <a:gd name="T80" fmla="*/ 2147483647 w 1050"/>
                  <a:gd name="T81" fmla="*/ 2147483647 h 1056"/>
                  <a:gd name="T82" fmla="*/ 2147483647 w 1050"/>
                  <a:gd name="T83" fmla="*/ 2147483647 h 1056"/>
                  <a:gd name="T84" fmla="*/ 2147483647 w 1050"/>
                  <a:gd name="T85" fmla="*/ 2147483647 h 1056"/>
                  <a:gd name="T86" fmla="*/ 2147483647 w 1050"/>
                  <a:gd name="T87" fmla="*/ 2147483647 h 1056"/>
                  <a:gd name="T88" fmla="*/ 2147483647 w 1050"/>
                  <a:gd name="T89" fmla="*/ 2147483647 h 1056"/>
                  <a:gd name="T90" fmla="*/ 2147483647 w 1050"/>
                  <a:gd name="T91" fmla="*/ 2147483647 h 1056"/>
                  <a:gd name="T92" fmla="*/ 2147483647 w 1050"/>
                  <a:gd name="T93" fmla="*/ 2147483647 h 1056"/>
                  <a:gd name="T94" fmla="*/ 2147483647 w 1050"/>
                  <a:gd name="T95" fmla="*/ 2147483647 h 1056"/>
                  <a:gd name="T96" fmla="*/ 2147483647 w 1050"/>
                  <a:gd name="T97" fmla="*/ 2147483647 h 1056"/>
                  <a:gd name="T98" fmla="*/ 2147483647 w 1050"/>
                  <a:gd name="T99" fmla="*/ 2147483647 h 1056"/>
                  <a:gd name="T100" fmla="*/ 2147483647 w 1050"/>
                  <a:gd name="T101" fmla="*/ 2147483647 h 1056"/>
                  <a:gd name="T102" fmla="*/ 2147483647 w 1050"/>
                  <a:gd name="T103" fmla="*/ 2147483647 h 1056"/>
                  <a:gd name="T104" fmla="*/ 2147483647 w 1050"/>
                  <a:gd name="T105" fmla="*/ 2147483647 h 1056"/>
                  <a:gd name="T106" fmla="*/ 2147483647 w 1050"/>
                  <a:gd name="T107" fmla="*/ 2147483647 h 1056"/>
                  <a:gd name="T108" fmla="*/ 2147483647 w 1050"/>
                  <a:gd name="T109" fmla="*/ 2147483647 h 1056"/>
                  <a:gd name="T110" fmla="*/ 2147483647 w 1050"/>
                  <a:gd name="T111" fmla="*/ 2147483647 h 1056"/>
                  <a:gd name="T112" fmla="*/ 2147483647 w 1050"/>
                  <a:gd name="T113" fmla="*/ 2147483647 h 1056"/>
                  <a:gd name="T114" fmla="*/ 2147483647 w 1050"/>
                  <a:gd name="T115" fmla="*/ 2147483647 h 1056"/>
                  <a:gd name="T116" fmla="*/ 2147483647 w 1050"/>
                  <a:gd name="T117" fmla="*/ 2147483647 h 1056"/>
                  <a:gd name="T118" fmla="*/ 2147483647 w 1050"/>
                  <a:gd name="T119" fmla="*/ 2147483647 h 1056"/>
                  <a:gd name="T120" fmla="*/ 2147483647 w 1050"/>
                  <a:gd name="T121" fmla="*/ 2147483647 h 1056"/>
                  <a:gd name="T122" fmla="*/ 2147483647 w 1050"/>
                  <a:gd name="T123" fmla="*/ 2147483647 h 10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050"/>
                  <a:gd name="T187" fmla="*/ 0 h 1056"/>
                  <a:gd name="T188" fmla="*/ 1050 w 1050"/>
                  <a:gd name="T189" fmla="*/ 1056 h 105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050" h="1056">
                    <a:moveTo>
                      <a:pt x="1008" y="120"/>
                    </a:moveTo>
                    <a:lnTo>
                      <a:pt x="996" y="120"/>
                    </a:lnTo>
                    <a:lnTo>
                      <a:pt x="984" y="114"/>
                    </a:lnTo>
                    <a:lnTo>
                      <a:pt x="978" y="102"/>
                    </a:lnTo>
                    <a:lnTo>
                      <a:pt x="972" y="96"/>
                    </a:lnTo>
                    <a:lnTo>
                      <a:pt x="972" y="90"/>
                    </a:lnTo>
                    <a:lnTo>
                      <a:pt x="960" y="96"/>
                    </a:lnTo>
                    <a:lnTo>
                      <a:pt x="924" y="84"/>
                    </a:lnTo>
                    <a:lnTo>
                      <a:pt x="924" y="60"/>
                    </a:lnTo>
                    <a:lnTo>
                      <a:pt x="912" y="36"/>
                    </a:lnTo>
                    <a:lnTo>
                      <a:pt x="900" y="24"/>
                    </a:lnTo>
                    <a:lnTo>
                      <a:pt x="888" y="18"/>
                    </a:lnTo>
                    <a:lnTo>
                      <a:pt x="876" y="18"/>
                    </a:lnTo>
                    <a:lnTo>
                      <a:pt x="870" y="6"/>
                    </a:lnTo>
                    <a:lnTo>
                      <a:pt x="822" y="6"/>
                    </a:lnTo>
                    <a:lnTo>
                      <a:pt x="810" y="0"/>
                    </a:lnTo>
                    <a:lnTo>
                      <a:pt x="804" y="6"/>
                    </a:lnTo>
                    <a:lnTo>
                      <a:pt x="792" y="6"/>
                    </a:lnTo>
                    <a:lnTo>
                      <a:pt x="786" y="12"/>
                    </a:lnTo>
                    <a:lnTo>
                      <a:pt x="774" y="12"/>
                    </a:lnTo>
                    <a:lnTo>
                      <a:pt x="762" y="6"/>
                    </a:lnTo>
                    <a:lnTo>
                      <a:pt x="738" y="6"/>
                    </a:lnTo>
                    <a:lnTo>
                      <a:pt x="732" y="12"/>
                    </a:lnTo>
                    <a:lnTo>
                      <a:pt x="690" y="12"/>
                    </a:lnTo>
                    <a:lnTo>
                      <a:pt x="684" y="18"/>
                    </a:lnTo>
                    <a:lnTo>
                      <a:pt x="678" y="18"/>
                    </a:lnTo>
                    <a:lnTo>
                      <a:pt x="654" y="30"/>
                    </a:lnTo>
                    <a:lnTo>
                      <a:pt x="648" y="36"/>
                    </a:lnTo>
                    <a:lnTo>
                      <a:pt x="624" y="48"/>
                    </a:lnTo>
                    <a:lnTo>
                      <a:pt x="618" y="54"/>
                    </a:lnTo>
                    <a:lnTo>
                      <a:pt x="612" y="66"/>
                    </a:lnTo>
                    <a:lnTo>
                      <a:pt x="606" y="72"/>
                    </a:lnTo>
                    <a:lnTo>
                      <a:pt x="606" y="78"/>
                    </a:lnTo>
                    <a:lnTo>
                      <a:pt x="636" y="108"/>
                    </a:lnTo>
                    <a:lnTo>
                      <a:pt x="636" y="138"/>
                    </a:lnTo>
                    <a:lnTo>
                      <a:pt x="642" y="144"/>
                    </a:lnTo>
                    <a:lnTo>
                      <a:pt x="648" y="156"/>
                    </a:lnTo>
                    <a:lnTo>
                      <a:pt x="648" y="162"/>
                    </a:lnTo>
                    <a:lnTo>
                      <a:pt x="624" y="186"/>
                    </a:lnTo>
                    <a:lnTo>
                      <a:pt x="618" y="198"/>
                    </a:lnTo>
                    <a:lnTo>
                      <a:pt x="618" y="210"/>
                    </a:lnTo>
                    <a:lnTo>
                      <a:pt x="624" y="216"/>
                    </a:lnTo>
                    <a:lnTo>
                      <a:pt x="624" y="246"/>
                    </a:lnTo>
                    <a:lnTo>
                      <a:pt x="606" y="246"/>
                    </a:lnTo>
                    <a:lnTo>
                      <a:pt x="600" y="252"/>
                    </a:lnTo>
                    <a:lnTo>
                      <a:pt x="594" y="252"/>
                    </a:lnTo>
                    <a:lnTo>
                      <a:pt x="576" y="246"/>
                    </a:lnTo>
                    <a:lnTo>
                      <a:pt x="570" y="240"/>
                    </a:lnTo>
                    <a:lnTo>
                      <a:pt x="552" y="240"/>
                    </a:lnTo>
                    <a:lnTo>
                      <a:pt x="552" y="252"/>
                    </a:lnTo>
                    <a:lnTo>
                      <a:pt x="564" y="264"/>
                    </a:lnTo>
                    <a:lnTo>
                      <a:pt x="576" y="270"/>
                    </a:lnTo>
                    <a:lnTo>
                      <a:pt x="576" y="276"/>
                    </a:lnTo>
                    <a:lnTo>
                      <a:pt x="582" y="282"/>
                    </a:lnTo>
                    <a:lnTo>
                      <a:pt x="582" y="288"/>
                    </a:lnTo>
                    <a:lnTo>
                      <a:pt x="594" y="294"/>
                    </a:lnTo>
                    <a:lnTo>
                      <a:pt x="600" y="294"/>
                    </a:lnTo>
                    <a:lnTo>
                      <a:pt x="570" y="312"/>
                    </a:lnTo>
                    <a:lnTo>
                      <a:pt x="552" y="312"/>
                    </a:lnTo>
                    <a:lnTo>
                      <a:pt x="546" y="318"/>
                    </a:lnTo>
                    <a:lnTo>
                      <a:pt x="546" y="354"/>
                    </a:lnTo>
                    <a:lnTo>
                      <a:pt x="540" y="354"/>
                    </a:lnTo>
                    <a:lnTo>
                      <a:pt x="534" y="360"/>
                    </a:lnTo>
                    <a:lnTo>
                      <a:pt x="534" y="378"/>
                    </a:lnTo>
                    <a:lnTo>
                      <a:pt x="540" y="390"/>
                    </a:lnTo>
                    <a:lnTo>
                      <a:pt x="540" y="402"/>
                    </a:lnTo>
                    <a:lnTo>
                      <a:pt x="546" y="408"/>
                    </a:lnTo>
                    <a:lnTo>
                      <a:pt x="546" y="414"/>
                    </a:lnTo>
                    <a:lnTo>
                      <a:pt x="540" y="420"/>
                    </a:lnTo>
                    <a:lnTo>
                      <a:pt x="534" y="432"/>
                    </a:lnTo>
                    <a:lnTo>
                      <a:pt x="522" y="438"/>
                    </a:lnTo>
                    <a:lnTo>
                      <a:pt x="510" y="438"/>
                    </a:lnTo>
                    <a:lnTo>
                      <a:pt x="504" y="432"/>
                    </a:lnTo>
                    <a:lnTo>
                      <a:pt x="504" y="420"/>
                    </a:lnTo>
                    <a:lnTo>
                      <a:pt x="474" y="420"/>
                    </a:lnTo>
                    <a:lnTo>
                      <a:pt x="462" y="426"/>
                    </a:lnTo>
                    <a:lnTo>
                      <a:pt x="456" y="432"/>
                    </a:lnTo>
                    <a:lnTo>
                      <a:pt x="444" y="438"/>
                    </a:lnTo>
                    <a:lnTo>
                      <a:pt x="438" y="438"/>
                    </a:lnTo>
                    <a:lnTo>
                      <a:pt x="432" y="444"/>
                    </a:lnTo>
                    <a:lnTo>
                      <a:pt x="432" y="450"/>
                    </a:lnTo>
                    <a:lnTo>
                      <a:pt x="438" y="450"/>
                    </a:lnTo>
                    <a:lnTo>
                      <a:pt x="444" y="456"/>
                    </a:lnTo>
                    <a:lnTo>
                      <a:pt x="444" y="462"/>
                    </a:lnTo>
                    <a:lnTo>
                      <a:pt x="438" y="468"/>
                    </a:lnTo>
                    <a:lnTo>
                      <a:pt x="396" y="468"/>
                    </a:lnTo>
                    <a:lnTo>
                      <a:pt x="396" y="456"/>
                    </a:lnTo>
                    <a:lnTo>
                      <a:pt x="378" y="456"/>
                    </a:lnTo>
                    <a:lnTo>
                      <a:pt x="372" y="468"/>
                    </a:lnTo>
                    <a:lnTo>
                      <a:pt x="360" y="474"/>
                    </a:lnTo>
                    <a:lnTo>
                      <a:pt x="354" y="486"/>
                    </a:lnTo>
                    <a:lnTo>
                      <a:pt x="354" y="504"/>
                    </a:lnTo>
                    <a:lnTo>
                      <a:pt x="360" y="516"/>
                    </a:lnTo>
                    <a:lnTo>
                      <a:pt x="360" y="534"/>
                    </a:lnTo>
                    <a:lnTo>
                      <a:pt x="366" y="540"/>
                    </a:lnTo>
                    <a:lnTo>
                      <a:pt x="366" y="570"/>
                    </a:lnTo>
                    <a:lnTo>
                      <a:pt x="360" y="576"/>
                    </a:lnTo>
                    <a:lnTo>
                      <a:pt x="354" y="576"/>
                    </a:lnTo>
                    <a:lnTo>
                      <a:pt x="306" y="600"/>
                    </a:lnTo>
                    <a:lnTo>
                      <a:pt x="276" y="600"/>
                    </a:lnTo>
                    <a:lnTo>
                      <a:pt x="258" y="606"/>
                    </a:lnTo>
                    <a:lnTo>
                      <a:pt x="234" y="606"/>
                    </a:lnTo>
                    <a:lnTo>
                      <a:pt x="228" y="612"/>
                    </a:lnTo>
                    <a:lnTo>
                      <a:pt x="204" y="612"/>
                    </a:lnTo>
                    <a:lnTo>
                      <a:pt x="204" y="606"/>
                    </a:lnTo>
                    <a:lnTo>
                      <a:pt x="150" y="606"/>
                    </a:lnTo>
                    <a:lnTo>
                      <a:pt x="144" y="612"/>
                    </a:lnTo>
                    <a:lnTo>
                      <a:pt x="138" y="612"/>
                    </a:lnTo>
                    <a:lnTo>
                      <a:pt x="120" y="618"/>
                    </a:lnTo>
                    <a:lnTo>
                      <a:pt x="102" y="618"/>
                    </a:lnTo>
                    <a:lnTo>
                      <a:pt x="78" y="606"/>
                    </a:lnTo>
                    <a:lnTo>
                      <a:pt x="60" y="600"/>
                    </a:lnTo>
                    <a:lnTo>
                      <a:pt x="42" y="588"/>
                    </a:lnTo>
                    <a:lnTo>
                      <a:pt x="30" y="582"/>
                    </a:lnTo>
                    <a:lnTo>
                      <a:pt x="0" y="582"/>
                    </a:lnTo>
                    <a:lnTo>
                      <a:pt x="24" y="606"/>
                    </a:lnTo>
                    <a:lnTo>
                      <a:pt x="30" y="618"/>
                    </a:lnTo>
                    <a:lnTo>
                      <a:pt x="36" y="624"/>
                    </a:lnTo>
                    <a:lnTo>
                      <a:pt x="48" y="642"/>
                    </a:lnTo>
                    <a:lnTo>
                      <a:pt x="60" y="654"/>
                    </a:lnTo>
                    <a:lnTo>
                      <a:pt x="66" y="672"/>
                    </a:lnTo>
                    <a:lnTo>
                      <a:pt x="78" y="690"/>
                    </a:lnTo>
                    <a:lnTo>
                      <a:pt x="84" y="696"/>
                    </a:lnTo>
                    <a:lnTo>
                      <a:pt x="102" y="696"/>
                    </a:lnTo>
                    <a:lnTo>
                      <a:pt x="114" y="690"/>
                    </a:lnTo>
                    <a:lnTo>
                      <a:pt x="126" y="708"/>
                    </a:lnTo>
                    <a:lnTo>
                      <a:pt x="150" y="708"/>
                    </a:lnTo>
                    <a:lnTo>
                      <a:pt x="144" y="738"/>
                    </a:lnTo>
                    <a:lnTo>
                      <a:pt x="150" y="738"/>
                    </a:lnTo>
                    <a:lnTo>
                      <a:pt x="150" y="762"/>
                    </a:lnTo>
                    <a:lnTo>
                      <a:pt x="156" y="774"/>
                    </a:lnTo>
                    <a:lnTo>
                      <a:pt x="156" y="786"/>
                    </a:lnTo>
                    <a:lnTo>
                      <a:pt x="174" y="786"/>
                    </a:lnTo>
                    <a:lnTo>
                      <a:pt x="180" y="792"/>
                    </a:lnTo>
                    <a:lnTo>
                      <a:pt x="186" y="804"/>
                    </a:lnTo>
                    <a:lnTo>
                      <a:pt x="192" y="822"/>
                    </a:lnTo>
                    <a:lnTo>
                      <a:pt x="192" y="834"/>
                    </a:lnTo>
                    <a:lnTo>
                      <a:pt x="186" y="840"/>
                    </a:lnTo>
                    <a:lnTo>
                      <a:pt x="180" y="840"/>
                    </a:lnTo>
                    <a:lnTo>
                      <a:pt x="180" y="834"/>
                    </a:lnTo>
                    <a:lnTo>
                      <a:pt x="150" y="834"/>
                    </a:lnTo>
                    <a:lnTo>
                      <a:pt x="138" y="840"/>
                    </a:lnTo>
                    <a:lnTo>
                      <a:pt x="132" y="846"/>
                    </a:lnTo>
                    <a:lnTo>
                      <a:pt x="132" y="852"/>
                    </a:lnTo>
                    <a:lnTo>
                      <a:pt x="126" y="852"/>
                    </a:lnTo>
                    <a:lnTo>
                      <a:pt x="126" y="858"/>
                    </a:lnTo>
                    <a:lnTo>
                      <a:pt x="120" y="864"/>
                    </a:lnTo>
                    <a:lnTo>
                      <a:pt x="108" y="864"/>
                    </a:lnTo>
                    <a:lnTo>
                      <a:pt x="102" y="882"/>
                    </a:lnTo>
                    <a:lnTo>
                      <a:pt x="96" y="888"/>
                    </a:lnTo>
                    <a:lnTo>
                      <a:pt x="96" y="894"/>
                    </a:lnTo>
                    <a:lnTo>
                      <a:pt x="84" y="906"/>
                    </a:lnTo>
                    <a:lnTo>
                      <a:pt x="84" y="936"/>
                    </a:lnTo>
                    <a:lnTo>
                      <a:pt x="90" y="948"/>
                    </a:lnTo>
                    <a:lnTo>
                      <a:pt x="90" y="954"/>
                    </a:lnTo>
                    <a:lnTo>
                      <a:pt x="96" y="948"/>
                    </a:lnTo>
                    <a:lnTo>
                      <a:pt x="108" y="948"/>
                    </a:lnTo>
                    <a:lnTo>
                      <a:pt x="114" y="942"/>
                    </a:lnTo>
                    <a:lnTo>
                      <a:pt x="120" y="942"/>
                    </a:lnTo>
                    <a:lnTo>
                      <a:pt x="126" y="948"/>
                    </a:lnTo>
                    <a:lnTo>
                      <a:pt x="138" y="948"/>
                    </a:lnTo>
                    <a:lnTo>
                      <a:pt x="150" y="954"/>
                    </a:lnTo>
                    <a:lnTo>
                      <a:pt x="174" y="954"/>
                    </a:lnTo>
                    <a:lnTo>
                      <a:pt x="210" y="936"/>
                    </a:lnTo>
                    <a:lnTo>
                      <a:pt x="216" y="930"/>
                    </a:lnTo>
                    <a:lnTo>
                      <a:pt x="222" y="930"/>
                    </a:lnTo>
                    <a:lnTo>
                      <a:pt x="234" y="936"/>
                    </a:lnTo>
                    <a:lnTo>
                      <a:pt x="276" y="936"/>
                    </a:lnTo>
                    <a:lnTo>
                      <a:pt x="288" y="930"/>
                    </a:lnTo>
                    <a:lnTo>
                      <a:pt x="300" y="930"/>
                    </a:lnTo>
                    <a:lnTo>
                      <a:pt x="306" y="924"/>
                    </a:lnTo>
                    <a:lnTo>
                      <a:pt x="312" y="924"/>
                    </a:lnTo>
                    <a:lnTo>
                      <a:pt x="348" y="930"/>
                    </a:lnTo>
                    <a:lnTo>
                      <a:pt x="354" y="924"/>
                    </a:lnTo>
                    <a:lnTo>
                      <a:pt x="366" y="918"/>
                    </a:lnTo>
                    <a:lnTo>
                      <a:pt x="372" y="912"/>
                    </a:lnTo>
                    <a:lnTo>
                      <a:pt x="384" y="912"/>
                    </a:lnTo>
                    <a:lnTo>
                      <a:pt x="396" y="918"/>
                    </a:lnTo>
                    <a:lnTo>
                      <a:pt x="408" y="930"/>
                    </a:lnTo>
                    <a:lnTo>
                      <a:pt x="432" y="978"/>
                    </a:lnTo>
                    <a:lnTo>
                      <a:pt x="444" y="984"/>
                    </a:lnTo>
                    <a:lnTo>
                      <a:pt x="450" y="990"/>
                    </a:lnTo>
                    <a:lnTo>
                      <a:pt x="468" y="996"/>
                    </a:lnTo>
                    <a:lnTo>
                      <a:pt x="486" y="996"/>
                    </a:lnTo>
                    <a:lnTo>
                      <a:pt x="522" y="1008"/>
                    </a:lnTo>
                    <a:lnTo>
                      <a:pt x="540" y="1044"/>
                    </a:lnTo>
                    <a:lnTo>
                      <a:pt x="552" y="1056"/>
                    </a:lnTo>
                    <a:lnTo>
                      <a:pt x="570" y="1056"/>
                    </a:lnTo>
                    <a:lnTo>
                      <a:pt x="588" y="1050"/>
                    </a:lnTo>
                    <a:lnTo>
                      <a:pt x="582" y="1044"/>
                    </a:lnTo>
                    <a:lnTo>
                      <a:pt x="582" y="1032"/>
                    </a:lnTo>
                    <a:lnTo>
                      <a:pt x="594" y="1020"/>
                    </a:lnTo>
                    <a:lnTo>
                      <a:pt x="606" y="1020"/>
                    </a:lnTo>
                    <a:lnTo>
                      <a:pt x="618" y="1026"/>
                    </a:lnTo>
                    <a:lnTo>
                      <a:pt x="624" y="1032"/>
                    </a:lnTo>
                    <a:lnTo>
                      <a:pt x="648" y="1020"/>
                    </a:lnTo>
                    <a:lnTo>
                      <a:pt x="648" y="1026"/>
                    </a:lnTo>
                    <a:lnTo>
                      <a:pt x="654" y="1032"/>
                    </a:lnTo>
                    <a:lnTo>
                      <a:pt x="678" y="1032"/>
                    </a:lnTo>
                    <a:lnTo>
                      <a:pt x="690" y="1020"/>
                    </a:lnTo>
                    <a:lnTo>
                      <a:pt x="702" y="1014"/>
                    </a:lnTo>
                    <a:lnTo>
                      <a:pt x="708" y="1014"/>
                    </a:lnTo>
                    <a:lnTo>
                      <a:pt x="708" y="1026"/>
                    </a:lnTo>
                    <a:lnTo>
                      <a:pt x="714" y="1032"/>
                    </a:lnTo>
                    <a:lnTo>
                      <a:pt x="732" y="1032"/>
                    </a:lnTo>
                    <a:lnTo>
                      <a:pt x="738" y="1026"/>
                    </a:lnTo>
                    <a:lnTo>
                      <a:pt x="750" y="1020"/>
                    </a:lnTo>
                    <a:lnTo>
                      <a:pt x="750" y="996"/>
                    </a:lnTo>
                    <a:lnTo>
                      <a:pt x="744" y="990"/>
                    </a:lnTo>
                    <a:lnTo>
                      <a:pt x="738" y="978"/>
                    </a:lnTo>
                    <a:lnTo>
                      <a:pt x="714" y="936"/>
                    </a:lnTo>
                    <a:lnTo>
                      <a:pt x="714" y="912"/>
                    </a:lnTo>
                    <a:lnTo>
                      <a:pt x="690" y="912"/>
                    </a:lnTo>
                    <a:lnTo>
                      <a:pt x="678" y="900"/>
                    </a:lnTo>
                    <a:lnTo>
                      <a:pt x="672" y="888"/>
                    </a:lnTo>
                    <a:lnTo>
                      <a:pt x="666" y="882"/>
                    </a:lnTo>
                    <a:lnTo>
                      <a:pt x="672" y="852"/>
                    </a:lnTo>
                    <a:lnTo>
                      <a:pt x="672" y="834"/>
                    </a:lnTo>
                    <a:lnTo>
                      <a:pt x="642" y="840"/>
                    </a:lnTo>
                    <a:lnTo>
                      <a:pt x="636" y="840"/>
                    </a:lnTo>
                    <a:lnTo>
                      <a:pt x="624" y="834"/>
                    </a:lnTo>
                    <a:lnTo>
                      <a:pt x="618" y="828"/>
                    </a:lnTo>
                    <a:lnTo>
                      <a:pt x="618" y="804"/>
                    </a:lnTo>
                    <a:lnTo>
                      <a:pt x="624" y="792"/>
                    </a:lnTo>
                    <a:lnTo>
                      <a:pt x="636" y="780"/>
                    </a:lnTo>
                    <a:lnTo>
                      <a:pt x="642" y="768"/>
                    </a:lnTo>
                    <a:lnTo>
                      <a:pt x="648" y="762"/>
                    </a:lnTo>
                    <a:lnTo>
                      <a:pt x="654" y="750"/>
                    </a:lnTo>
                    <a:lnTo>
                      <a:pt x="654" y="744"/>
                    </a:lnTo>
                    <a:lnTo>
                      <a:pt x="666" y="732"/>
                    </a:lnTo>
                    <a:lnTo>
                      <a:pt x="678" y="726"/>
                    </a:lnTo>
                    <a:lnTo>
                      <a:pt x="684" y="726"/>
                    </a:lnTo>
                    <a:lnTo>
                      <a:pt x="690" y="732"/>
                    </a:lnTo>
                    <a:lnTo>
                      <a:pt x="690" y="744"/>
                    </a:lnTo>
                    <a:lnTo>
                      <a:pt x="696" y="750"/>
                    </a:lnTo>
                    <a:lnTo>
                      <a:pt x="702" y="750"/>
                    </a:lnTo>
                    <a:lnTo>
                      <a:pt x="726" y="738"/>
                    </a:lnTo>
                    <a:lnTo>
                      <a:pt x="732" y="732"/>
                    </a:lnTo>
                    <a:lnTo>
                      <a:pt x="738" y="738"/>
                    </a:lnTo>
                    <a:lnTo>
                      <a:pt x="756" y="738"/>
                    </a:lnTo>
                    <a:lnTo>
                      <a:pt x="762" y="732"/>
                    </a:lnTo>
                    <a:lnTo>
                      <a:pt x="768" y="720"/>
                    </a:lnTo>
                    <a:lnTo>
                      <a:pt x="774" y="714"/>
                    </a:lnTo>
                    <a:lnTo>
                      <a:pt x="774" y="708"/>
                    </a:lnTo>
                    <a:lnTo>
                      <a:pt x="792" y="696"/>
                    </a:lnTo>
                    <a:lnTo>
                      <a:pt x="792" y="678"/>
                    </a:lnTo>
                    <a:lnTo>
                      <a:pt x="798" y="672"/>
                    </a:lnTo>
                    <a:lnTo>
                      <a:pt x="798" y="666"/>
                    </a:lnTo>
                    <a:lnTo>
                      <a:pt x="804" y="660"/>
                    </a:lnTo>
                    <a:lnTo>
                      <a:pt x="828" y="648"/>
                    </a:lnTo>
                    <a:lnTo>
                      <a:pt x="840" y="636"/>
                    </a:lnTo>
                    <a:lnTo>
                      <a:pt x="846" y="618"/>
                    </a:lnTo>
                    <a:lnTo>
                      <a:pt x="846" y="606"/>
                    </a:lnTo>
                    <a:lnTo>
                      <a:pt x="852" y="588"/>
                    </a:lnTo>
                    <a:lnTo>
                      <a:pt x="852" y="576"/>
                    </a:lnTo>
                    <a:lnTo>
                      <a:pt x="858" y="570"/>
                    </a:lnTo>
                    <a:lnTo>
                      <a:pt x="870" y="564"/>
                    </a:lnTo>
                    <a:lnTo>
                      <a:pt x="876" y="558"/>
                    </a:lnTo>
                    <a:lnTo>
                      <a:pt x="888" y="558"/>
                    </a:lnTo>
                    <a:lnTo>
                      <a:pt x="870" y="534"/>
                    </a:lnTo>
                    <a:lnTo>
                      <a:pt x="894" y="498"/>
                    </a:lnTo>
                    <a:lnTo>
                      <a:pt x="924" y="480"/>
                    </a:lnTo>
                    <a:lnTo>
                      <a:pt x="924" y="474"/>
                    </a:lnTo>
                    <a:lnTo>
                      <a:pt x="912" y="462"/>
                    </a:lnTo>
                    <a:lnTo>
                      <a:pt x="906" y="450"/>
                    </a:lnTo>
                    <a:lnTo>
                      <a:pt x="906" y="414"/>
                    </a:lnTo>
                    <a:lnTo>
                      <a:pt x="912" y="408"/>
                    </a:lnTo>
                    <a:lnTo>
                      <a:pt x="924" y="408"/>
                    </a:lnTo>
                    <a:lnTo>
                      <a:pt x="948" y="396"/>
                    </a:lnTo>
                    <a:lnTo>
                      <a:pt x="954" y="390"/>
                    </a:lnTo>
                    <a:lnTo>
                      <a:pt x="954" y="384"/>
                    </a:lnTo>
                    <a:lnTo>
                      <a:pt x="948" y="378"/>
                    </a:lnTo>
                    <a:lnTo>
                      <a:pt x="936" y="372"/>
                    </a:lnTo>
                    <a:lnTo>
                      <a:pt x="900" y="372"/>
                    </a:lnTo>
                    <a:lnTo>
                      <a:pt x="894" y="336"/>
                    </a:lnTo>
                    <a:lnTo>
                      <a:pt x="876" y="336"/>
                    </a:lnTo>
                    <a:lnTo>
                      <a:pt x="864" y="318"/>
                    </a:lnTo>
                    <a:lnTo>
                      <a:pt x="846" y="318"/>
                    </a:lnTo>
                    <a:lnTo>
                      <a:pt x="846" y="306"/>
                    </a:lnTo>
                    <a:lnTo>
                      <a:pt x="852" y="294"/>
                    </a:lnTo>
                    <a:lnTo>
                      <a:pt x="852" y="288"/>
                    </a:lnTo>
                    <a:lnTo>
                      <a:pt x="846" y="288"/>
                    </a:lnTo>
                    <a:lnTo>
                      <a:pt x="834" y="276"/>
                    </a:lnTo>
                    <a:lnTo>
                      <a:pt x="834" y="270"/>
                    </a:lnTo>
                    <a:lnTo>
                      <a:pt x="840" y="264"/>
                    </a:lnTo>
                    <a:lnTo>
                      <a:pt x="846" y="252"/>
                    </a:lnTo>
                    <a:lnTo>
                      <a:pt x="852" y="246"/>
                    </a:lnTo>
                    <a:lnTo>
                      <a:pt x="822" y="240"/>
                    </a:lnTo>
                    <a:lnTo>
                      <a:pt x="828" y="228"/>
                    </a:lnTo>
                    <a:lnTo>
                      <a:pt x="804" y="210"/>
                    </a:lnTo>
                    <a:lnTo>
                      <a:pt x="804" y="204"/>
                    </a:lnTo>
                    <a:lnTo>
                      <a:pt x="810" y="192"/>
                    </a:lnTo>
                    <a:lnTo>
                      <a:pt x="834" y="180"/>
                    </a:lnTo>
                    <a:lnTo>
                      <a:pt x="876" y="180"/>
                    </a:lnTo>
                    <a:lnTo>
                      <a:pt x="894" y="186"/>
                    </a:lnTo>
                    <a:lnTo>
                      <a:pt x="912" y="186"/>
                    </a:lnTo>
                    <a:lnTo>
                      <a:pt x="918" y="192"/>
                    </a:lnTo>
                    <a:lnTo>
                      <a:pt x="918" y="204"/>
                    </a:lnTo>
                    <a:lnTo>
                      <a:pt x="930" y="204"/>
                    </a:lnTo>
                    <a:lnTo>
                      <a:pt x="942" y="198"/>
                    </a:lnTo>
                    <a:lnTo>
                      <a:pt x="948" y="192"/>
                    </a:lnTo>
                    <a:lnTo>
                      <a:pt x="960" y="186"/>
                    </a:lnTo>
                    <a:lnTo>
                      <a:pt x="966" y="180"/>
                    </a:lnTo>
                    <a:lnTo>
                      <a:pt x="972" y="186"/>
                    </a:lnTo>
                    <a:lnTo>
                      <a:pt x="978" y="180"/>
                    </a:lnTo>
                    <a:lnTo>
                      <a:pt x="1002" y="180"/>
                    </a:lnTo>
                    <a:lnTo>
                      <a:pt x="1002" y="162"/>
                    </a:lnTo>
                    <a:lnTo>
                      <a:pt x="1026" y="156"/>
                    </a:lnTo>
                    <a:lnTo>
                      <a:pt x="1050" y="120"/>
                    </a:lnTo>
                    <a:lnTo>
                      <a:pt x="1008" y="120"/>
                    </a:ln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4" name="Nige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1982EBE-C7C1-4EFA-9795-FC057522F44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36805" y="4018100"/>
                <a:ext cx="370401" cy="347197"/>
              </a:xfrm>
              <a:custGeom>
                <a:avLst/>
                <a:gdLst>
                  <a:gd name="T0" fmla="*/ 2147483647 w 840"/>
                  <a:gd name="T1" fmla="*/ 2147483647 h 768"/>
                  <a:gd name="T2" fmla="*/ 2147483647 w 840"/>
                  <a:gd name="T3" fmla="*/ 2147483647 h 768"/>
                  <a:gd name="T4" fmla="*/ 2147483647 w 840"/>
                  <a:gd name="T5" fmla="*/ 2147483647 h 768"/>
                  <a:gd name="T6" fmla="*/ 2147483647 w 840"/>
                  <a:gd name="T7" fmla="*/ 2147483647 h 768"/>
                  <a:gd name="T8" fmla="*/ 2147483647 w 840"/>
                  <a:gd name="T9" fmla="*/ 2147483647 h 768"/>
                  <a:gd name="T10" fmla="*/ 2147483647 w 840"/>
                  <a:gd name="T11" fmla="*/ 2147483647 h 768"/>
                  <a:gd name="T12" fmla="*/ 2147483647 w 840"/>
                  <a:gd name="T13" fmla="*/ 2147483647 h 768"/>
                  <a:gd name="T14" fmla="*/ 2147483647 w 840"/>
                  <a:gd name="T15" fmla="*/ 2147483647 h 768"/>
                  <a:gd name="T16" fmla="*/ 2147483647 w 840"/>
                  <a:gd name="T17" fmla="*/ 2147483647 h 768"/>
                  <a:gd name="T18" fmla="*/ 2147483647 w 840"/>
                  <a:gd name="T19" fmla="*/ 2147483647 h 768"/>
                  <a:gd name="T20" fmla="*/ 2147483647 w 840"/>
                  <a:gd name="T21" fmla="*/ 2147483647 h 768"/>
                  <a:gd name="T22" fmla="*/ 2147483647 w 840"/>
                  <a:gd name="T23" fmla="*/ 2147483647 h 768"/>
                  <a:gd name="T24" fmla="*/ 2147483647 w 840"/>
                  <a:gd name="T25" fmla="*/ 2147483647 h 768"/>
                  <a:gd name="T26" fmla="*/ 2147483647 w 840"/>
                  <a:gd name="T27" fmla="*/ 2147483647 h 768"/>
                  <a:gd name="T28" fmla="*/ 2147483647 w 840"/>
                  <a:gd name="T29" fmla="*/ 2147483647 h 768"/>
                  <a:gd name="T30" fmla="*/ 2147483647 w 840"/>
                  <a:gd name="T31" fmla="*/ 2147483647 h 768"/>
                  <a:gd name="T32" fmla="*/ 2147483647 w 840"/>
                  <a:gd name="T33" fmla="*/ 2147483647 h 768"/>
                  <a:gd name="T34" fmla="*/ 2147483647 w 840"/>
                  <a:gd name="T35" fmla="*/ 2147483647 h 768"/>
                  <a:gd name="T36" fmla="*/ 2147483647 w 840"/>
                  <a:gd name="T37" fmla="*/ 2147483647 h 768"/>
                  <a:gd name="T38" fmla="*/ 2147483647 w 840"/>
                  <a:gd name="T39" fmla="*/ 2147483647 h 768"/>
                  <a:gd name="T40" fmla="*/ 2147483647 w 840"/>
                  <a:gd name="T41" fmla="*/ 2147483647 h 768"/>
                  <a:gd name="T42" fmla="*/ 2147483647 w 840"/>
                  <a:gd name="T43" fmla="*/ 2147483647 h 768"/>
                  <a:gd name="T44" fmla="*/ 2147483647 w 840"/>
                  <a:gd name="T45" fmla="*/ 2147483647 h 768"/>
                  <a:gd name="T46" fmla="*/ 2147483647 w 840"/>
                  <a:gd name="T47" fmla="*/ 2147483647 h 768"/>
                  <a:gd name="T48" fmla="*/ 2147483647 w 840"/>
                  <a:gd name="T49" fmla="*/ 2147483647 h 768"/>
                  <a:gd name="T50" fmla="*/ 2147483647 w 840"/>
                  <a:gd name="T51" fmla="*/ 2147483647 h 768"/>
                  <a:gd name="T52" fmla="*/ 2147483647 w 840"/>
                  <a:gd name="T53" fmla="*/ 2147483647 h 768"/>
                  <a:gd name="T54" fmla="*/ 2147483647 w 840"/>
                  <a:gd name="T55" fmla="*/ 2147483647 h 768"/>
                  <a:gd name="T56" fmla="*/ 2147483647 w 840"/>
                  <a:gd name="T57" fmla="*/ 2147483647 h 768"/>
                  <a:gd name="T58" fmla="*/ 2147483647 w 840"/>
                  <a:gd name="T59" fmla="*/ 2147483647 h 768"/>
                  <a:gd name="T60" fmla="*/ 2147483647 w 840"/>
                  <a:gd name="T61" fmla="*/ 2147483647 h 768"/>
                  <a:gd name="T62" fmla="*/ 2147483647 w 840"/>
                  <a:gd name="T63" fmla="*/ 2147483647 h 768"/>
                  <a:gd name="T64" fmla="*/ 2147483647 w 840"/>
                  <a:gd name="T65" fmla="*/ 2147483647 h 768"/>
                  <a:gd name="T66" fmla="*/ 2147483647 w 840"/>
                  <a:gd name="T67" fmla="*/ 2147483647 h 768"/>
                  <a:gd name="T68" fmla="*/ 2147483647 w 840"/>
                  <a:gd name="T69" fmla="*/ 2147483647 h 768"/>
                  <a:gd name="T70" fmla="*/ 2147483647 w 840"/>
                  <a:gd name="T71" fmla="*/ 2147483647 h 768"/>
                  <a:gd name="T72" fmla="*/ 2147483647 w 840"/>
                  <a:gd name="T73" fmla="*/ 2147483647 h 768"/>
                  <a:gd name="T74" fmla="*/ 2147483647 w 840"/>
                  <a:gd name="T75" fmla="*/ 2147483647 h 768"/>
                  <a:gd name="T76" fmla="*/ 2147483647 w 840"/>
                  <a:gd name="T77" fmla="*/ 2147483647 h 768"/>
                  <a:gd name="T78" fmla="*/ 2147483647 w 840"/>
                  <a:gd name="T79" fmla="*/ 2147483647 h 768"/>
                  <a:gd name="T80" fmla="*/ 2147483647 w 840"/>
                  <a:gd name="T81" fmla="*/ 2147483647 h 768"/>
                  <a:gd name="T82" fmla="*/ 2147483647 w 840"/>
                  <a:gd name="T83" fmla="*/ 2147483647 h 768"/>
                  <a:gd name="T84" fmla="*/ 2147483647 w 840"/>
                  <a:gd name="T85" fmla="*/ 2147483647 h 768"/>
                  <a:gd name="T86" fmla="*/ 2147483647 w 840"/>
                  <a:gd name="T87" fmla="*/ 2147483647 h 768"/>
                  <a:gd name="T88" fmla="*/ 2147483647 w 840"/>
                  <a:gd name="T89" fmla="*/ 2147483647 h 768"/>
                  <a:gd name="T90" fmla="*/ 2147483647 w 840"/>
                  <a:gd name="T91" fmla="*/ 2147483647 h 768"/>
                  <a:gd name="T92" fmla="*/ 2147483647 w 840"/>
                  <a:gd name="T93" fmla="*/ 2147483647 h 768"/>
                  <a:gd name="T94" fmla="*/ 2147483647 w 840"/>
                  <a:gd name="T95" fmla="*/ 2147483647 h 768"/>
                  <a:gd name="T96" fmla="*/ 2147483647 w 840"/>
                  <a:gd name="T97" fmla="*/ 2147483647 h 768"/>
                  <a:gd name="T98" fmla="*/ 2147483647 w 840"/>
                  <a:gd name="T99" fmla="*/ 2147483647 h 768"/>
                  <a:gd name="T100" fmla="*/ 2147483647 w 840"/>
                  <a:gd name="T101" fmla="*/ 2147483647 h 768"/>
                  <a:gd name="T102" fmla="*/ 2147483647 w 840"/>
                  <a:gd name="T103" fmla="*/ 2147483647 h 768"/>
                  <a:gd name="T104" fmla="*/ 2147483647 w 840"/>
                  <a:gd name="T105" fmla="*/ 2147483647 h 768"/>
                  <a:gd name="T106" fmla="*/ 2147483647 w 840"/>
                  <a:gd name="T107" fmla="*/ 2147483647 h 768"/>
                  <a:gd name="T108" fmla="*/ 2147483647 w 840"/>
                  <a:gd name="T109" fmla="*/ 2147483647 h 768"/>
                  <a:gd name="T110" fmla="*/ 2147483647 w 840"/>
                  <a:gd name="T111" fmla="*/ 2147483647 h 768"/>
                  <a:gd name="T112" fmla="*/ 2147483647 w 840"/>
                  <a:gd name="T113" fmla="*/ 2147483647 h 768"/>
                  <a:gd name="T114" fmla="*/ 2147483647 w 840"/>
                  <a:gd name="T115" fmla="*/ 2147483647 h 768"/>
                  <a:gd name="T116" fmla="*/ 2147483647 w 840"/>
                  <a:gd name="T117" fmla="*/ 2147483647 h 768"/>
                  <a:gd name="T118" fmla="*/ 2147483647 w 840"/>
                  <a:gd name="T119" fmla="*/ 2147483647 h 76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40"/>
                  <a:gd name="T181" fmla="*/ 0 h 768"/>
                  <a:gd name="T182" fmla="*/ 840 w 840"/>
                  <a:gd name="T183" fmla="*/ 768 h 76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40" h="768">
                    <a:moveTo>
                      <a:pt x="420" y="738"/>
                    </a:moveTo>
                    <a:lnTo>
                      <a:pt x="420" y="732"/>
                    </a:lnTo>
                    <a:lnTo>
                      <a:pt x="426" y="726"/>
                    </a:lnTo>
                    <a:lnTo>
                      <a:pt x="426" y="714"/>
                    </a:lnTo>
                    <a:lnTo>
                      <a:pt x="432" y="702"/>
                    </a:lnTo>
                    <a:lnTo>
                      <a:pt x="432" y="648"/>
                    </a:lnTo>
                    <a:lnTo>
                      <a:pt x="498" y="594"/>
                    </a:lnTo>
                    <a:lnTo>
                      <a:pt x="498" y="588"/>
                    </a:lnTo>
                    <a:lnTo>
                      <a:pt x="504" y="582"/>
                    </a:lnTo>
                    <a:lnTo>
                      <a:pt x="516" y="558"/>
                    </a:lnTo>
                    <a:lnTo>
                      <a:pt x="522" y="552"/>
                    </a:lnTo>
                    <a:lnTo>
                      <a:pt x="528" y="552"/>
                    </a:lnTo>
                    <a:lnTo>
                      <a:pt x="534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58"/>
                    </a:lnTo>
                    <a:lnTo>
                      <a:pt x="558" y="546"/>
                    </a:lnTo>
                    <a:lnTo>
                      <a:pt x="552" y="540"/>
                    </a:lnTo>
                    <a:lnTo>
                      <a:pt x="564" y="540"/>
                    </a:lnTo>
                    <a:lnTo>
                      <a:pt x="570" y="552"/>
                    </a:lnTo>
                    <a:lnTo>
                      <a:pt x="582" y="564"/>
                    </a:lnTo>
                    <a:lnTo>
                      <a:pt x="588" y="576"/>
                    </a:lnTo>
                    <a:lnTo>
                      <a:pt x="588" y="582"/>
                    </a:lnTo>
                    <a:lnTo>
                      <a:pt x="594" y="594"/>
                    </a:lnTo>
                    <a:lnTo>
                      <a:pt x="600" y="600"/>
                    </a:lnTo>
                    <a:lnTo>
                      <a:pt x="606" y="600"/>
                    </a:lnTo>
                    <a:lnTo>
                      <a:pt x="624" y="582"/>
                    </a:lnTo>
                    <a:lnTo>
                      <a:pt x="624" y="570"/>
                    </a:lnTo>
                    <a:lnTo>
                      <a:pt x="630" y="558"/>
                    </a:lnTo>
                    <a:lnTo>
                      <a:pt x="642" y="552"/>
                    </a:lnTo>
                    <a:lnTo>
                      <a:pt x="648" y="546"/>
                    </a:lnTo>
                    <a:lnTo>
                      <a:pt x="648" y="516"/>
                    </a:lnTo>
                    <a:lnTo>
                      <a:pt x="672" y="486"/>
                    </a:lnTo>
                    <a:lnTo>
                      <a:pt x="684" y="438"/>
                    </a:lnTo>
                    <a:lnTo>
                      <a:pt x="696" y="432"/>
                    </a:lnTo>
                    <a:lnTo>
                      <a:pt x="702" y="426"/>
                    </a:lnTo>
                    <a:lnTo>
                      <a:pt x="714" y="420"/>
                    </a:lnTo>
                    <a:lnTo>
                      <a:pt x="720" y="414"/>
                    </a:lnTo>
                    <a:lnTo>
                      <a:pt x="720" y="402"/>
                    </a:lnTo>
                    <a:lnTo>
                      <a:pt x="726" y="384"/>
                    </a:lnTo>
                    <a:lnTo>
                      <a:pt x="726" y="354"/>
                    </a:lnTo>
                    <a:lnTo>
                      <a:pt x="744" y="354"/>
                    </a:lnTo>
                    <a:lnTo>
                      <a:pt x="750" y="348"/>
                    </a:lnTo>
                    <a:lnTo>
                      <a:pt x="756" y="330"/>
                    </a:lnTo>
                    <a:lnTo>
                      <a:pt x="756" y="300"/>
                    </a:lnTo>
                    <a:lnTo>
                      <a:pt x="762" y="294"/>
                    </a:lnTo>
                    <a:lnTo>
                      <a:pt x="768" y="264"/>
                    </a:lnTo>
                    <a:lnTo>
                      <a:pt x="774" y="252"/>
                    </a:lnTo>
                    <a:lnTo>
                      <a:pt x="786" y="240"/>
                    </a:lnTo>
                    <a:lnTo>
                      <a:pt x="786" y="234"/>
                    </a:lnTo>
                    <a:lnTo>
                      <a:pt x="792" y="228"/>
                    </a:lnTo>
                    <a:lnTo>
                      <a:pt x="792" y="222"/>
                    </a:lnTo>
                    <a:lnTo>
                      <a:pt x="798" y="216"/>
                    </a:lnTo>
                    <a:lnTo>
                      <a:pt x="798" y="210"/>
                    </a:lnTo>
                    <a:lnTo>
                      <a:pt x="810" y="210"/>
                    </a:lnTo>
                    <a:lnTo>
                      <a:pt x="822" y="204"/>
                    </a:lnTo>
                    <a:lnTo>
                      <a:pt x="840" y="186"/>
                    </a:lnTo>
                    <a:lnTo>
                      <a:pt x="840" y="174"/>
                    </a:lnTo>
                    <a:lnTo>
                      <a:pt x="834" y="168"/>
                    </a:lnTo>
                    <a:lnTo>
                      <a:pt x="834" y="162"/>
                    </a:lnTo>
                    <a:lnTo>
                      <a:pt x="840" y="156"/>
                    </a:lnTo>
                    <a:lnTo>
                      <a:pt x="840" y="126"/>
                    </a:lnTo>
                    <a:lnTo>
                      <a:pt x="810" y="126"/>
                    </a:lnTo>
                    <a:lnTo>
                      <a:pt x="810" y="120"/>
                    </a:lnTo>
                    <a:lnTo>
                      <a:pt x="804" y="108"/>
                    </a:lnTo>
                    <a:lnTo>
                      <a:pt x="804" y="60"/>
                    </a:lnTo>
                    <a:lnTo>
                      <a:pt x="774" y="12"/>
                    </a:lnTo>
                    <a:lnTo>
                      <a:pt x="756" y="12"/>
                    </a:lnTo>
                    <a:lnTo>
                      <a:pt x="750" y="18"/>
                    </a:lnTo>
                    <a:lnTo>
                      <a:pt x="750" y="24"/>
                    </a:lnTo>
                    <a:lnTo>
                      <a:pt x="744" y="30"/>
                    </a:lnTo>
                    <a:lnTo>
                      <a:pt x="744" y="36"/>
                    </a:lnTo>
                    <a:lnTo>
                      <a:pt x="720" y="36"/>
                    </a:lnTo>
                    <a:lnTo>
                      <a:pt x="714" y="42"/>
                    </a:lnTo>
                    <a:lnTo>
                      <a:pt x="702" y="48"/>
                    </a:lnTo>
                    <a:lnTo>
                      <a:pt x="696" y="54"/>
                    </a:lnTo>
                    <a:lnTo>
                      <a:pt x="684" y="60"/>
                    </a:lnTo>
                    <a:lnTo>
                      <a:pt x="654" y="60"/>
                    </a:lnTo>
                    <a:lnTo>
                      <a:pt x="648" y="54"/>
                    </a:lnTo>
                    <a:lnTo>
                      <a:pt x="636" y="48"/>
                    </a:lnTo>
                    <a:lnTo>
                      <a:pt x="600" y="36"/>
                    </a:lnTo>
                    <a:lnTo>
                      <a:pt x="546" y="36"/>
                    </a:lnTo>
                    <a:lnTo>
                      <a:pt x="528" y="42"/>
                    </a:lnTo>
                    <a:lnTo>
                      <a:pt x="516" y="54"/>
                    </a:lnTo>
                    <a:lnTo>
                      <a:pt x="504" y="60"/>
                    </a:lnTo>
                    <a:lnTo>
                      <a:pt x="492" y="84"/>
                    </a:lnTo>
                    <a:lnTo>
                      <a:pt x="486" y="90"/>
                    </a:lnTo>
                    <a:lnTo>
                      <a:pt x="480" y="90"/>
                    </a:lnTo>
                    <a:lnTo>
                      <a:pt x="468" y="84"/>
                    </a:lnTo>
                    <a:lnTo>
                      <a:pt x="438" y="84"/>
                    </a:lnTo>
                    <a:lnTo>
                      <a:pt x="414" y="72"/>
                    </a:lnTo>
                    <a:lnTo>
                      <a:pt x="402" y="60"/>
                    </a:lnTo>
                    <a:lnTo>
                      <a:pt x="390" y="54"/>
                    </a:lnTo>
                    <a:lnTo>
                      <a:pt x="384" y="48"/>
                    </a:lnTo>
                    <a:lnTo>
                      <a:pt x="372" y="42"/>
                    </a:lnTo>
                    <a:lnTo>
                      <a:pt x="360" y="42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12" y="72"/>
                    </a:lnTo>
                    <a:lnTo>
                      <a:pt x="306" y="72"/>
                    </a:lnTo>
                    <a:lnTo>
                      <a:pt x="294" y="66"/>
                    </a:lnTo>
                    <a:lnTo>
                      <a:pt x="288" y="60"/>
                    </a:lnTo>
                    <a:lnTo>
                      <a:pt x="288" y="54"/>
                    </a:lnTo>
                    <a:lnTo>
                      <a:pt x="282" y="48"/>
                    </a:lnTo>
                    <a:lnTo>
                      <a:pt x="282" y="42"/>
                    </a:lnTo>
                    <a:lnTo>
                      <a:pt x="258" y="18"/>
                    </a:lnTo>
                    <a:lnTo>
                      <a:pt x="222" y="18"/>
                    </a:lnTo>
                    <a:lnTo>
                      <a:pt x="222" y="12"/>
                    </a:lnTo>
                    <a:lnTo>
                      <a:pt x="210" y="0"/>
                    </a:lnTo>
                    <a:lnTo>
                      <a:pt x="198" y="0"/>
                    </a:lnTo>
                    <a:lnTo>
                      <a:pt x="186" y="6"/>
                    </a:lnTo>
                    <a:lnTo>
                      <a:pt x="180" y="6"/>
                    </a:lnTo>
                    <a:lnTo>
                      <a:pt x="180" y="12"/>
                    </a:lnTo>
                    <a:lnTo>
                      <a:pt x="126" y="12"/>
                    </a:lnTo>
                    <a:lnTo>
                      <a:pt x="102" y="36"/>
                    </a:lnTo>
                    <a:lnTo>
                      <a:pt x="102" y="60"/>
                    </a:lnTo>
                    <a:lnTo>
                      <a:pt x="96" y="78"/>
                    </a:lnTo>
                    <a:lnTo>
                      <a:pt x="90" y="90"/>
                    </a:lnTo>
                    <a:lnTo>
                      <a:pt x="84" y="96"/>
                    </a:lnTo>
                    <a:lnTo>
                      <a:pt x="78" y="108"/>
                    </a:lnTo>
                    <a:lnTo>
                      <a:pt x="72" y="114"/>
                    </a:lnTo>
                    <a:lnTo>
                      <a:pt x="66" y="114"/>
                    </a:lnTo>
                    <a:lnTo>
                      <a:pt x="66" y="168"/>
                    </a:lnTo>
                    <a:lnTo>
                      <a:pt x="60" y="180"/>
                    </a:lnTo>
                    <a:lnTo>
                      <a:pt x="60" y="186"/>
                    </a:lnTo>
                    <a:lnTo>
                      <a:pt x="54" y="192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8" y="234"/>
                    </a:lnTo>
                    <a:lnTo>
                      <a:pt x="78" y="246"/>
                    </a:lnTo>
                    <a:lnTo>
                      <a:pt x="84" y="252"/>
                    </a:lnTo>
                    <a:lnTo>
                      <a:pt x="84" y="264"/>
                    </a:lnTo>
                    <a:lnTo>
                      <a:pt x="78" y="270"/>
                    </a:lnTo>
                    <a:lnTo>
                      <a:pt x="72" y="270"/>
                    </a:lnTo>
                    <a:lnTo>
                      <a:pt x="60" y="276"/>
                    </a:lnTo>
                    <a:lnTo>
                      <a:pt x="60" y="318"/>
                    </a:lnTo>
                    <a:lnTo>
                      <a:pt x="48" y="324"/>
                    </a:lnTo>
                    <a:lnTo>
                      <a:pt x="42" y="336"/>
                    </a:lnTo>
                    <a:lnTo>
                      <a:pt x="36" y="342"/>
                    </a:lnTo>
                    <a:lnTo>
                      <a:pt x="36" y="372"/>
                    </a:lnTo>
                    <a:lnTo>
                      <a:pt x="24" y="396"/>
                    </a:lnTo>
                    <a:lnTo>
                      <a:pt x="6" y="396"/>
                    </a:lnTo>
                    <a:lnTo>
                      <a:pt x="0" y="426"/>
                    </a:lnTo>
                    <a:lnTo>
                      <a:pt x="6" y="462"/>
                    </a:lnTo>
                    <a:lnTo>
                      <a:pt x="0" y="492"/>
                    </a:lnTo>
                    <a:lnTo>
                      <a:pt x="0" y="606"/>
                    </a:lnTo>
                    <a:lnTo>
                      <a:pt x="6" y="612"/>
                    </a:lnTo>
                    <a:lnTo>
                      <a:pt x="30" y="612"/>
                    </a:lnTo>
                    <a:lnTo>
                      <a:pt x="54" y="600"/>
                    </a:lnTo>
                    <a:lnTo>
                      <a:pt x="60" y="594"/>
                    </a:lnTo>
                    <a:lnTo>
                      <a:pt x="66" y="600"/>
                    </a:lnTo>
                    <a:lnTo>
                      <a:pt x="108" y="600"/>
                    </a:lnTo>
                    <a:lnTo>
                      <a:pt x="126" y="606"/>
                    </a:lnTo>
                    <a:lnTo>
                      <a:pt x="138" y="618"/>
                    </a:lnTo>
                    <a:lnTo>
                      <a:pt x="150" y="636"/>
                    </a:lnTo>
                    <a:lnTo>
                      <a:pt x="156" y="648"/>
                    </a:lnTo>
                    <a:lnTo>
                      <a:pt x="168" y="660"/>
                    </a:lnTo>
                    <a:lnTo>
                      <a:pt x="186" y="660"/>
                    </a:lnTo>
                    <a:lnTo>
                      <a:pt x="180" y="666"/>
                    </a:lnTo>
                    <a:lnTo>
                      <a:pt x="180" y="678"/>
                    </a:lnTo>
                    <a:lnTo>
                      <a:pt x="174" y="684"/>
                    </a:lnTo>
                    <a:lnTo>
                      <a:pt x="186" y="684"/>
                    </a:lnTo>
                    <a:lnTo>
                      <a:pt x="198" y="678"/>
                    </a:lnTo>
                    <a:lnTo>
                      <a:pt x="198" y="684"/>
                    </a:lnTo>
                    <a:lnTo>
                      <a:pt x="192" y="690"/>
                    </a:lnTo>
                    <a:lnTo>
                      <a:pt x="186" y="702"/>
                    </a:lnTo>
                    <a:lnTo>
                      <a:pt x="186" y="714"/>
                    </a:lnTo>
                    <a:lnTo>
                      <a:pt x="204" y="750"/>
                    </a:lnTo>
                    <a:lnTo>
                      <a:pt x="216" y="762"/>
                    </a:lnTo>
                    <a:lnTo>
                      <a:pt x="234" y="768"/>
                    </a:lnTo>
                    <a:lnTo>
                      <a:pt x="270" y="768"/>
                    </a:lnTo>
                    <a:lnTo>
                      <a:pt x="276" y="762"/>
                    </a:lnTo>
                    <a:lnTo>
                      <a:pt x="282" y="762"/>
                    </a:lnTo>
                    <a:lnTo>
                      <a:pt x="288" y="738"/>
                    </a:lnTo>
                    <a:lnTo>
                      <a:pt x="312" y="750"/>
                    </a:lnTo>
                    <a:lnTo>
                      <a:pt x="336" y="744"/>
                    </a:lnTo>
                    <a:lnTo>
                      <a:pt x="354" y="756"/>
                    </a:lnTo>
                    <a:lnTo>
                      <a:pt x="396" y="756"/>
                    </a:lnTo>
                    <a:lnTo>
                      <a:pt x="396" y="732"/>
                    </a:lnTo>
                    <a:lnTo>
                      <a:pt x="420" y="732"/>
                    </a:lnTo>
                    <a:lnTo>
                      <a:pt x="420" y="73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5" name="Nige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EF842F3-E18C-4D83-B7EE-1A6055E046B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58180" y="3670902"/>
                <a:ext cx="490956" cy="423367"/>
              </a:xfrm>
              <a:custGeom>
                <a:avLst/>
                <a:gdLst>
                  <a:gd name="T0" fmla="*/ 2147483647 w 1110"/>
                  <a:gd name="T1" fmla="*/ 2147483647 h 942"/>
                  <a:gd name="T2" fmla="*/ 2147483647 w 1110"/>
                  <a:gd name="T3" fmla="*/ 2147483647 h 942"/>
                  <a:gd name="T4" fmla="*/ 2147483647 w 1110"/>
                  <a:gd name="T5" fmla="*/ 2147483647 h 942"/>
                  <a:gd name="T6" fmla="*/ 2147483647 w 1110"/>
                  <a:gd name="T7" fmla="*/ 2147483647 h 942"/>
                  <a:gd name="T8" fmla="*/ 2147483647 w 1110"/>
                  <a:gd name="T9" fmla="*/ 2147483647 h 942"/>
                  <a:gd name="T10" fmla="*/ 2147483647 w 1110"/>
                  <a:gd name="T11" fmla="*/ 2147483647 h 942"/>
                  <a:gd name="T12" fmla="*/ 2147483647 w 1110"/>
                  <a:gd name="T13" fmla="*/ 2147483647 h 942"/>
                  <a:gd name="T14" fmla="*/ 2147483647 w 1110"/>
                  <a:gd name="T15" fmla="*/ 2147483647 h 942"/>
                  <a:gd name="T16" fmla="*/ 2147483647 w 1110"/>
                  <a:gd name="T17" fmla="*/ 2147483647 h 942"/>
                  <a:gd name="T18" fmla="*/ 2147483647 w 1110"/>
                  <a:gd name="T19" fmla="*/ 2147483647 h 942"/>
                  <a:gd name="T20" fmla="*/ 2147483647 w 1110"/>
                  <a:gd name="T21" fmla="*/ 2147483647 h 942"/>
                  <a:gd name="T22" fmla="*/ 2147483647 w 1110"/>
                  <a:gd name="T23" fmla="*/ 2147483647 h 942"/>
                  <a:gd name="T24" fmla="*/ 2147483647 w 1110"/>
                  <a:gd name="T25" fmla="*/ 2147483647 h 942"/>
                  <a:gd name="T26" fmla="*/ 2147483647 w 1110"/>
                  <a:gd name="T27" fmla="*/ 2147483647 h 942"/>
                  <a:gd name="T28" fmla="*/ 2147483647 w 1110"/>
                  <a:gd name="T29" fmla="*/ 2147483647 h 942"/>
                  <a:gd name="T30" fmla="*/ 2147483647 w 1110"/>
                  <a:gd name="T31" fmla="*/ 2147483647 h 942"/>
                  <a:gd name="T32" fmla="*/ 2147483647 w 1110"/>
                  <a:gd name="T33" fmla="*/ 2147483647 h 942"/>
                  <a:gd name="T34" fmla="*/ 2147483647 w 1110"/>
                  <a:gd name="T35" fmla="*/ 2147483647 h 942"/>
                  <a:gd name="T36" fmla="*/ 2147483647 w 1110"/>
                  <a:gd name="T37" fmla="*/ 2147483647 h 942"/>
                  <a:gd name="T38" fmla="*/ 2147483647 w 1110"/>
                  <a:gd name="T39" fmla="*/ 2147483647 h 942"/>
                  <a:gd name="T40" fmla="*/ 2147483647 w 1110"/>
                  <a:gd name="T41" fmla="*/ 2147483647 h 942"/>
                  <a:gd name="T42" fmla="*/ 2147483647 w 1110"/>
                  <a:gd name="T43" fmla="*/ 2147483647 h 942"/>
                  <a:gd name="T44" fmla="*/ 2147483647 w 1110"/>
                  <a:gd name="T45" fmla="*/ 2147483647 h 942"/>
                  <a:gd name="T46" fmla="*/ 2147483647 w 1110"/>
                  <a:gd name="T47" fmla="*/ 2147483647 h 942"/>
                  <a:gd name="T48" fmla="*/ 2147483647 w 1110"/>
                  <a:gd name="T49" fmla="*/ 2147483647 h 942"/>
                  <a:gd name="T50" fmla="*/ 2147483647 w 1110"/>
                  <a:gd name="T51" fmla="*/ 2147483647 h 942"/>
                  <a:gd name="T52" fmla="*/ 2147483647 w 1110"/>
                  <a:gd name="T53" fmla="*/ 2147483647 h 942"/>
                  <a:gd name="T54" fmla="*/ 2147483647 w 1110"/>
                  <a:gd name="T55" fmla="*/ 2147483647 h 942"/>
                  <a:gd name="T56" fmla="*/ 2147483647 w 1110"/>
                  <a:gd name="T57" fmla="*/ 2147483647 h 942"/>
                  <a:gd name="T58" fmla="*/ 2147483647 w 1110"/>
                  <a:gd name="T59" fmla="*/ 2147483647 h 942"/>
                  <a:gd name="T60" fmla="*/ 2147483647 w 1110"/>
                  <a:gd name="T61" fmla="*/ 2147483647 h 942"/>
                  <a:gd name="T62" fmla="*/ 2147483647 w 1110"/>
                  <a:gd name="T63" fmla="*/ 2147483647 h 942"/>
                  <a:gd name="T64" fmla="*/ 2147483647 w 1110"/>
                  <a:gd name="T65" fmla="*/ 2147483647 h 942"/>
                  <a:gd name="T66" fmla="*/ 2147483647 w 1110"/>
                  <a:gd name="T67" fmla="*/ 2147483647 h 942"/>
                  <a:gd name="T68" fmla="*/ 2147483647 w 1110"/>
                  <a:gd name="T69" fmla="*/ 2147483647 h 942"/>
                  <a:gd name="T70" fmla="*/ 2147483647 w 1110"/>
                  <a:gd name="T71" fmla="*/ 2147483647 h 942"/>
                  <a:gd name="T72" fmla="*/ 2147483647 w 1110"/>
                  <a:gd name="T73" fmla="*/ 2147483647 h 942"/>
                  <a:gd name="T74" fmla="*/ 2147483647 w 1110"/>
                  <a:gd name="T75" fmla="*/ 2147483647 h 942"/>
                  <a:gd name="T76" fmla="*/ 2147483647 w 1110"/>
                  <a:gd name="T77" fmla="*/ 2147483647 h 942"/>
                  <a:gd name="T78" fmla="*/ 2147483647 w 1110"/>
                  <a:gd name="T79" fmla="*/ 2147483647 h 942"/>
                  <a:gd name="T80" fmla="*/ 2147483647 w 1110"/>
                  <a:gd name="T81" fmla="*/ 2147483647 h 942"/>
                  <a:gd name="T82" fmla="*/ 2147483647 w 1110"/>
                  <a:gd name="T83" fmla="*/ 2147483647 h 942"/>
                  <a:gd name="T84" fmla="*/ 2147483647 w 1110"/>
                  <a:gd name="T85" fmla="*/ 2147483647 h 942"/>
                  <a:gd name="T86" fmla="*/ 2147483647 w 1110"/>
                  <a:gd name="T87" fmla="*/ 2147483647 h 942"/>
                  <a:gd name="T88" fmla="*/ 2147483647 w 1110"/>
                  <a:gd name="T89" fmla="*/ 2147483647 h 942"/>
                  <a:gd name="T90" fmla="*/ 2147483647 w 1110"/>
                  <a:gd name="T91" fmla="*/ 2147483647 h 942"/>
                  <a:gd name="T92" fmla="*/ 2147483647 w 1110"/>
                  <a:gd name="T93" fmla="*/ 2147483647 h 942"/>
                  <a:gd name="T94" fmla="*/ 2147483647 w 1110"/>
                  <a:gd name="T95" fmla="*/ 2147483647 h 942"/>
                  <a:gd name="T96" fmla="*/ 2147483647 w 1110"/>
                  <a:gd name="T97" fmla="*/ 2147483647 h 942"/>
                  <a:gd name="T98" fmla="*/ 0 w 1110"/>
                  <a:gd name="T99" fmla="*/ 2147483647 h 942"/>
                  <a:gd name="T100" fmla="*/ 2147483647 w 1110"/>
                  <a:gd name="T101" fmla="*/ 2147483647 h 94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110"/>
                  <a:gd name="T154" fmla="*/ 0 h 942"/>
                  <a:gd name="T155" fmla="*/ 1110 w 1110"/>
                  <a:gd name="T156" fmla="*/ 942 h 94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110" h="942">
                    <a:moveTo>
                      <a:pt x="54" y="792"/>
                    </a:moveTo>
                    <a:lnTo>
                      <a:pt x="54" y="810"/>
                    </a:lnTo>
                    <a:lnTo>
                      <a:pt x="66" y="810"/>
                    </a:lnTo>
                    <a:lnTo>
                      <a:pt x="48" y="828"/>
                    </a:lnTo>
                    <a:lnTo>
                      <a:pt x="48" y="834"/>
                    </a:lnTo>
                    <a:lnTo>
                      <a:pt x="72" y="858"/>
                    </a:lnTo>
                    <a:lnTo>
                      <a:pt x="84" y="864"/>
                    </a:lnTo>
                    <a:lnTo>
                      <a:pt x="90" y="876"/>
                    </a:lnTo>
                    <a:lnTo>
                      <a:pt x="108" y="876"/>
                    </a:lnTo>
                    <a:lnTo>
                      <a:pt x="120" y="864"/>
                    </a:lnTo>
                    <a:lnTo>
                      <a:pt x="132" y="864"/>
                    </a:lnTo>
                    <a:lnTo>
                      <a:pt x="144" y="876"/>
                    </a:lnTo>
                    <a:lnTo>
                      <a:pt x="150" y="888"/>
                    </a:lnTo>
                    <a:lnTo>
                      <a:pt x="126" y="894"/>
                    </a:lnTo>
                    <a:lnTo>
                      <a:pt x="150" y="930"/>
                    </a:lnTo>
                    <a:lnTo>
                      <a:pt x="150" y="906"/>
                    </a:lnTo>
                    <a:lnTo>
                      <a:pt x="180" y="894"/>
                    </a:lnTo>
                    <a:lnTo>
                      <a:pt x="192" y="906"/>
                    </a:lnTo>
                    <a:lnTo>
                      <a:pt x="198" y="918"/>
                    </a:lnTo>
                    <a:lnTo>
                      <a:pt x="204" y="924"/>
                    </a:lnTo>
                    <a:lnTo>
                      <a:pt x="210" y="924"/>
                    </a:lnTo>
                    <a:lnTo>
                      <a:pt x="216" y="930"/>
                    </a:lnTo>
                    <a:lnTo>
                      <a:pt x="222" y="930"/>
                    </a:lnTo>
                    <a:lnTo>
                      <a:pt x="234" y="936"/>
                    </a:lnTo>
                    <a:lnTo>
                      <a:pt x="240" y="942"/>
                    </a:lnTo>
                    <a:lnTo>
                      <a:pt x="240" y="888"/>
                    </a:lnTo>
                    <a:lnTo>
                      <a:pt x="246" y="888"/>
                    </a:lnTo>
                    <a:lnTo>
                      <a:pt x="252" y="882"/>
                    </a:lnTo>
                    <a:lnTo>
                      <a:pt x="258" y="870"/>
                    </a:lnTo>
                    <a:lnTo>
                      <a:pt x="264" y="864"/>
                    </a:lnTo>
                    <a:lnTo>
                      <a:pt x="270" y="852"/>
                    </a:lnTo>
                    <a:lnTo>
                      <a:pt x="276" y="834"/>
                    </a:lnTo>
                    <a:lnTo>
                      <a:pt x="276" y="810"/>
                    </a:lnTo>
                    <a:lnTo>
                      <a:pt x="300" y="786"/>
                    </a:lnTo>
                    <a:lnTo>
                      <a:pt x="354" y="786"/>
                    </a:lnTo>
                    <a:lnTo>
                      <a:pt x="354" y="780"/>
                    </a:lnTo>
                    <a:lnTo>
                      <a:pt x="360" y="780"/>
                    </a:lnTo>
                    <a:lnTo>
                      <a:pt x="372" y="774"/>
                    </a:lnTo>
                    <a:lnTo>
                      <a:pt x="384" y="774"/>
                    </a:lnTo>
                    <a:lnTo>
                      <a:pt x="396" y="786"/>
                    </a:lnTo>
                    <a:lnTo>
                      <a:pt x="396" y="792"/>
                    </a:lnTo>
                    <a:lnTo>
                      <a:pt x="432" y="792"/>
                    </a:lnTo>
                    <a:lnTo>
                      <a:pt x="456" y="816"/>
                    </a:lnTo>
                    <a:lnTo>
                      <a:pt x="456" y="822"/>
                    </a:lnTo>
                    <a:lnTo>
                      <a:pt x="462" y="828"/>
                    </a:lnTo>
                    <a:lnTo>
                      <a:pt x="462" y="834"/>
                    </a:lnTo>
                    <a:lnTo>
                      <a:pt x="468" y="840"/>
                    </a:lnTo>
                    <a:lnTo>
                      <a:pt x="480" y="846"/>
                    </a:lnTo>
                    <a:lnTo>
                      <a:pt x="486" y="846"/>
                    </a:lnTo>
                    <a:lnTo>
                      <a:pt x="498" y="840"/>
                    </a:lnTo>
                    <a:lnTo>
                      <a:pt x="510" y="828"/>
                    </a:lnTo>
                    <a:lnTo>
                      <a:pt x="534" y="816"/>
                    </a:lnTo>
                    <a:lnTo>
                      <a:pt x="546" y="816"/>
                    </a:lnTo>
                    <a:lnTo>
                      <a:pt x="558" y="822"/>
                    </a:lnTo>
                    <a:lnTo>
                      <a:pt x="564" y="828"/>
                    </a:lnTo>
                    <a:lnTo>
                      <a:pt x="576" y="834"/>
                    </a:lnTo>
                    <a:lnTo>
                      <a:pt x="588" y="846"/>
                    </a:lnTo>
                    <a:lnTo>
                      <a:pt x="612" y="858"/>
                    </a:lnTo>
                    <a:lnTo>
                      <a:pt x="642" y="858"/>
                    </a:lnTo>
                    <a:lnTo>
                      <a:pt x="654" y="864"/>
                    </a:lnTo>
                    <a:lnTo>
                      <a:pt x="660" y="864"/>
                    </a:lnTo>
                    <a:lnTo>
                      <a:pt x="666" y="858"/>
                    </a:lnTo>
                    <a:lnTo>
                      <a:pt x="678" y="834"/>
                    </a:lnTo>
                    <a:lnTo>
                      <a:pt x="690" y="828"/>
                    </a:lnTo>
                    <a:lnTo>
                      <a:pt x="702" y="816"/>
                    </a:lnTo>
                    <a:lnTo>
                      <a:pt x="720" y="810"/>
                    </a:lnTo>
                    <a:lnTo>
                      <a:pt x="774" y="810"/>
                    </a:lnTo>
                    <a:lnTo>
                      <a:pt x="810" y="822"/>
                    </a:lnTo>
                    <a:lnTo>
                      <a:pt x="822" y="828"/>
                    </a:lnTo>
                    <a:lnTo>
                      <a:pt x="828" y="834"/>
                    </a:lnTo>
                    <a:lnTo>
                      <a:pt x="858" y="834"/>
                    </a:lnTo>
                    <a:lnTo>
                      <a:pt x="870" y="828"/>
                    </a:lnTo>
                    <a:lnTo>
                      <a:pt x="876" y="822"/>
                    </a:lnTo>
                    <a:lnTo>
                      <a:pt x="888" y="816"/>
                    </a:lnTo>
                    <a:lnTo>
                      <a:pt x="894" y="810"/>
                    </a:lnTo>
                    <a:lnTo>
                      <a:pt x="918" y="810"/>
                    </a:lnTo>
                    <a:lnTo>
                      <a:pt x="918" y="804"/>
                    </a:lnTo>
                    <a:lnTo>
                      <a:pt x="924" y="798"/>
                    </a:lnTo>
                    <a:lnTo>
                      <a:pt x="924" y="792"/>
                    </a:lnTo>
                    <a:lnTo>
                      <a:pt x="930" y="786"/>
                    </a:lnTo>
                    <a:lnTo>
                      <a:pt x="936" y="786"/>
                    </a:lnTo>
                    <a:lnTo>
                      <a:pt x="930" y="726"/>
                    </a:lnTo>
                    <a:lnTo>
                      <a:pt x="948" y="720"/>
                    </a:lnTo>
                    <a:lnTo>
                      <a:pt x="948" y="714"/>
                    </a:lnTo>
                    <a:lnTo>
                      <a:pt x="954" y="708"/>
                    </a:lnTo>
                    <a:lnTo>
                      <a:pt x="954" y="696"/>
                    </a:lnTo>
                    <a:lnTo>
                      <a:pt x="960" y="678"/>
                    </a:lnTo>
                    <a:lnTo>
                      <a:pt x="966" y="666"/>
                    </a:lnTo>
                    <a:lnTo>
                      <a:pt x="978" y="648"/>
                    </a:lnTo>
                    <a:lnTo>
                      <a:pt x="984" y="636"/>
                    </a:lnTo>
                    <a:lnTo>
                      <a:pt x="1002" y="618"/>
                    </a:lnTo>
                    <a:lnTo>
                      <a:pt x="1026" y="588"/>
                    </a:lnTo>
                    <a:lnTo>
                      <a:pt x="1050" y="564"/>
                    </a:lnTo>
                    <a:lnTo>
                      <a:pt x="1068" y="540"/>
                    </a:lnTo>
                    <a:lnTo>
                      <a:pt x="1074" y="534"/>
                    </a:lnTo>
                    <a:lnTo>
                      <a:pt x="1092" y="288"/>
                    </a:lnTo>
                    <a:lnTo>
                      <a:pt x="1110" y="252"/>
                    </a:lnTo>
                    <a:lnTo>
                      <a:pt x="1080" y="216"/>
                    </a:lnTo>
                    <a:lnTo>
                      <a:pt x="1074" y="192"/>
                    </a:lnTo>
                    <a:lnTo>
                      <a:pt x="1044" y="156"/>
                    </a:lnTo>
                    <a:lnTo>
                      <a:pt x="1056" y="108"/>
                    </a:lnTo>
                    <a:lnTo>
                      <a:pt x="1038" y="42"/>
                    </a:lnTo>
                    <a:lnTo>
                      <a:pt x="1020" y="48"/>
                    </a:lnTo>
                    <a:lnTo>
                      <a:pt x="1002" y="60"/>
                    </a:lnTo>
                    <a:lnTo>
                      <a:pt x="990" y="66"/>
                    </a:lnTo>
                    <a:lnTo>
                      <a:pt x="984" y="66"/>
                    </a:lnTo>
                    <a:lnTo>
                      <a:pt x="978" y="60"/>
                    </a:lnTo>
                    <a:lnTo>
                      <a:pt x="966" y="54"/>
                    </a:lnTo>
                    <a:lnTo>
                      <a:pt x="960" y="42"/>
                    </a:lnTo>
                    <a:lnTo>
                      <a:pt x="954" y="36"/>
                    </a:lnTo>
                    <a:lnTo>
                      <a:pt x="942" y="30"/>
                    </a:lnTo>
                    <a:lnTo>
                      <a:pt x="936" y="24"/>
                    </a:lnTo>
                    <a:lnTo>
                      <a:pt x="930" y="24"/>
                    </a:lnTo>
                    <a:lnTo>
                      <a:pt x="918" y="18"/>
                    </a:lnTo>
                    <a:lnTo>
                      <a:pt x="900" y="12"/>
                    </a:lnTo>
                    <a:lnTo>
                      <a:pt x="888" y="12"/>
                    </a:lnTo>
                    <a:lnTo>
                      <a:pt x="876" y="6"/>
                    </a:lnTo>
                    <a:lnTo>
                      <a:pt x="864" y="6"/>
                    </a:lnTo>
                    <a:lnTo>
                      <a:pt x="828" y="0"/>
                    </a:lnTo>
                    <a:lnTo>
                      <a:pt x="816" y="6"/>
                    </a:lnTo>
                    <a:lnTo>
                      <a:pt x="786" y="30"/>
                    </a:lnTo>
                    <a:lnTo>
                      <a:pt x="738" y="66"/>
                    </a:lnTo>
                    <a:lnTo>
                      <a:pt x="684" y="102"/>
                    </a:lnTo>
                    <a:lnTo>
                      <a:pt x="624" y="144"/>
                    </a:lnTo>
                    <a:lnTo>
                      <a:pt x="576" y="180"/>
                    </a:lnTo>
                    <a:lnTo>
                      <a:pt x="534" y="210"/>
                    </a:lnTo>
                    <a:lnTo>
                      <a:pt x="510" y="222"/>
                    </a:lnTo>
                    <a:lnTo>
                      <a:pt x="480" y="246"/>
                    </a:lnTo>
                    <a:lnTo>
                      <a:pt x="450" y="282"/>
                    </a:lnTo>
                    <a:lnTo>
                      <a:pt x="414" y="312"/>
                    </a:lnTo>
                    <a:lnTo>
                      <a:pt x="390" y="330"/>
                    </a:lnTo>
                    <a:lnTo>
                      <a:pt x="366" y="336"/>
                    </a:lnTo>
                    <a:lnTo>
                      <a:pt x="324" y="342"/>
                    </a:lnTo>
                    <a:lnTo>
                      <a:pt x="282" y="354"/>
                    </a:lnTo>
                    <a:lnTo>
                      <a:pt x="282" y="558"/>
                    </a:lnTo>
                    <a:lnTo>
                      <a:pt x="264" y="582"/>
                    </a:lnTo>
                    <a:lnTo>
                      <a:pt x="264" y="594"/>
                    </a:lnTo>
                    <a:lnTo>
                      <a:pt x="258" y="606"/>
                    </a:lnTo>
                    <a:lnTo>
                      <a:pt x="258" y="624"/>
                    </a:lnTo>
                    <a:lnTo>
                      <a:pt x="252" y="636"/>
                    </a:lnTo>
                    <a:lnTo>
                      <a:pt x="240" y="642"/>
                    </a:lnTo>
                    <a:lnTo>
                      <a:pt x="222" y="648"/>
                    </a:lnTo>
                    <a:lnTo>
                      <a:pt x="198" y="648"/>
                    </a:lnTo>
                    <a:lnTo>
                      <a:pt x="186" y="654"/>
                    </a:lnTo>
                    <a:lnTo>
                      <a:pt x="138" y="648"/>
                    </a:lnTo>
                    <a:lnTo>
                      <a:pt x="138" y="666"/>
                    </a:lnTo>
                    <a:lnTo>
                      <a:pt x="72" y="660"/>
                    </a:lnTo>
                    <a:lnTo>
                      <a:pt x="48" y="678"/>
                    </a:lnTo>
                    <a:lnTo>
                      <a:pt x="0" y="690"/>
                    </a:lnTo>
                    <a:lnTo>
                      <a:pt x="0" y="726"/>
                    </a:lnTo>
                    <a:lnTo>
                      <a:pt x="6" y="738"/>
                    </a:lnTo>
                    <a:lnTo>
                      <a:pt x="6" y="762"/>
                    </a:lnTo>
                    <a:lnTo>
                      <a:pt x="18" y="786"/>
                    </a:lnTo>
                    <a:lnTo>
                      <a:pt x="30" y="792"/>
                    </a:lnTo>
                    <a:lnTo>
                      <a:pt x="54" y="79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6" name="Nepa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8DE83EE-B9BD-4CA9-8630-A309437599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93743" y="3417592"/>
                <a:ext cx="260329" cy="148799"/>
              </a:xfrm>
              <a:custGeom>
                <a:avLst/>
                <a:gdLst>
                  <a:gd name="T0" fmla="*/ 2147483647 w 588"/>
                  <a:gd name="T1" fmla="*/ 2147483647 h 330"/>
                  <a:gd name="T2" fmla="*/ 2147483647 w 588"/>
                  <a:gd name="T3" fmla="*/ 2147483647 h 330"/>
                  <a:gd name="T4" fmla="*/ 2147483647 w 588"/>
                  <a:gd name="T5" fmla="*/ 2147483647 h 330"/>
                  <a:gd name="T6" fmla="*/ 2147483647 w 588"/>
                  <a:gd name="T7" fmla="*/ 2147483647 h 330"/>
                  <a:gd name="T8" fmla="*/ 2147483647 w 588"/>
                  <a:gd name="T9" fmla="*/ 2147483647 h 330"/>
                  <a:gd name="T10" fmla="*/ 2147483647 w 588"/>
                  <a:gd name="T11" fmla="*/ 2147483647 h 330"/>
                  <a:gd name="T12" fmla="*/ 2147483647 w 588"/>
                  <a:gd name="T13" fmla="*/ 2147483647 h 330"/>
                  <a:gd name="T14" fmla="*/ 2147483647 w 588"/>
                  <a:gd name="T15" fmla="*/ 2147483647 h 330"/>
                  <a:gd name="T16" fmla="*/ 2147483647 w 588"/>
                  <a:gd name="T17" fmla="*/ 2147483647 h 330"/>
                  <a:gd name="T18" fmla="*/ 2147483647 w 588"/>
                  <a:gd name="T19" fmla="*/ 2147483647 h 330"/>
                  <a:gd name="T20" fmla="*/ 2147483647 w 588"/>
                  <a:gd name="T21" fmla="*/ 2147483647 h 330"/>
                  <a:gd name="T22" fmla="*/ 2147483647 w 588"/>
                  <a:gd name="T23" fmla="*/ 2147483647 h 330"/>
                  <a:gd name="T24" fmla="*/ 2147483647 w 588"/>
                  <a:gd name="T25" fmla="*/ 2147483647 h 330"/>
                  <a:gd name="T26" fmla="*/ 2147483647 w 588"/>
                  <a:gd name="T27" fmla="*/ 2147483647 h 330"/>
                  <a:gd name="T28" fmla="*/ 2147483647 w 588"/>
                  <a:gd name="T29" fmla="*/ 2147483647 h 330"/>
                  <a:gd name="T30" fmla="*/ 2147483647 w 588"/>
                  <a:gd name="T31" fmla="*/ 2147483647 h 330"/>
                  <a:gd name="T32" fmla="*/ 2147483647 w 588"/>
                  <a:gd name="T33" fmla="*/ 2147483647 h 330"/>
                  <a:gd name="T34" fmla="*/ 2147483647 w 588"/>
                  <a:gd name="T35" fmla="*/ 2147483647 h 330"/>
                  <a:gd name="T36" fmla="*/ 2147483647 w 588"/>
                  <a:gd name="T37" fmla="*/ 2147483647 h 330"/>
                  <a:gd name="T38" fmla="*/ 2147483647 w 588"/>
                  <a:gd name="T39" fmla="*/ 2147483647 h 330"/>
                  <a:gd name="T40" fmla="*/ 2147483647 w 588"/>
                  <a:gd name="T41" fmla="*/ 2147483647 h 330"/>
                  <a:gd name="T42" fmla="*/ 2147483647 w 588"/>
                  <a:gd name="T43" fmla="*/ 2147483647 h 330"/>
                  <a:gd name="T44" fmla="*/ 2147483647 w 588"/>
                  <a:gd name="T45" fmla="*/ 2147483647 h 330"/>
                  <a:gd name="T46" fmla="*/ 2147483647 w 588"/>
                  <a:gd name="T47" fmla="*/ 2147483647 h 330"/>
                  <a:gd name="T48" fmla="*/ 2147483647 w 588"/>
                  <a:gd name="T49" fmla="*/ 2147483647 h 330"/>
                  <a:gd name="T50" fmla="*/ 2147483647 w 588"/>
                  <a:gd name="T51" fmla="*/ 2147483647 h 330"/>
                  <a:gd name="T52" fmla="*/ 2147483647 w 588"/>
                  <a:gd name="T53" fmla="*/ 2147483647 h 330"/>
                  <a:gd name="T54" fmla="*/ 2147483647 w 588"/>
                  <a:gd name="T55" fmla="*/ 2147483647 h 330"/>
                  <a:gd name="T56" fmla="*/ 2147483647 w 588"/>
                  <a:gd name="T57" fmla="*/ 2147483647 h 330"/>
                  <a:gd name="T58" fmla="*/ 2147483647 w 588"/>
                  <a:gd name="T59" fmla="*/ 2147483647 h 330"/>
                  <a:gd name="T60" fmla="*/ 2147483647 w 588"/>
                  <a:gd name="T61" fmla="*/ 2147483647 h 330"/>
                  <a:gd name="T62" fmla="*/ 2147483647 w 588"/>
                  <a:gd name="T63" fmla="*/ 2147483647 h 330"/>
                  <a:gd name="T64" fmla="*/ 2147483647 w 588"/>
                  <a:gd name="T65" fmla="*/ 2147483647 h 330"/>
                  <a:gd name="T66" fmla="*/ 2147483647 w 588"/>
                  <a:gd name="T67" fmla="*/ 2147483647 h 330"/>
                  <a:gd name="T68" fmla="*/ 2147483647 w 588"/>
                  <a:gd name="T69" fmla="*/ 2147483647 h 330"/>
                  <a:gd name="T70" fmla="*/ 2147483647 w 588"/>
                  <a:gd name="T71" fmla="*/ 0 h 330"/>
                  <a:gd name="T72" fmla="*/ 2147483647 w 588"/>
                  <a:gd name="T73" fmla="*/ 2147483647 h 330"/>
                  <a:gd name="T74" fmla="*/ 2147483647 w 588"/>
                  <a:gd name="T75" fmla="*/ 2147483647 h 330"/>
                  <a:gd name="T76" fmla="*/ 2147483647 w 588"/>
                  <a:gd name="T77" fmla="*/ 2147483647 h 330"/>
                  <a:gd name="T78" fmla="*/ 2147483647 w 588"/>
                  <a:gd name="T79" fmla="*/ 2147483647 h 330"/>
                  <a:gd name="T80" fmla="*/ 2147483647 w 588"/>
                  <a:gd name="T81" fmla="*/ 2147483647 h 330"/>
                  <a:gd name="T82" fmla="*/ 2147483647 w 588"/>
                  <a:gd name="T83" fmla="*/ 2147483647 h 330"/>
                  <a:gd name="T84" fmla="*/ 0 w 588"/>
                  <a:gd name="T85" fmla="*/ 2147483647 h 330"/>
                  <a:gd name="T86" fmla="*/ 2147483647 w 588"/>
                  <a:gd name="T87" fmla="*/ 2147483647 h 330"/>
                  <a:gd name="T88" fmla="*/ 2147483647 w 588"/>
                  <a:gd name="T89" fmla="*/ 2147483647 h 330"/>
                  <a:gd name="T90" fmla="*/ 2147483647 w 588"/>
                  <a:gd name="T91" fmla="*/ 2147483647 h 330"/>
                  <a:gd name="T92" fmla="*/ 2147483647 w 588"/>
                  <a:gd name="T93" fmla="*/ 2147483647 h 330"/>
                  <a:gd name="T94" fmla="*/ 2147483647 w 588"/>
                  <a:gd name="T95" fmla="*/ 2147483647 h 330"/>
                  <a:gd name="T96" fmla="*/ 2147483647 w 588"/>
                  <a:gd name="T97" fmla="*/ 2147483647 h 330"/>
                  <a:gd name="T98" fmla="*/ 2147483647 w 588"/>
                  <a:gd name="T99" fmla="*/ 2147483647 h 330"/>
                  <a:gd name="T100" fmla="*/ 2147483647 w 588"/>
                  <a:gd name="T101" fmla="*/ 2147483647 h 330"/>
                  <a:gd name="T102" fmla="*/ 2147483647 w 588"/>
                  <a:gd name="T103" fmla="*/ 2147483647 h 330"/>
                  <a:gd name="T104" fmla="*/ 2147483647 w 588"/>
                  <a:gd name="T105" fmla="*/ 2147483647 h 330"/>
                  <a:gd name="T106" fmla="*/ 2147483647 w 588"/>
                  <a:gd name="T107" fmla="*/ 2147483647 h 330"/>
                  <a:gd name="T108" fmla="*/ 2147483647 w 588"/>
                  <a:gd name="T109" fmla="*/ 2147483647 h 33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588"/>
                  <a:gd name="T166" fmla="*/ 0 h 330"/>
                  <a:gd name="T167" fmla="*/ 588 w 588"/>
                  <a:gd name="T168" fmla="*/ 330 h 33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588" h="330">
                    <a:moveTo>
                      <a:pt x="294" y="234"/>
                    </a:moveTo>
                    <a:lnTo>
                      <a:pt x="306" y="246"/>
                    </a:lnTo>
                    <a:lnTo>
                      <a:pt x="306" y="252"/>
                    </a:lnTo>
                    <a:lnTo>
                      <a:pt x="330" y="252"/>
                    </a:lnTo>
                    <a:lnTo>
                      <a:pt x="384" y="306"/>
                    </a:lnTo>
                    <a:lnTo>
                      <a:pt x="402" y="294"/>
                    </a:lnTo>
                    <a:lnTo>
                      <a:pt x="432" y="312"/>
                    </a:lnTo>
                    <a:lnTo>
                      <a:pt x="438" y="306"/>
                    </a:lnTo>
                    <a:lnTo>
                      <a:pt x="456" y="306"/>
                    </a:lnTo>
                    <a:lnTo>
                      <a:pt x="474" y="312"/>
                    </a:lnTo>
                    <a:lnTo>
                      <a:pt x="486" y="318"/>
                    </a:lnTo>
                    <a:lnTo>
                      <a:pt x="492" y="330"/>
                    </a:lnTo>
                    <a:lnTo>
                      <a:pt x="498" y="318"/>
                    </a:lnTo>
                    <a:lnTo>
                      <a:pt x="510" y="312"/>
                    </a:lnTo>
                    <a:lnTo>
                      <a:pt x="516" y="312"/>
                    </a:lnTo>
                    <a:lnTo>
                      <a:pt x="522" y="318"/>
                    </a:lnTo>
                    <a:lnTo>
                      <a:pt x="522" y="330"/>
                    </a:lnTo>
                    <a:lnTo>
                      <a:pt x="588" y="330"/>
                    </a:lnTo>
                    <a:lnTo>
                      <a:pt x="588" y="294"/>
                    </a:lnTo>
                    <a:lnTo>
                      <a:pt x="576" y="270"/>
                    </a:lnTo>
                    <a:lnTo>
                      <a:pt x="576" y="222"/>
                    </a:lnTo>
                    <a:lnTo>
                      <a:pt x="564" y="204"/>
                    </a:lnTo>
                    <a:lnTo>
                      <a:pt x="540" y="216"/>
                    </a:lnTo>
                    <a:lnTo>
                      <a:pt x="522" y="216"/>
                    </a:lnTo>
                    <a:lnTo>
                      <a:pt x="498" y="204"/>
                    </a:lnTo>
                    <a:lnTo>
                      <a:pt x="480" y="198"/>
                    </a:lnTo>
                    <a:lnTo>
                      <a:pt x="474" y="192"/>
                    </a:lnTo>
                    <a:lnTo>
                      <a:pt x="462" y="186"/>
                    </a:lnTo>
                    <a:lnTo>
                      <a:pt x="462" y="192"/>
                    </a:lnTo>
                    <a:lnTo>
                      <a:pt x="456" y="198"/>
                    </a:lnTo>
                    <a:lnTo>
                      <a:pt x="438" y="198"/>
                    </a:lnTo>
                    <a:lnTo>
                      <a:pt x="432" y="192"/>
                    </a:lnTo>
                    <a:lnTo>
                      <a:pt x="432" y="180"/>
                    </a:lnTo>
                    <a:lnTo>
                      <a:pt x="432" y="186"/>
                    </a:lnTo>
                    <a:lnTo>
                      <a:pt x="420" y="198"/>
                    </a:lnTo>
                    <a:lnTo>
                      <a:pt x="408" y="198"/>
                    </a:lnTo>
                    <a:lnTo>
                      <a:pt x="402" y="192"/>
                    </a:lnTo>
                    <a:lnTo>
                      <a:pt x="402" y="174"/>
                    </a:lnTo>
                    <a:lnTo>
                      <a:pt x="396" y="174"/>
                    </a:lnTo>
                    <a:lnTo>
                      <a:pt x="390" y="180"/>
                    </a:lnTo>
                    <a:lnTo>
                      <a:pt x="378" y="180"/>
                    </a:lnTo>
                    <a:lnTo>
                      <a:pt x="360" y="174"/>
                    </a:lnTo>
                    <a:lnTo>
                      <a:pt x="354" y="168"/>
                    </a:lnTo>
                    <a:lnTo>
                      <a:pt x="348" y="168"/>
                    </a:lnTo>
                    <a:lnTo>
                      <a:pt x="348" y="162"/>
                    </a:lnTo>
                    <a:lnTo>
                      <a:pt x="354" y="156"/>
                    </a:lnTo>
                    <a:lnTo>
                      <a:pt x="354" y="150"/>
                    </a:lnTo>
                    <a:lnTo>
                      <a:pt x="348" y="144"/>
                    </a:lnTo>
                    <a:lnTo>
                      <a:pt x="342" y="144"/>
                    </a:lnTo>
                    <a:lnTo>
                      <a:pt x="330" y="150"/>
                    </a:lnTo>
                    <a:lnTo>
                      <a:pt x="324" y="156"/>
                    </a:lnTo>
                    <a:lnTo>
                      <a:pt x="312" y="150"/>
                    </a:lnTo>
                    <a:lnTo>
                      <a:pt x="282" y="120"/>
                    </a:lnTo>
                    <a:lnTo>
                      <a:pt x="282" y="102"/>
                    </a:lnTo>
                    <a:lnTo>
                      <a:pt x="276" y="90"/>
                    </a:lnTo>
                    <a:lnTo>
                      <a:pt x="270" y="84"/>
                    </a:lnTo>
                    <a:lnTo>
                      <a:pt x="258" y="84"/>
                    </a:lnTo>
                    <a:lnTo>
                      <a:pt x="252" y="96"/>
                    </a:lnTo>
                    <a:lnTo>
                      <a:pt x="246" y="102"/>
                    </a:lnTo>
                    <a:lnTo>
                      <a:pt x="246" y="108"/>
                    </a:lnTo>
                    <a:lnTo>
                      <a:pt x="234" y="108"/>
                    </a:lnTo>
                    <a:lnTo>
                      <a:pt x="234" y="96"/>
                    </a:lnTo>
                    <a:lnTo>
                      <a:pt x="228" y="90"/>
                    </a:lnTo>
                    <a:lnTo>
                      <a:pt x="222" y="78"/>
                    </a:lnTo>
                    <a:lnTo>
                      <a:pt x="216" y="72"/>
                    </a:lnTo>
                    <a:lnTo>
                      <a:pt x="210" y="60"/>
                    </a:lnTo>
                    <a:lnTo>
                      <a:pt x="168" y="54"/>
                    </a:lnTo>
                    <a:lnTo>
                      <a:pt x="150" y="36"/>
                    </a:lnTo>
                    <a:lnTo>
                      <a:pt x="138" y="30"/>
                    </a:lnTo>
                    <a:lnTo>
                      <a:pt x="132" y="18"/>
                    </a:lnTo>
                    <a:lnTo>
                      <a:pt x="120" y="6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4" y="6"/>
                    </a:lnTo>
                    <a:lnTo>
                      <a:pt x="78" y="12"/>
                    </a:lnTo>
                    <a:lnTo>
                      <a:pt x="54" y="30"/>
                    </a:lnTo>
                    <a:lnTo>
                      <a:pt x="36" y="12"/>
                    </a:lnTo>
                    <a:lnTo>
                      <a:pt x="30" y="36"/>
                    </a:lnTo>
                    <a:lnTo>
                      <a:pt x="6" y="60"/>
                    </a:lnTo>
                    <a:lnTo>
                      <a:pt x="12" y="72"/>
                    </a:lnTo>
                    <a:lnTo>
                      <a:pt x="6" y="78"/>
                    </a:lnTo>
                    <a:lnTo>
                      <a:pt x="6" y="84"/>
                    </a:lnTo>
                    <a:lnTo>
                      <a:pt x="18" y="96"/>
                    </a:lnTo>
                    <a:lnTo>
                      <a:pt x="12" y="96"/>
                    </a:lnTo>
                    <a:lnTo>
                      <a:pt x="0" y="108"/>
                    </a:lnTo>
                    <a:lnTo>
                      <a:pt x="0" y="120"/>
                    </a:lnTo>
                    <a:lnTo>
                      <a:pt x="30" y="150"/>
                    </a:lnTo>
                    <a:lnTo>
                      <a:pt x="42" y="144"/>
                    </a:lnTo>
                    <a:lnTo>
                      <a:pt x="60" y="168"/>
                    </a:lnTo>
                    <a:lnTo>
                      <a:pt x="84" y="168"/>
                    </a:lnTo>
                    <a:lnTo>
                      <a:pt x="96" y="186"/>
                    </a:lnTo>
                    <a:lnTo>
                      <a:pt x="138" y="204"/>
                    </a:lnTo>
                    <a:lnTo>
                      <a:pt x="150" y="204"/>
                    </a:lnTo>
                    <a:lnTo>
                      <a:pt x="156" y="210"/>
                    </a:lnTo>
                    <a:lnTo>
                      <a:pt x="162" y="222"/>
                    </a:lnTo>
                    <a:lnTo>
                      <a:pt x="168" y="228"/>
                    </a:lnTo>
                    <a:lnTo>
                      <a:pt x="186" y="228"/>
                    </a:lnTo>
                    <a:lnTo>
                      <a:pt x="192" y="222"/>
                    </a:lnTo>
                    <a:lnTo>
                      <a:pt x="204" y="222"/>
                    </a:lnTo>
                    <a:lnTo>
                      <a:pt x="204" y="234"/>
                    </a:lnTo>
                    <a:lnTo>
                      <a:pt x="210" y="240"/>
                    </a:lnTo>
                    <a:lnTo>
                      <a:pt x="234" y="240"/>
                    </a:lnTo>
                    <a:lnTo>
                      <a:pt x="240" y="246"/>
                    </a:lnTo>
                    <a:lnTo>
                      <a:pt x="246" y="258"/>
                    </a:lnTo>
                    <a:lnTo>
                      <a:pt x="258" y="246"/>
                    </a:lnTo>
                    <a:lnTo>
                      <a:pt x="276" y="246"/>
                    </a:lnTo>
                    <a:lnTo>
                      <a:pt x="282" y="252"/>
                    </a:lnTo>
                    <a:lnTo>
                      <a:pt x="282" y="258"/>
                    </a:lnTo>
                    <a:lnTo>
                      <a:pt x="282" y="240"/>
                    </a:lnTo>
                    <a:lnTo>
                      <a:pt x="288" y="234"/>
                    </a:lnTo>
                    <a:lnTo>
                      <a:pt x="294" y="23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7" name="Mozambiqu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BD5538B-08B3-4764-A2D5-91DB47420C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91171" y="4900263"/>
                <a:ext cx="338952" cy="600508"/>
              </a:xfrm>
              <a:custGeom>
                <a:avLst/>
                <a:gdLst>
                  <a:gd name="T0" fmla="*/ 2147483647 w 762"/>
                  <a:gd name="T1" fmla="*/ 2147483647 h 1338"/>
                  <a:gd name="T2" fmla="*/ 2147483647 w 762"/>
                  <a:gd name="T3" fmla="*/ 2147483647 h 1338"/>
                  <a:gd name="T4" fmla="*/ 2147483647 w 762"/>
                  <a:gd name="T5" fmla="*/ 2147483647 h 1338"/>
                  <a:gd name="T6" fmla="*/ 2147483647 w 762"/>
                  <a:gd name="T7" fmla="*/ 2147483647 h 1338"/>
                  <a:gd name="T8" fmla="*/ 2147483647 w 762"/>
                  <a:gd name="T9" fmla="*/ 2147483647 h 1338"/>
                  <a:gd name="T10" fmla="*/ 2147483647 w 762"/>
                  <a:gd name="T11" fmla="*/ 2147483647 h 1338"/>
                  <a:gd name="T12" fmla="*/ 2147483647 w 762"/>
                  <a:gd name="T13" fmla="*/ 2147483647 h 1338"/>
                  <a:gd name="T14" fmla="*/ 2147483647 w 762"/>
                  <a:gd name="T15" fmla="*/ 2147483647 h 1338"/>
                  <a:gd name="T16" fmla="*/ 2147483647 w 762"/>
                  <a:gd name="T17" fmla="*/ 2147483647 h 1338"/>
                  <a:gd name="T18" fmla="*/ 2147483647 w 762"/>
                  <a:gd name="T19" fmla="*/ 2147483647 h 1338"/>
                  <a:gd name="T20" fmla="*/ 2147483647 w 762"/>
                  <a:gd name="T21" fmla="*/ 2147483647 h 1338"/>
                  <a:gd name="T22" fmla="*/ 2147483647 w 762"/>
                  <a:gd name="T23" fmla="*/ 2147483647 h 1338"/>
                  <a:gd name="T24" fmla="*/ 2147483647 w 762"/>
                  <a:gd name="T25" fmla="*/ 2147483647 h 1338"/>
                  <a:gd name="T26" fmla="*/ 2147483647 w 762"/>
                  <a:gd name="T27" fmla="*/ 2147483647 h 1338"/>
                  <a:gd name="T28" fmla="*/ 2147483647 w 762"/>
                  <a:gd name="T29" fmla="*/ 2147483647 h 1338"/>
                  <a:gd name="T30" fmla="*/ 2147483647 w 762"/>
                  <a:gd name="T31" fmla="*/ 2147483647 h 1338"/>
                  <a:gd name="T32" fmla="*/ 2147483647 w 762"/>
                  <a:gd name="T33" fmla="*/ 2147483647 h 1338"/>
                  <a:gd name="T34" fmla="*/ 2147483647 w 762"/>
                  <a:gd name="T35" fmla="*/ 2147483647 h 1338"/>
                  <a:gd name="T36" fmla="*/ 2147483647 w 762"/>
                  <a:gd name="T37" fmla="*/ 2147483647 h 1338"/>
                  <a:gd name="T38" fmla="*/ 2147483647 w 762"/>
                  <a:gd name="T39" fmla="*/ 2147483647 h 1338"/>
                  <a:gd name="T40" fmla="*/ 2147483647 w 762"/>
                  <a:gd name="T41" fmla="*/ 2147483647 h 1338"/>
                  <a:gd name="T42" fmla="*/ 2147483647 w 762"/>
                  <a:gd name="T43" fmla="*/ 2147483647 h 1338"/>
                  <a:gd name="T44" fmla="*/ 2147483647 w 762"/>
                  <a:gd name="T45" fmla="*/ 2147483647 h 1338"/>
                  <a:gd name="T46" fmla="*/ 2147483647 w 762"/>
                  <a:gd name="T47" fmla="*/ 2147483647 h 1338"/>
                  <a:gd name="T48" fmla="*/ 2147483647 w 762"/>
                  <a:gd name="T49" fmla="*/ 2147483647 h 1338"/>
                  <a:gd name="T50" fmla="*/ 2147483647 w 762"/>
                  <a:gd name="T51" fmla="*/ 2147483647 h 1338"/>
                  <a:gd name="T52" fmla="*/ 2147483647 w 762"/>
                  <a:gd name="T53" fmla="*/ 2147483647 h 1338"/>
                  <a:gd name="T54" fmla="*/ 2147483647 w 762"/>
                  <a:gd name="T55" fmla="*/ 2147483647 h 1338"/>
                  <a:gd name="T56" fmla="*/ 0 w 762"/>
                  <a:gd name="T57" fmla="*/ 2147483647 h 1338"/>
                  <a:gd name="T58" fmla="*/ 2147483647 w 762"/>
                  <a:gd name="T59" fmla="*/ 2147483647 h 1338"/>
                  <a:gd name="T60" fmla="*/ 2147483647 w 762"/>
                  <a:gd name="T61" fmla="*/ 2147483647 h 1338"/>
                  <a:gd name="T62" fmla="*/ 2147483647 w 762"/>
                  <a:gd name="T63" fmla="*/ 2147483647 h 1338"/>
                  <a:gd name="T64" fmla="*/ 2147483647 w 762"/>
                  <a:gd name="T65" fmla="*/ 2147483647 h 1338"/>
                  <a:gd name="T66" fmla="*/ 2147483647 w 762"/>
                  <a:gd name="T67" fmla="*/ 2147483647 h 1338"/>
                  <a:gd name="T68" fmla="*/ 2147483647 w 762"/>
                  <a:gd name="T69" fmla="*/ 2147483647 h 1338"/>
                  <a:gd name="T70" fmla="*/ 2147483647 w 762"/>
                  <a:gd name="T71" fmla="*/ 2147483647 h 1338"/>
                  <a:gd name="T72" fmla="*/ 2147483647 w 762"/>
                  <a:gd name="T73" fmla="*/ 2147483647 h 1338"/>
                  <a:gd name="T74" fmla="*/ 2147483647 w 762"/>
                  <a:gd name="T75" fmla="*/ 2147483647 h 1338"/>
                  <a:gd name="T76" fmla="*/ 2147483647 w 762"/>
                  <a:gd name="T77" fmla="*/ 2147483647 h 1338"/>
                  <a:gd name="T78" fmla="*/ 2147483647 w 762"/>
                  <a:gd name="T79" fmla="*/ 2147483647 h 1338"/>
                  <a:gd name="T80" fmla="*/ 2147483647 w 762"/>
                  <a:gd name="T81" fmla="*/ 2147483647 h 1338"/>
                  <a:gd name="T82" fmla="*/ 2147483647 w 762"/>
                  <a:gd name="T83" fmla="*/ 2147483647 h 1338"/>
                  <a:gd name="T84" fmla="*/ 2147483647 w 762"/>
                  <a:gd name="T85" fmla="*/ 2147483647 h 1338"/>
                  <a:gd name="T86" fmla="*/ 2147483647 w 762"/>
                  <a:gd name="T87" fmla="*/ 2147483647 h 1338"/>
                  <a:gd name="T88" fmla="*/ 2147483647 w 762"/>
                  <a:gd name="T89" fmla="*/ 2147483647 h 1338"/>
                  <a:gd name="T90" fmla="*/ 2147483647 w 762"/>
                  <a:gd name="T91" fmla="*/ 2147483647 h 1338"/>
                  <a:gd name="T92" fmla="*/ 2147483647 w 762"/>
                  <a:gd name="T93" fmla="*/ 2147483647 h 1338"/>
                  <a:gd name="T94" fmla="*/ 2147483647 w 762"/>
                  <a:gd name="T95" fmla="*/ 2147483647 h 1338"/>
                  <a:gd name="T96" fmla="*/ 2147483647 w 762"/>
                  <a:gd name="T97" fmla="*/ 2147483647 h 1338"/>
                  <a:gd name="T98" fmla="*/ 2147483647 w 762"/>
                  <a:gd name="T99" fmla="*/ 2147483647 h 1338"/>
                  <a:gd name="T100" fmla="*/ 2147483647 w 762"/>
                  <a:gd name="T101" fmla="*/ 2147483647 h 1338"/>
                  <a:gd name="T102" fmla="*/ 2147483647 w 762"/>
                  <a:gd name="T103" fmla="*/ 2147483647 h 1338"/>
                  <a:gd name="T104" fmla="*/ 2147483647 w 762"/>
                  <a:gd name="T105" fmla="*/ 2147483647 h 1338"/>
                  <a:gd name="T106" fmla="*/ 2147483647 w 762"/>
                  <a:gd name="T107" fmla="*/ 2147483647 h 1338"/>
                  <a:gd name="T108" fmla="*/ 2147483647 w 762"/>
                  <a:gd name="T109" fmla="*/ 2147483647 h 1338"/>
                  <a:gd name="T110" fmla="*/ 2147483647 w 762"/>
                  <a:gd name="T111" fmla="*/ 2147483647 h 1338"/>
                  <a:gd name="T112" fmla="*/ 2147483647 w 762"/>
                  <a:gd name="T113" fmla="*/ 2147483647 h 1338"/>
                  <a:gd name="T114" fmla="*/ 2147483647 w 762"/>
                  <a:gd name="T115" fmla="*/ 2147483647 h 1338"/>
                  <a:gd name="T116" fmla="*/ 2147483647 w 762"/>
                  <a:gd name="T117" fmla="*/ 2147483647 h 1338"/>
                  <a:gd name="T118" fmla="*/ 2147483647 w 762"/>
                  <a:gd name="T119" fmla="*/ 2147483647 h 1338"/>
                  <a:gd name="T120" fmla="*/ 2147483647 w 762"/>
                  <a:gd name="T121" fmla="*/ 2147483647 h 1338"/>
                  <a:gd name="T122" fmla="*/ 2147483647 w 762"/>
                  <a:gd name="T123" fmla="*/ 2147483647 h 133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62"/>
                  <a:gd name="T187" fmla="*/ 0 h 1338"/>
                  <a:gd name="T188" fmla="*/ 762 w 762"/>
                  <a:gd name="T189" fmla="*/ 1338 h 133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62" h="1338">
                    <a:moveTo>
                      <a:pt x="762" y="342"/>
                    </a:moveTo>
                    <a:lnTo>
                      <a:pt x="762" y="324"/>
                    </a:lnTo>
                    <a:lnTo>
                      <a:pt x="756" y="318"/>
                    </a:lnTo>
                    <a:lnTo>
                      <a:pt x="744" y="318"/>
                    </a:lnTo>
                    <a:lnTo>
                      <a:pt x="744" y="258"/>
                    </a:lnTo>
                    <a:lnTo>
                      <a:pt x="732" y="246"/>
                    </a:lnTo>
                    <a:lnTo>
                      <a:pt x="750" y="234"/>
                    </a:lnTo>
                    <a:lnTo>
                      <a:pt x="738" y="186"/>
                    </a:lnTo>
                    <a:lnTo>
                      <a:pt x="750" y="156"/>
                    </a:lnTo>
                    <a:lnTo>
                      <a:pt x="738" y="120"/>
                    </a:lnTo>
                    <a:lnTo>
                      <a:pt x="738" y="108"/>
                    </a:lnTo>
                    <a:lnTo>
                      <a:pt x="750" y="72"/>
                    </a:lnTo>
                    <a:lnTo>
                      <a:pt x="756" y="42"/>
                    </a:lnTo>
                    <a:lnTo>
                      <a:pt x="756" y="12"/>
                    </a:lnTo>
                    <a:lnTo>
                      <a:pt x="744" y="0"/>
                    </a:lnTo>
                    <a:lnTo>
                      <a:pt x="666" y="54"/>
                    </a:lnTo>
                    <a:lnTo>
                      <a:pt x="636" y="60"/>
                    </a:lnTo>
                    <a:lnTo>
                      <a:pt x="630" y="60"/>
                    </a:lnTo>
                    <a:lnTo>
                      <a:pt x="618" y="72"/>
                    </a:lnTo>
                    <a:lnTo>
                      <a:pt x="606" y="78"/>
                    </a:lnTo>
                    <a:lnTo>
                      <a:pt x="594" y="78"/>
                    </a:lnTo>
                    <a:lnTo>
                      <a:pt x="594" y="72"/>
                    </a:lnTo>
                    <a:lnTo>
                      <a:pt x="588" y="66"/>
                    </a:lnTo>
                    <a:lnTo>
                      <a:pt x="564" y="66"/>
                    </a:lnTo>
                    <a:lnTo>
                      <a:pt x="558" y="72"/>
                    </a:lnTo>
                    <a:lnTo>
                      <a:pt x="552" y="84"/>
                    </a:lnTo>
                    <a:lnTo>
                      <a:pt x="540" y="90"/>
                    </a:lnTo>
                    <a:lnTo>
                      <a:pt x="528" y="102"/>
                    </a:lnTo>
                    <a:lnTo>
                      <a:pt x="510" y="102"/>
                    </a:lnTo>
                    <a:lnTo>
                      <a:pt x="498" y="96"/>
                    </a:lnTo>
                    <a:lnTo>
                      <a:pt x="492" y="90"/>
                    </a:lnTo>
                    <a:lnTo>
                      <a:pt x="486" y="90"/>
                    </a:lnTo>
                    <a:lnTo>
                      <a:pt x="468" y="108"/>
                    </a:lnTo>
                    <a:lnTo>
                      <a:pt x="456" y="108"/>
                    </a:lnTo>
                    <a:lnTo>
                      <a:pt x="450" y="102"/>
                    </a:lnTo>
                    <a:lnTo>
                      <a:pt x="438" y="96"/>
                    </a:lnTo>
                    <a:lnTo>
                      <a:pt x="432" y="84"/>
                    </a:lnTo>
                    <a:lnTo>
                      <a:pt x="420" y="78"/>
                    </a:lnTo>
                    <a:lnTo>
                      <a:pt x="408" y="78"/>
                    </a:lnTo>
                    <a:lnTo>
                      <a:pt x="396" y="90"/>
                    </a:lnTo>
                    <a:lnTo>
                      <a:pt x="390" y="90"/>
                    </a:lnTo>
                    <a:lnTo>
                      <a:pt x="384" y="96"/>
                    </a:lnTo>
                    <a:lnTo>
                      <a:pt x="354" y="96"/>
                    </a:lnTo>
                    <a:lnTo>
                      <a:pt x="354" y="114"/>
                    </a:lnTo>
                    <a:lnTo>
                      <a:pt x="330" y="138"/>
                    </a:lnTo>
                    <a:lnTo>
                      <a:pt x="330" y="150"/>
                    </a:lnTo>
                    <a:lnTo>
                      <a:pt x="342" y="162"/>
                    </a:lnTo>
                    <a:lnTo>
                      <a:pt x="348" y="174"/>
                    </a:lnTo>
                    <a:lnTo>
                      <a:pt x="348" y="204"/>
                    </a:lnTo>
                    <a:lnTo>
                      <a:pt x="342" y="216"/>
                    </a:lnTo>
                    <a:lnTo>
                      <a:pt x="336" y="234"/>
                    </a:lnTo>
                    <a:lnTo>
                      <a:pt x="336" y="246"/>
                    </a:lnTo>
                    <a:lnTo>
                      <a:pt x="342" y="246"/>
                    </a:lnTo>
                    <a:lnTo>
                      <a:pt x="342" y="252"/>
                    </a:lnTo>
                    <a:lnTo>
                      <a:pt x="348" y="252"/>
                    </a:lnTo>
                    <a:lnTo>
                      <a:pt x="372" y="276"/>
                    </a:lnTo>
                    <a:lnTo>
                      <a:pt x="384" y="300"/>
                    </a:lnTo>
                    <a:lnTo>
                      <a:pt x="390" y="306"/>
                    </a:lnTo>
                    <a:lnTo>
                      <a:pt x="396" y="318"/>
                    </a:lnTo>
                    <a:lnTo>
                      <a:pt x="408" y="336"/>
                    </a:lnTo>
                    <a:lnTo>
                      <a:pt x="420" y="348"/>
                    </a:lnTo>
                    <a:lnTo>
                      <a:pt x="420" y="366"/>
                    </a:lnTo>
                    <a:lnTo>
                      <a:pt x="414" y="372"/>
                    </a:lnTo>
                    <a:lnTo>
                      <a:pt x="408" y="384"/>
                    </a:lnTo>
                    <a:lnTo>
                      <a:pt x="402" y="390"/>
                    </a:lnTo>
                    <a:lnTo>
                      <a:pt x="402" y="450"/>
                    </a:lnTo>
                    <a:lnTo>
                      <a:pt x="396" y="456"/>
                    </a:lnTo>
                    <a:lnTo>
                      <a:pt x="372" y="456"/>
                    </a:lnTo>
                    <a:lnTo>
                      <a:pt x="360" y="462"/>
                    </a:lnTo>
                    <a:lnTo>
                      <a:pt x="354" y="474"/>
                    </a:lnTo>
                    <a:lnTo>
                      <a:pt x="354" y="492"/>
                    </a:lnTo>
                    <a:lnTo>
                      <a:pt x="360" y="492"/>
                    </a:lnTo>
                    <a:lnTo>
                      <a:pt x="366" y="498"/>
                    </a:lnTo>
                    <a:lnTo>
                      <a:pt x="366" y="528"/>
                    </a:lnTo>
                    <a:lnTo>
                      <a:pt x="354" y="534"/>
                    </a:lnTo>
                    <a:lnTo>
                      <a:pt x="348" y="540"/>
                    </a:lnTo>
                    <a:lnTo>
                      <a:pt x="342" y="534"/>
                    </a:lnTo>
                    <a:lnTo>
                      <a:pt x="342" y="522"/>
                    </a:lnTo>
                    <a:lnTo>
                      <a:pt x="348" y="516"/>
                    </a:lnTo>
                    <a:lnTo>
                      <a:pt x="348" y="504"/>
                    </a:lnTo>
                    <a:lnTo>
                      <a:pt x="336" y="498"/>
                    </a:lnTo>
                    <a:lnTo>
                      <a:pt x="330" y="492"/>
                    </a:lnTo>
                    <a:lnTo>
                      <a:pt x="318" y="486"/>
                    </a:lnTo>
                    <a:lnTo>
                      <a:pt x="312" y="480"/>
                    </a:lnTo>
                    <a:lnTo>
                      <a:pt x="300" y="474"/>
                    </a:lnTo>
                    <a:lnTo>
                      <a:pt x="300" y="444"/>
                    </a:lnTo>
                    <a:lnTo>
                      <a:pt x="288" y="444"/>
                    </a:lnTo>
                    <a:lnTo>
                      <a:pt x="288" y="438"/>
                    </a:lnTo>
                    <a:lnTo>
                      <a:pt x="294" y="432"/>
                    </a:lnTo>
                    <a:lnTo>
                      <a:pt x="306" y="426"/>
                    </a:lnTo>
                    <a:lnTo>
                      <a:pt x="312" y="420"/>
                    </a:lnTo>
                    <a:lnTo>
                      <a:pt x="300" y="402"/>
                    </a:lnTo>
                    <a:lnTo>
                      <a:pt x="312" y="396"/>
                    </a:lnTo>
                    <a:lnTo>
                      <a:pt x="318" y="366"/>
                    </a:lnTo>
                    <a:lnTo>
                      <a:pt x="312" y="366"/>
                    </a:lnTo>
                    <a:lnTo>
                      <a:pt x="312" y="330"/>
                    </a:lnTo>
                    <a:lnTo>
                      <a:pt x="306" y="324"/>
                    </a:lnTo>
                    <a:lnTo>
                      <a:pt x="288" y="324"/>
                    </a:lnTo>
                    <a:lnTo>
                      <a:pt x="282" y="330"/>
                    </a:lnTo>
                    <a:lnTo>
                      <a:pt x="252" y="330"/>
                    </a:lnTo>
                    <a:lnTo>
                      <a:pt x="222" y="282"/>
                    </a:lnTo>
                    <a:lnTo>
                      <a:pt x="216" y="282"/>
                    </a:lnTo>
                    <a:lnTo>
                      <a:pt x="210" y="288"/>
                    </a:lnTo>
                    <a:lnTo>
                      <a:pt x="192" y="294"/>
                    </a:lnTo>
                    <a:lnTo>
                      <a:pt x="180" y="300"/>
                    </a:lnTo>
                    <a:lnTo>
                      <a:pt x="162" y="312"/>
                    </a:lnTo>
                    <a:lnTo>
                      <a:pt x="138" y="324"/>
                    </a:lnTo>
                    <a:lnTo>
                      <a:pt x="132" y="324"/>
                    </a:lnTo>
                    <a:lnTo>
                      <a:pt x="120" y="330"/>
                    </a:lnTo>
                    <a:lnTo>
                      <a:pt x="102" y="336"/>
                    </a:lnTo>
                    <a:lnTo>
                      <a:pt x="84" y="336"/>
                    </a:lnTo>
                    <a:lnTo>
                      <a:pt x="72" y="342"/>
                    </a:lnTo>
                    <a:lnTo>
                      <a:pt x="60" y="342"/>
                    </a:lnTo>
                    <a:lnTo>
                      <a:pt x="42" y="360"/>
                    </a:lnTo>
                    <a:lnTo>
                      <a:pt x="12" y="360"/>
                    </a:lnTo>
                    <a:lnTo>
                      <a:pt x="0" y="372"/>
                    </a:lnTo>
                    <a:lnTo>
                      <a:pt x="18" y="390"/>
                    </a:lnTo>
                    <a:lnTo>
                      <a:pt x="24" y="444"/>
                    </a:lnTo>
                    <a:lnTo>
                      <a:pt x="84" y="444"/>
                    </a:lnTo>
                    <a:lnTo>
                      <a:pt x="96" y="462"/>
                    </a:lnTo>
                    <a:lnTo>
                      <a:pt x="114" y="462"/>
                    </a:lnTo>
                    <a:lnTo>
                      <a:pt x="132" y="486"/>
                    </a:lnTo>
                    <a:lnTo>
                      <a:pt x="138" y="486"/>
                    </a:lnTo>
                    <a:lnTo>
                      <a:pt x="150" y="480"/>
                    </a:lnTo>
                    <a:lnTo>
                      <a:pt x="162" y="480"/>
                    </a:lnTo>
                    <a:lnTo>
                      <a:pt x="180" y="498"/>
                    </a:lnTo>
                    <a:lnTo>
                      <a:pt x="192" y="498"/>
                    </a:lnTo>
                    <a:lnTo>
                      <a:pt x="204" y="510"/>
                    </a:lnTo>
                    <a:lnTo>
                      <a:pt x="204" y="516"/>
                    </a:lnTo>
                    <a:lnTo>
                      <a:pt x="198" y="528"/>
                    </a:lnTo>
                    <a:lnTo>
                      <a:pt x="192" y="534"/>
                    </a:lnTo>
                    <a:lnTo>
                      <a:pt x="204" y="552"/>
                    </a:lnTo>
                    <a:lnTo>
                      <a:pt x="192" y="564"/>
                    </a:lnTo>
                    <a:lnTo>
                      <a:pt x="204" y="576"/>
                    </a:lnTo>
                    <a:lnTo>
                      <a:pt x="198" y="582"/>
                    </a:lnTo>
                    <a:lnTo>
                      <a:pt x="198" y="588"/>
                    </a:lnTo>
                    <a:lnTo>
                      <a:pt x="192" y="594"/>
                    </a:lnTo>
                    <a:lnTo>
                      <a:pt x="192" y="606"/>
                    </a:lnTo>
                    <a:lnTo>
                      <a:pt x="204" y="630"/>
                    </a:lnTo>
                    <a:lnTo>
                      <a:pt x="204" y="642"/>
                    </a:lnTo>
                    <a:lnTo>
                      <a:pt x="198" y="648"/>
                    </a:lnTo>
                    <a:lnTo>
                      <a:pt x="198" y="654"/>
                    </a:lnTo>
                    <a:lnTo>
                      <a:pt x="192" y="654"/>
                    </a:lnTo>
                    <a:lnTo>
                      <a:pt x="192" y="666"/>
                    </a:lnTo>
                    <a:lnTo>
                      <a:pt x="174" y="678"/>
                    </a:lnTo>
                    <a:lnTo>
                      <a:pt x="192" y="702"/>
                    </a:lnTo>
                    <a:lnTo>
                      <a:pt x="174" y="720"/>
                    </a:lnTo>
                    <a:lnTo>
                      <a:pt x="174" y="732"/>
                    </a:lnTo>
                    <a:lnTo>
                      <a:pt x="198" y="756"/>
                    </a:lnTo>
                    <a:lnTo>
                      <a:pt x="198" y="762"/>
                    </a:lnTo>
                    <a:lnTo>
                      <a:pt x="192" y="774"/>
                    </a:lnTo>
                    <a:lnTo>
                      <a:pt x="180" y="786"/>
                    </a:lnTo>
                    <a:lnTo>
                      <a:pt x="180" y="798"/>
                    </a:lnTo>
                    <a:lnTo>
                      <a:pt x="168" y="810"/>
                    </a:lnTo>
                    <a:lnTo>
                      <a:pt x="156" y="816"/>
                    </a:lnTo>
                    <a:lnTo>
                      <a:pt x="156" y="846"/>
                    </a:lnTo>
                    <a:lnTo>
                      <a:pt x="144" y="858"/>
                    </a:lnTo>
                    <a:lnTo>
                      <a:pt x="156" y="876"/>
                    </a:lnTo>
                    <a:lnTo>
                      <a:pt x="138" y="882"/>
                    </a:lnTo>
                    <a:lnTo>
                      <a:pt x="72" y="966"/>
                    </a:lnTo>
                    <a:lnTo>
                      <a:pt x="72" y="996"/>
                    </a:lnTo>
                    <a:lnTo>
                      <a:pt x="78" y="1014"/>
                    </a:lnTo>
                    <a:lnTo>
                      <a:pt x="78" y="1032"/>
                    </a:lnTo>
                    <a:lnTo>
                      <a:pt x="84" y="1044"/>
                    </a:lnTo>
                    <a:lnTo>
                      <a:pt x="84" y="1062"/>
                    </a:lnTo>
                    <a:lnTo>
                      <a:pt x="114" y="1122"/>
                    </a:lnTo>
                    <a:lnTo>
                      <a:pt x="114" y="1212"/>
                    </a:lnTo>
                    <a:lnTo>
                      <a:pt x="90" y="1248"/>
                    </a:lnTo>
                    <a:lnTo>
                      <a:pt x="114" y="1248"/>
                    </a:lnTo>
                    <a:lnTo>
                      <a:pt x="108" y="1260"/>
                    </a:lnTo>
                    <a:lnTo>
                      <a:pt x="108" y="1284"/>
                    </a:lnTo>
                    <a:lnTo>
                      <a:pt x="114" y="1290"/>
                    </a:lnTo>
                    <a:lnTo>
                      <a:pt x="120" y="1290"/>
                    </a:lnTo>
                    <a:lnTo>
                      <a:pt x="126" y="1314"/>
                    </a:lnTo>
                    <a:lnTo>
                      <a:pt x="144" y="1314"/>
                    </a:lnTo>
                    <a:lnTo>
                      <a:pt x="156" y="1326"/>
                    </a:lnTo>
                    <a:lnTo>
                      <a:pt x="162" y="1338"/>
                    </a:lnTo>
                    <a:lnTo>
                      <a:pt x="168" y="1320"/>
                    </a:lnTo>
                    <a:lnTo>
                      <a:pt x="168" y="1284"/>
                    </a:lnTo>
                    <a:lnTo>
                      <a:pt x="162" y="1272"/>
                    </a:lnTo>
                    <a:lnTo>
                      <a:pt x="156" y="1266"/>
                    </a:lnTo>
                    <a:lnTo>
                      <a:pt x="150" y="1266"/>
                    </a:lnTo>
                    <a:lnTo>
                      <a:pt x="150" y="1242"/>
                    </a:lnTo>
                    <a:lnTo>
                      <a:pt x="162" y="1230"/>
                    </a:lnTo>
                    <a:lnTo>
                      <a:pt x="222" y="1188"/>
                    </a:lnTo>
                    <a:lnTo>
                      <a:pt x="276" y="1158"/>
                    </a:lnTo>
                    <a:lnTo>
                      <a:pt x="294" y="1146"/>
                    </a:lnTo>
                    <a:lnTo>
                      <a:pt x="312" y="1140"/>
                    </a:lnTo>
                    <a:lnTo>
                      <a:pt x="330" y="1128"/>
                    </a:lnTo>
                    <a:lnTo>
                      <a:pt x="342" y="1122"/>
                    </a:lnTo>
                    <a:lnTo>
                      <a:pt x="360" y="1104"/>
                    </a:lnTo>
                    <a:lnTo>
                      <a:pt x="360" y="1080"/>
                    </a:lnTo>
                    <a:lnTo>
                      <a:pt x="354" y="1080"/>
                    </a:lnTo>
                    <a:lnTo>
                      <a:pt x="354" y="1086"/>
                    </a:lnTo>
                    <a:lnTo>
                      <a:pt x="348" y="1080"/>
                    </a:lnTo>
                    <a:lnTo>
                      <a:pt x="342" y="1080"/>
                    </a:lnTo>
                    <a:lnTo>
                      <a:pt x="342" y="1068"/>
                    </a:lnTo>
                    <a:lnTo>
                      <a:pt x="366" y="1020"/>
                    </a:lnTo>
                    <a:lnTo>
                      <a:pt x="366" y="990"/>
                    </a:lnTo>
                    <a:lnTo>
                      <a:pt x="360" y="984"/>
                    </a:lnTo>
                    <a:lnTo>
                      <a:pt x="360" y="978"/>
                    </a:lnTo>
                    <a:lnTo>
                      <a:pt x="372" y="948"/>
                    </a:lnTo>
                    <a:lnTo>
                      <a:pt x="366" y="942"/>
                    </a:lnTo>
                    <a:lnTo>
                      <a:pt x="348" y="960"/>
                    </a:lnTo>
                    <a:lnTo>
                      <a:pt x="354" y="918"/>
                    </a:lnTo>
                    <a:lnTo>
                      <a:pt x="348" y="906"/>
                    </a:lnTo>
                    <a:lnTo>
                      <a:pt x="336" y="900"/>
                    </a:lnTo>
                    <a:lnTo>
                      <a:pt x="330" y="888"/>
                    </a:lnTo>
                    <a:lnTo>
                      <a:pt x="330" y="870"/>
                    </a:lnTo>
                    <a:lnTo>
                      <a:pt x="336" y="858"/>
                    </a:lnTo>
                    <a:lnTo>
                      <a:pt x="336" y="834"/>
                    </a:lnTo>
                    <a:lnTo>
                      <a:pt x="324" y="822"/>
                    </a:lnTo>
                    <a:lnTo>
                      <a:pt x="318" y="822"/>
                    </a:lnTo>
                    <a:lnTo>
                      <a:pt x="312" y="816"/>
                    </a:lnTo>
                    <a:lnTo>
                      <a:pt x="312" y="792"/>
                    </a:lnTo>
                    <a:lnTo>
                      <a:pt x="318" y="780"/>
                    </a:lnTo>
                    <a:lnTo>
                      <a:pt x="324" y="762"/>
                    </a:lnTo>
                    <a:lnTo>
                      <a:pt x="336" y="750"/>
                    </a:lnTo>
                    <a:lnTo>
                      <a:pt x="372" y="732"/>
                    </a:lnTo>
                    <a:lnTo>
                      <a:pt x="378" y="726"/>
                    </a:lnTo>
                    <a:lnTo>
                      <a:pt x="378" y="714"/>
                    </a:lnTo>
                    <a:lnTo>
                      <a:pt x="390" y="690"/>
                    </a:lnTo>
                    <a:lnTo>
                      <a:pt x="396" y="684"/>
                    </a:lnTo>
                    <a:lnTo>
                      <a:pt x="402" y="684"/>
                    </a:lnTo>
                    <a:lnTo>
                      <a:pt x="414" y="678"/>
                    </a:lnTo>
                    <a:lnTo>
                      <a:pt x="420" y="678"/>
                    </a:lnTo>
                    <a:lnTo>
                      <a:pt x="426" y="672"/>
                    </a:lnTo>
                    <a:lnTo>
                      <a:pt x="450" y="660"/>
                    </a:lnTo>
                    <a:lnTo>
                      <a:pt x="462" y="648"/>
                    </a:lnTo>
                    <a:lnTo>
                      <a:pt x="474" y="612"/>
                    </a:lnTo>
                    <a:lnTo>
                      <a:pt x="498" y="576"/>
                    </a:lnTo>
                    <a:lnTo>
                      <a:pt x="522" y="564"/>
                    </a:lnTo>
                    <a:lnTo>
                      <a:pt x="558" y="552"/>
                    </a:lnTo>
                    <a:lnTo>
                      <a:pt x="600" y="534"/>
                    </a:lnTo>
                    <a:lnTo>
                      <a:pt x="624" y="522"/>
                    </a:lnTo>
                    <a:lnTo>
                      <a:pt x="630" y="516"/>
                    </a:lnTo>
                    <a:lnTo>
                      <a:pt x="666" y="498"/>
                    </a:lnTo>
                    <a:lnTo>
                      <a:pt x="672" y="492"/>
                    </a:lnTo>
                    <a:lnTo>
                      <a:pt x="684" y="486"/>
                    </a:lnTo>
                    <a:lnTo>
                      <a:pt x="684" y="474"/>
                    </a:lnTo>
                    <a:lnTo>
                      <a:pt x="714" y="444"/>
                    </a:lnTo>
                    <a:lnTo>
                      <a:pt x="714" y="432"/>
                    </a:lnTo>
                    <a:lnTo>
                      <a:pt x="720" y="420"/>
                    </a:lnTo>
                    <a:lnTo>
                      <a:pt x="732" y="414"/>
                    </a:lnTo>
                    <a:lnTo>
                      <a:pt x="738" y="402"/>
                    </a:lnTo>
                    <a:lnTo>
                      <a:pt x="744" y="396"/>
                    </a:lnTo>
                    <a:lnTo>
                      <a:pt x="744" y="378"/>
                    </a:lnTo>
                    <a:lnTo>
                      <a:pt x="750" y="372"/>
                    </a:lnTo>
                    <a:lnTo>
                      <a:pt x="762" y="348"/>
                    </a:lnTo>
                    <a:lnTo>
                      <a:pt x="762" y="34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8" name="Mongol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E810368-1825-4A81-A427-8111B61783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09467" y="2641712"/>
                <a:ext cx="929498" cy="373768"/>
              </a:xfrm>
              <a:custGeom>
                <a:avLst/>
                <a:gdLst>
                  <a:gd name="T0" fmla="*/ 2147483647 w 2100"/>
                  <a:gd name="T1" fmla="*/ 2147483647 h 834"/>
                  <a:gd name="T2" fmla="*/ 2147483647 w 2100"/>
                  <a:gd name="T3" fmla="*/ 2147483647 h 834"/>
                  <a:gd name="T4" fmla="*/ 2147483647 w 2100"/>
                  <a:gd name="T5" fmla="*/ 2147483647 h 834"/>
                  <a:gd name="T6" fmla="*/ 2147483647 w 2100"/>
                  <a:gd name="T7" fmla="*/ 2147483647 h 834"/>
                  <a:gd name="T8" fmla="*/ 2147483647 w 2100"/>
                  <a:gd name="T9" fmla="*/ 2147483647 h 834"/>
                  <a:gd name="T10" fmla="*/ 2147483647 w 2100"/>
                  <a:gd name="T11" fmla="*/ 2147483647 h 834"/>
                  <a:gd name="T12" fmla="*/ 2147483647 w 2100"/>
                  <a:gd name="T13" fmla="*/ 2147483647 h 834"/>
                  <a:gd name="T14" fmla="*/ 2147483647 w 2100"/>
                  <a:gd name="T15" fmla="*/ 2147483647 h 834"/>
                  <a:gd name="T16" fmla="*/ 2147483647 w 2100"/>
                  <a:gd name="T17" fmla="*/ 2147483647 h 834"/>
                  <a:gd name="T18" fmla="*/ 2147483647 w 2100"/>
                  <a:gd name="T19" fmla="*/ 2147483647 h 834"/>
                  <a:gd name="T20" fmla="*/ 2147483647 w 2100"/>
                  <a:gd name="T21" fmla="*/ 2147483647 h 834"/>
                  <a:gd name="T22" fmla="*/ 2147483647 w 2100"/>
                  <a:gd name="T23" fmla="*/ 2147483647 h 834"/>
                  <a:gd name="T24" fmla="*/ 2147483647 w 2100"/>
                  <a:gd name="T25" fmla="*/ 2147483647 h 834"/>
                  <a:gd name="T26" fmla="*/ 2147483647 w 2100"/>
                  <a:gd name="T27" fmla="*/ 2147483647 h 834"/>
                  <a:gd name="T28" fmla="*/ 2147483647 w 2100"/>
                  <a:gd name="T29" fmla="*/ 2147483647 h 834"/>
                  <a:gd name="T30" fmla="*/ 2147483647 w 2100"/>
                  <a:gd name="T31" fmla="*/ 2147483647 h 834"/>
                  <a:gd name="T32" fmla="*/ 2147483647 w 2100"/>
                  <a:gd name="T33" fmla="*/ 2147483647 h 834"/>
                  <a:gd name="T34" fmla="*/ 2147483647 w 2100"/>
                  <a:gd name="T35" fmla="*/ 2147483647 h 834"/>
                  <a:gd name="T36" fmla="*/ 2147483647 w 2100"/>
                  <a:gd name="T37" fmla="*/ 2147483647 h 834"/>
                  <a:gd name="T38" fmla="*/ 2147483647 w 2100"/>
                  <a:gd name="T39" fmla="*/ 2147483647 h 834"/>
                  <a:gd name="T40" fmla="*/ 2147483647 w 2100"/>
                  <a:gd name="T41" fmla="*/ 2147483647 h 834"/>
                  <a:gd name="T42" fmla="*/ 2147483647 w 2100"/>
                  <a:gd name="T43" fmla="*/ 2147483647 h 834"/>
                  <a:gd name="T44" fmla="*/ 2147483647 w 2100"/>
                  <a:gd name="T45" fmla="*/ 2147483647 h 834"/>
                  <a:gd name="T46" fmla="*/ 2147483647 w 2100"/>
                  <a:gd name="T47" fmla="*/ 2147483647 h 834"/>
                  <a:gd name="T48" fmla="*/ 2147483647 w 2100"/>
                  <a:gd name="T49" fmla="*/ 2147483647 h 834"/>
                  <a:gd name="T50" fmla="*/ 2147483647 w 2100"/>
                  <a:gd name="T51" fmla="*/ 2147483647 h 834"/>
                  <a:gd name="T52" fmla="*/ 2147483647 w 2100"/>
                  <a:gd name="T53" fmla="*/ 2147483647 h 834"/>
                  <a:gd name="T54" fmla="*/ 2147483647 w 2100"/>
                  <a:gd name="T55" fmla="*/ 2147483647 h 834"/>
                  <a:gd name="T56" fmla="*/ 2147483647 w 2100"/>
                  <a:gd name="T57" fmla="*/ 2147483647 h 834"/>
                  <a:gd name="T58" fmla="*/ 2147483647 w 2100"/>
                  <a:gd name="T59" fmla="*/ 2147483647 h 834"/>
                  <a:gd name="T60" fmla="*/ 2147483647 w 2100"/>
                  <a:gd name="T61" fmla="*/ 2147483647 h 834"/>
                  <a:gd name="T62" fmla="*/ 0 w 2100"/>
                  <a:gd name="T63" fmla="*/ 2147483647 h 834"/>
                  <a:gd name="T64" fmla="*/ 2147483647 w 2100"/>
                  <a:gd name="T65" fmla="*/ 2147483647 h 834"/>
                  <a:gd name="T66" fmla="*/ 2147483647 w 2100"/>
                  <a:gd name="T67" fmla="*/ 2147483647 h 834"/>
                  <a:gd name="T68" fmla="*/ 2147483647 w 2100"/>
                  <a:gd name="T69" fmla="*/ 2147483647 h 834"/>
                  <a:gd name="T70" fmla="*/ 2147483647 w 2100"/>
                  <a:gd name="T71" fmla="*/ 2147483647 h 834"/>
                  <a:gd name="T72" fmla="*/ 2147483647 w 2100"/>
                  <a:gd name="T73" fmla="*/ 2147483647 h 834"/>
                  <a:gd name="T74" fmla="*/ 2147483647 w 2100"/>
                  <a:gd name="T75" fmla="*/ 2147483647 h 834"/>
                  <a:gd name="T76" fmla="*/ 2147483647 w 2100"/>
                  <a:gd name="T77" fmla="*/ 2147483647 h 834"/>
                  <a:gd name="T78" fmla="*/ 2147483647 w 2100"/>
                  <a:gd name="T79" fmla="*/ 2147483647 h 834"/>
                  <a:gd name="T80" fmla="*/ 2147483647 w 2100"/>
                  <a:gd name="T81" fmla="*/ 2147483647 h 834"/>
                  <a:gd name="T82" fmla="*/ 2147483647 w 2100"/>
                  <a:gd name="T83" fmla="*/ 2147483647 h 834"/>
                  <a:gd name="T84" fmla="*/ 2147483647 w 2100"/>
                  <a:gd name="T85" fmla="*/ 2147483647 h 834"/>
                  <a:gd name="T86" fmla="*/ 2147483647 w 2100"/>
                  <a:gd name="T87" fmla="*/ 2147483647 h 834"/>
                  <a:gd name="T88" fmla="*/ 2147483647 w 2100"/>
                  <a:gd name="T89" fmla="*/ 2147483647 h 834"/>
                  <a:gd name="T90" fmla="*/ 2147483647 w 2100"/>
                  <a:gd name="T91" fmla="*/ 2147483647 h 834"/>
                  <a:gd name="T92" fmla="*/ 2147483647 w 2100"/>
                  <a:gd name="T93" fmla="*/ 2147483647 h 834"/>
                  <a:gd name="T94" fmla="*/ 2147483647 w 2100"/>
                  <a:gd name="T95" fmla="*/ 2147483647 h 834"/>
                  <a:gd name="T96" fmla="*/ 2147483647 w 2100"/>
                  <a:gd name="T97" fmla="*/ 2147483647 h 834"/>
                  <a:gd name="T98" fmla="*/ 2147483647 w 2100"/>
                  <a:gd name="T99" fmla="*/ 2147483647 h 834"/>
                  <a:gd name="T100" fmla="*/ 2147483647 w 2100"/>
                  <a:gd name="T101" fmla="*/ 2147483647 h 834"/>
                  <a:gd name="T102" fmla="*/ 2147483647 w 2100"/>
                  <a:gd name="T103" fmla="*/ 2147483647 h 834"/>
                  <a:gd name="T104" fmla="*/ 2147483647 w 2100"/>
                  <a:gd name="T105" fmla="*/ 2147483647 h 834"/>
                  <a:gd name="T106" fmla="*/ 2147483647 w 2100"/>
                  <a:gd name="T107" fmla="*/ 2147483647 h 834"/>
                  <a:gd name="T108" fmla="*/ 2147483647 w 2100"/>
                  <a:gd name="T109" fmla="*/ 2147483647 h 834"/>
                  <a:gd name="T110" fmla="*/ 2147483647 w 2100"/>
                  <a:gd name="T111" fmla="*/ 2147483647 h 834"/>
                  <a:gd name="T112" fmla="*/ 2147483647 w 2100"/>
                  <a:gd name="T113" fmla="*/ 2147483647 h 834"/>
                  <a:gd name="T114" fmla="*/ 2147483647 w 2100"/>
                  <a:gd name="T115" fmla="*/ 2147483647 h 834"/>
                  <a:gd name="T116" fmla="*/ 2147483647 w 2100"/>
                  <a:gd name="T117" fmla="*/ 2147483647 h 834"/>
                  <a:gd name="T118" fmla="*/ 2147483647 w 2100"/>
                  <a:gd name="T119" fmla="*/ 2147483647 h 834"/>
                  <a:gd name="T120" fmla="*/ 2147483647 w 2100"/>
                  <a:gd name="T121" fmla="*/ 2147483647 h 834"/>
                  <a:gd name="T122" fmla="*/ 2147483647 w 2100"/>
                  <a:gd name="T123" fmla="*/ 2147483647 h 83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100"/>
                  <a:gd name="T187" fmla="*/ 0 h 834"/>
                  <a:gd name="T188" fmla="*/ 2100 w 2100"/>
                  <a:gd name="T189" fmla="*/ 834 h 83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100" h="834">
                    <a:moveTo>
                      <a:pt x="2088" y="408"/>
                    </a:moveTo>
                    <a:lnTo>
                      <a:pt x="2076" y="396"/>
                    </a:lnTo>
                    <a:lnTo>
                      <a:pt x="2070" y="384"/>
                    </a:lnTo>
                    <a:lnTo>
                      <a:pt x="2058" y="384"/>
                    </a:lnTo>
                    <a:lnTo>
                      <a:pt x="2034" y="372"/>
                    </a:lnTo>
                    <a:lnTo>
                      <a:pt x="2022" y="360"/>
                    </a:lnTo>
                    <a:lnTo>
                      <a:pt x="2010" y="354"/>
                    </a:lnTo>
                    <a:lnTo>
                      <a:pt x="2004" y="348"/>
                    </a:lnTo>
                    <a:lnTo>
                      <a:pt x="1986" y="348"/>
                    </a:lnTo>
                    <a:lnTo>
                      <a:pt x="1974" y="342"/>
                    </a:lnTo>
                    <a:lnTo>
                      <a:pt x="1968" y="336"/>
                    </a:lnTo>
                    <a:lnTo>
                      <a:pt x="1968" y="324"/>
                    </a:lnTo>
                    <a:lnTo>
                      <a:pt x="1902" y="324"/>
                    </a:lnTo>
                    <a:lnTo>
                      <a:pt x="1902" y="348"/>
                    </a:lnTo>
                    <a:lnTo>
                      <a:pt x="1896" y="354"/>
                    </a:lnTo>
                    <a:lnTo>
                      <a:pt x="1890" y="354"/>
                    </a:lnTo>
                    <a:lnTo>
                      <a:pt x="1878" y="348"/>
                    </a:lnTo>
                    <a:lnTo>
                      <a:pt x="1866" y="336"/>
                    </a:lnTo>
                    <a:lnTo>
                      <a:pt x="1812" y="336"/>
                    </a:lnTo>
                    <a:lnTo>
                      <a:pt x="1806" y="342"/>
                    </a:lnTo>
                    <a:lnTo>
                      <a:pt x="1812" y="342"/>
                    </a:lnTo>
                    <a:lnTo>
                      <a:pt x="1812" y="348"/>
                    </a:lnTo>
                    <a:lnTo>
                      <a:pt x="1794" y="348"/>
                    </a:lnTo>
                    <a:lnTo>
                      <a:pt x="1788" y="342"/>
                    </a:lnTo>
                    <a:lnTo>
                      <a:pt x="1776" y="336"/>
                    </a:lnTo>
                    <a:lnTo>
                      <a:pt x="1770" y="324"/>
                    </a:lnTo>
                    <a:lnTo>
                      <a:pt x="1770" y="306"/>
                    </a:lnTo>
                    <a:lnTo>
                      <a:pt x="1776" y="306"/>
                    </a:lnTo>
                    <a:lnTo>
                      <a:pt x="1770" y="294"/>
                    </a:lnTo>
                    <a:lnTo>
                      <a:pt x="1764" y="270"/>
                    </a:lnTo>
                    <a:lnTo>
                      <a:pt x="1758" y="258"/>
                    </a:lnTo>
                    <a:lnTo>
                      <a:pt x="1758" y="174"/>
                    </a:lnTo>
                    <a:lnTo>
                      <a:pt x="1740" y="174"/>
                    </a:lnTo>
                    <a:lnTo>
                      <a:pt x="1716" y="168"/>
                    </a:lnTo>
                    <a:lnTo>
                      <a:pt x="1710" y="174"/>
                    </a:lnTo>
                    <a:lnTo>
                      <a:pt x="1698" y="180"/>
                    </a:lnTo>
                    <a:lnTo>
                      <a:pt x="1674" y="180"/>
                    </a:lnTo>
                    <a:lnTo>
                      <a:pt x="1662" y="174"/>
                    </a:lnTo>
                    <a:lnTo>
                      <a:pt x="1644" y="156"/>
                    </a:lnTo>
                    <a:lnTo>
                      <a:pt x="1608" y="156"/>
                    </a:lnTo>
                    <a:lnTo>
                      <a:pt x="1596" y="150"/>
                    </a:lnTo>
                    <a:lnTo>
                      <a:pt x="1578" y="150"/>
                    </a:lnTo>
                    <a:lnTo>
                      <a:pt x="1548" y="180"/>
                    </a:lnTo>
                    <a:lnTo>
                      <a:pt x="1548" y="192"/>
                    </a:lnTo>
                    <a:lnTo>
                      <a:pt x="1536" y="204"/>
                    </a:lnTo>
                    <a:lnTo>
                      <a:pt x="1500" y="204"/>
                    </a:lnTo>
                    <a:lnTo>
                      <a:pt x="1488" y="216"/>
                    </a:lnTo>
                    <a:lnTo>
                      <a:pt x="1440" y="216"/>
                    </a:lnTo>
                    <a:lnTo>
                      <a:pt x="1440" y="222"/>
                    </a:lnTo>
                    <a:lnTo>
                      <a:pt x="1422" y="240"/>
                    </a:lnTo>
                    <a:lnTo>
                      <a:pt x="1416" y="240"/>
                    </a:lnTo>
                    <a:lnTo>
                      <a:pt x="1416" y="234"/>
                    </a:lnTo>
                    <a:lnTo>
                      <a:pt x="1410" y="228"/>
                    </a:lnTo>
                    <a:lnTo>
                      <a:pt x="1392" y="228"/>
                    </a:lnTo>
                    <a:lnTo>
                      <a:pt x="1380" y="234"/>
                    </a:lnTo>
                    <a:lnTo>
                      <a:pt x="1356" y="234"/>
                    </a:lnTo>
                    <a:lnTo>
                      <a:pt x="1344" y="228"/>
                    </a:lnTo>
                    <a:lnTo>
                      <a:pt x="1338" y="228"/>
                    </a:lnTo>
                    <a:lnTo>
                      <a:pt x="1332" y="222"/>
                    </a:lnTo>
                    <a:lnTo>
                      <a:pt x="1266" y="222"/>
                    </a:lnTo>
                    <a:lnTo>
                      <a:pt x="1260" y="216"/>
                    </a:lnTo>
                    <a:lnTo>
                      <a:pt x="1260" y="204"/>
                    </a:lnTo>
                    <a:lnTo>
                      <a:pt x="1248" y="198"/>
                    </a:lnTo>
                    <a:lnTo>
                      <a:pt x="1230" y="198"/>
                    </a:lnTo>
                    <a:lnTo>
                      <a:pt x="1230" y="192"/>
                    </a:lnTo>
                    <a:lnTo>
                      <a:pt x="1218" y="180"/>
                    </a:lnTo>
                    <a:lnTo>
                      <a:pt x="1218" y="174"/>
                    </a:lnTo>
                    <a:lnTo>
                      <a:pt x="1212" y="168"/>
                    </a:lnTo>
                    <a:lnTo>
                      <a:pt x="1152" y="168"/>
                    </a:lnTo>
                    <a:lnTo>
                      <a:pt x="1128" y="144"/>
                    </a:lnTo>
                    <a:lnTo>
                      <a:pt x="1092" y="144"/>
                    </a:lnTo>
                    <a:lnTo>
                      <a:pt x="1086" y="138"/>
                    </a:lnTo>
                    <a:lnTo>
                      <a:pt x="1080" y="138"/>
                    </a:lnTo>
                    <a:lnTo>
                      <a:pt x="1068" y="132"/>
                    </a:lnTo>
                    <a:lnTo>
                      <a:pt x="1020" y="132"/>
                    </a:lnTo>
                    <a:lnTo>
                      <a:pt x="966" y="150"/>
                    </a:lnTo>
                    <a:lnTo>
                      <a:pt x="954" y="156"/>
                    </a:lnTo>
                    <a:lnTo>
                      <a:pt x="942" y="156"/>
                    </a:lnTo>
                    <a:lnTo>
                      <a:pt x="930" y="150"/>
                    </a:lnTo>
                    <a:lnTo>
                      <a:pt x="918" y="150"/>
                    </a:lnTo>
                    <a:lnTo>
                      <a:pt x="912" y="144"/>
                    </a:lnTo>
                    <a:lnTo>
                      <a:pt x="882" y="144"/>
                    </a:lnTo>
                    <a:lnTo>
                      <a:pt x="864" y="126"/>
                    </a:lnTo>
                    <a:lnTo>
                      <a:pt x="864" y="120"/>
                    </a:lnTo>
                    <a:lnTo>
                      <a:pt x="840" y="126"/>
                    </a:lnTo>
                    <a:lnTo>
                      <a:pt x="840" y="120"/>
                    </a:lnTo>
                    <a:lnTo>
                      <a:pt x="834" y="114"/>
                    </a:lnTo>
                    <a:lnTo>
                      <a:pt x="822" y="90"/>
                    </a:lnTo>
                    <a:lnTo>
                      <a:pt x="810" y="78"/>
                    </a:lnTo>
                    <a:lnTo>
                      <a:pt x="804" y="66"/>
                    </a:lnTo>
                    <a:lnTo>
                      <a:pt x="798" y="60"/>
                    </a:lnTo>
                    <a:lnTo>
                      <a:pt x="786" y="54"/>
                    </a:lnTo>
                    <a:lnTo>
                      <a:pt x="768" y="54"/>
                    </a:lnTo>
                    <a:lnTo>
                      <a:pt x="756" y="60"/>
                    </a:lnTo>
                    <a:lnTo>
                      <a:pt x="750" y="60"/>
                    </a:lnTo>
                    <a:lnTo>
                      <a:pt x="726" y="48"/>
                    </a:lnTo>
                    <a:lnTo>
                      <a:pt x="720" y="42"/>
                    </a:lnTo>
                    <a:lnTo>
                      <a:pt x="708" y="36"/>
                    </a:lnTo>
                    <a:lnTo>
                      <a:pt x="672" y="36"/>
                    </a:lnTo>
                    <a:lnTo>
                      <a:pt x="648" y="30"/>
                    </a:lnTo>
                    <a:lnTo>
                      <a:pt x="636" y="30"/>
                    </a:lnTo>
                    <a:lnTo>
                      <a:pt x="576" y="0"/>
                    </a:lnTo>
                    <a:lnTo>
                      <a:pt x="576" y="18"/>
                    </a:lnTo>
                    <a:lnTo>
                      <a:pt x="570" y="30"/>
                    </a:lnTo>
                    <a:lnTo>
                      <a:pt x="558" y="36"/>
                    </a:lnTo>
                    <a:lnTo>
                      <a:pt x="552" y="36"/>
                    </a:lnTo>
                    <a:lnTo>
                      <a:pt x="558" y="48"/>
                    </a:lnTo>
                    <a:lnTo>
                      <a:pt x="540" y="48"/>
                    </a:lnTo>
                    <a:lnTo>
                      <a:pt x="540" y="60"/>
                    </a:lnTo>
                    <a:lnTo>
                      <a:pt x="552" y="72"/>
                    </a:lnTo>
                    <a:lnTo>
                      <a:pt x="558" y="90"/>
                    </a:lnTo>
                    <a:lnTo>
                      <a:pt x="582" y="126"/>
                    </a:lnTo>
                    <a:lnTo>
                      <a:pt x="588" y="126"/>
                    </a:lnTo>
                    <a:lnTo>
                      <a:pt x="594" y="132"/>
                    </a:lnTo>
                    <a:lnTo>
                      <a:pt x="600" y="144"/>
                    </a:lnTo>
                    <a:lnTo>
                      <a:pt x="600" y="168"/>
                    </a:lnTo>
                    <a:lnTo>
                      <a:pt x="582" y="168"/>
                    </a:lnTo>
                    <a:lnTo>
                      <a:pt x="582" y="174"/>
                    </a:lnTo>
                    <a:lnTo>
                      <a:pt x="576" y="180"/>
                    </a:lnTo>
                    <a:lnTo>
                      <a:pt x="552" y="192"/>
                    </a:lnTo>
                    <a:lnTo>
                      <a:pt x="546" y="186"/>
                    </a:lnTo>
                    <a:lnTo>
                      <a:pt x="546" y="174"/>
                    </a:lnTo>
                    <a:lnTo>
                      <a:pt x="498" y="180"/>
                    </a:lnTo>
                    <a:lnTo>
                      <a:pt x="498" y="168"/>
                    </a:lnTo>
                    <a:lnTo>
                      <a:pt x="456" y="168"/>
                    </a:lnTo>
                    <a:lnTo>
                      <a:pt x="450" y="174"/>
                    </a:lnTo>
                    <a:lnTo>
                      <a:pt x="450" y="180"/>
                    </a:lnTo>
                    <a:lnTo>
                      <a:pt x="444" y="168"/>
                    </a:lnTo>
                    <a:lnTo>
                      <a:pt x="420" y="174"/>
                    </a:lnTo>
                    <a:lnTo>
                      <a:pt x="414" y="162"/>
                    </a:lnTo>
                    <a:lnTo>
                      <a:pt x="384" y="162"/>
                    </a:lnTo>
                    <a:lnTo>
                      <a:pt x="366" y="156"/>
                    </a:lnTo>
                    <a:lnTo>
                      <a:pt x="360" y="150"/>
                    </a:lnTo>
                    <a:lnTo>
                      <a:pt x="360" y="138"/>
                    </a:lnTo>
                    <a:lnTo>
                      <a:pt x="354" y="132"/>
                    </a:lnTo>
                    <a:lnTo>
                      <a:pt x="354" y="126"/>
                    </a:lnTo>
                    <a:lnTo>
                      <a:pt x="312" y="126"/>
                    </a:lnTo>
                    <a:lnTo>
                      <a:pt x="294" y="132"/>
                    </a:lnTo>
                    <a:lnTo>
                      <a:pt x="270" y="132"/>
                    </a:lnTo>
                    <a:lnTo>
                      <a:pt x="264" y="114"/>
                    </a:lnTo>
                    <a:lnTo>
                      <a:pt x="228" y="114"/>
                    </a:lnTo>
                    <a:lnTo>
                      <a:pt x="228" y="108"/>
                    </a:lnTo>
                    <a:lnTo>
                      <a:pt x="210" y="114"/>
                    </a:lnTo>
                    <a:lnTo>
                      <a:pt x="204" y="108"/>
                    </a:lnTo>
                    <a:lnTo>
                      <a:pt x="186" y="108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74" y="126"/>
                    </a:lnTo>
                    <a:lnTo>
                      <a:pt x="174" y="132"/>
                    </a:lnTo>
                    <a:lnTo>
                      <a:pt x="150" y="132"/>
                    </a:lnTo>
                    <a:lnTo>
                      <a:pt x="138" y="150"/>
                    </a:lnTo>
                    <a:lnTo>
                      <a:pt x="120" y="150"/>
                    </a:lnTo>
                    <a:lnTo>
                      <a:pt x="84" y="186"/>
                    </a:lnTo>
                    <a:lnTo>
                      <a:pt x="84" y="192"/>
                    </a:lnTo>
                    <a:lnTo>
                      <a:pt x="90" y="198"/>
                    </a:lnTo>
                    <a:lnTo>
                      <a:pt x="66" y="198"/>
                    </a:lnTo>
                    <a:lnTo>
                      <a:pt x="72" y="210"/>
                    </a:lnTo>
                    <a:lnTo>
                      <a:pt x="12" y="210"/>
                    </a:lnTo>
                    <a:lnTo>
                      <a:pt x="12" y="228"/>
                    </a:lnTo>
                    <a:lnTo>
                      <a:pt x="0" y="240"/>
                    </a:lnTo>
                    <a:lnTo>
                      <a:pt x="6" y="246"/>
                    </a:lnTo>
                    <a:lnTo>
                      <a:pt x="6" y="258"/>
                    </a:lnTo>
                    <a:lnTo>
                      <a:pt x="0" y="264"/>
                    </a:lnTo>
                    <a:lnTo>
                      <a:pt x="24" y="264"/>
                    </a:lnTo>
                    <a:lnTo>
                      <a:pt x="24" y="282"/>
                    </a:lnTo>
                    <a:lnTo>
                      <a:pt x="36" y="288"/>
                    </a:lnTo>
                    <a:lnTo>
                      <a:pt x="48" y="288"/>
                    </a:lnTo>
                    <a:lnTo>
                      <a:pt x="60" y="294"/>
                    </a:lnTo>
                    <a:lnTo>
                      <a:pt x="72" y="294"/>
                    </a:lnTo>
                    <a:lnTo>
                      <a:pt x="78" y="306"/>
                    </a:lnTo>
                    <a:lnTo>
                      <a:pt x="102" y="330"/>
                    </a:lnTo>
                    <a:lnTo>
                      <a:pt x="138" y="318"/>
                    </a:lnTo>
                    <a:lnTo>
                      <a:pt x="156" y="330"/>
                    </a:lnTo>
                    <a:lnTo>
                      <a:pt x="162" y="336"/>
                    </a:lnTo>
                    <a:lnTo>
                      <a:pt x="174" y="336"/>
                    </a:lnTo>
                    <a:lnTo>
                      <a:pt x="186" y="342"/>
                    </a:lnTo>
                    <a:lnTo>
                      <a:pt x="204" y="348"/>
                    </a:lnTo>
                    <a:lnTo>
                      <a:pt x="222" y="366"/>
                    </a:lnTo>
                    <a:lnTo>
                      <a:pt x="228" y="378"/>
                    </a:lnTo>
                    <a:lnTo>
                      <a:pt x="240" y="396"/>
                    </a:lnTo>
                    <a:lnTo>
                      <a:pt x="264" y="414"/>
                    </a:lnTo>
                    <a:lnTo>
                      <a:pt x="276" y="426"/>
                    </a:lnTo>
                    <a:lnTo>
                      <a:pt x="282" y="438"/>
                    </a:lnTo>
                    <a:lnTo>
                      <a:pt x="282" y="450"/>
                    </a:lnTo>
                    <a:lnTo>
                      <a:pt x="288" y="456"/>
                    </a:lnTo>
                    <a:lnTo>
                      <a:pt x="294" y="468"/>
                    </a:lnTo>
                    <a:lnTo>
                      <a:pt x="300" y="474"/>
                    </a:lnTo>
                    <a:lnTo>
                      <a:pt x="300" y="480"/>
                    </a:lnTo>
                    <a:lnTo>
                      <a:pt x="288" y="492"/>
                    </a:lnTo>
                    <a:lnTo>
                      <a:pt x="288" y="504"/>
                    </a:lnTo>
                    <a:lnTo>
                      <a:pt x="294" y="522"/>
                    </a:lnTo>
                    <a:lnTo>
                      <a:pt x="300" y="534"/>
                    </a:lnTo>
                    <a:lnTo>
                      <a:pt x="306" y="540"/>
                    </a:lnTo>
                    <a:lnTo>
                      <a:pt x="318" y="546"/>
                    </a:lnTo>
                    <a:lnTo>
                      <a:pt x="330" y="546"/>
                    </a:lnTo>
                    <a:lnTo>
                      <a:pt x="342" y="552"/>
                    </a:lnTo>
                    <a:lnTo>
                      <a:pt x="348" y="552"/>
                    </a:lnTo>
                    <a:lnTo>
                      <a:pt x="366" y="558"/>
                    </a:lnTo>
                    <a:lnTo>
                      <a:pt x="390" y="564"/>
                    </a:lnTo>
                    <a:lnTo>
                      <a:pt x="486" y="564"/>
                    </a:lnTo>
                    <a:lnTo>
                      <a:pt x="492" y="570"/>
                    </a:lnTo>
                    <a:lnTo>
                      <a:pt x="498" y="570"/>
                    </a:lnTo>
                    <a:lnTo>
                      <a:pt x="510" y="576"/>
                    </a:lnTo>
                    <a:lnTo>
                      <a:pt x="516" y="576"/>
                    </a:lnTo>
                    <a:lnTo>
                      <a:pt x="528" y="582"/>
                    </a:lnTo>
                    <a:lnTo>
                      <a:pt x="534" y="594"/>
                    </a:lnTo>
                    <a:lnTo>
                      <a:pt x="540" y="594"/>
                    </a:lnTo>
                    <a:lnTo>
                      <a:pt x="546" y="600"/>
                    </a:lnTo>
                    <a:lnTo>
                      <a:pt x="552" y="600"/>
                    </a:lnTo>
                    <a:lnTo>
                      <a:pt x="576" y="612"/>
                    </a:lnTo>
                    <a:lnTo>
                      <a:pt x="588" y="612"/>
                    </a:lnTo>
                    <a:lnTo>
                      <a:pt x="594" y="618"/>
                    </a:lnTo>
                    <a:lnTo>
                      <a:pt x="630" y="618"/>
                    </a:lnTo>
                    <a:lnTo>
                      <a:pt x="642" y="642"/>
                    </a:lnTo>
                    <a:lnTo>
                      <a:pt x="684" y="684"/>
                    </a:lnTo>
                    <a:lnTo>
                      <a:pt x="690" y="696"/>
                    </a:lnTo>
                    <a:lnTo>
                      <a:pt x="720" y="726"/>
                    </a:lnTo>
                    <a:lnTo>
                      <a:pt x="732" y="732"/>
                    </a:lnTo>
                    <a:lnTo>
                      <a:pt x="738" y="744"/>
                    </a:lnTo>
                    <a:lnTo>
                      <a:pt x="750" y="750"/>
                    </a:lnTo>
                    <a:lnTo>
                      <a:pt x="810" y="744"/>
                    </a:lnTo>
                    <a:lnTo>
                      <a:pt x="864" y="750"/>
                    </a:lnTo>
                    <a:lnTo>
                      <a:pt x="912" y="750"/>
                    </a:lnTo>
                    <a:lnTo>
                      <a:pt x="948" y="756"/>
                    </a:lnTo>
                    <a:lnTo>
                      <a:pt x="954" y="750"/>
                    </a:lnTo>
                    <a:lnTo>
                      <a:pt x="966" y="744"/>
                    </a:lnTo>
                    <a:lnTo>
                      <a:pt x="972" y="738"/>
                    </a:lnTo>
                    <a:lnTo>
                      <a:pt x="984" y="738"/>
                    </a:lnTo>
                    <a:lnTo>
                      <a:pt x="996" y="744"/>
                    </a:lnTo>
                    <a:lnTo>
                      <a:pt x="1002" y="744"/>
                    </a:lnTo>
                    <a:lnTo>
                      <a:pt x="1008" y="750"/>
                    </a:lnTo>
                    <a:lnTo>
                      <a:pt x="1062" y="750"/>
                    </a:lnTo>
                    <a:lnTo>
                      <a:pt x="1080" y="756"/>
                    </a:lnTo>
                    <a:lnTo>
                      <a:pt x="1092" y="756"/>
                    </a:lnTo>
                    <a:lnTo>
                      <a:pt x="1110" y="774"/>
                    </a:lnTo>
                    <a:lnTo>
                      <a:pt x="1116" y="786"/>
                    </a:lnTo>
                    <a:lnTo>
                      <a:pt x="1128" y="792"/>
                    </a:lnTo>
                    <a:lnTo>
                      <a:pt x="1152" y="798"/>
                    </a:lnTo>
                    <a:lnTo>
                      <a:pt x="1200" y="798"/>
                    </a:lnTo>
                    <a:lnTo>
                      <a:pt x="1218" y="804"/>
                    </a:lnTo>
                    <a:lnTo>
                      <a:pt x="1242" y="816"/>
                    </a:lnTo>
                    <a:lnTo>
                      <a:pt x="1248" y="822"/>
                    </a:lnTo>
                    <a:lnTo>
                      <a:pt x="1260" y="822"/>
                    </a:lnTo>
                    <a:lnTo>
                      <a:pt x="1266" y="816"/>
                    </a:lnTo>
                    <a:lnTo>
                      <a:pt x="1278" y="816"/>
                    </a:lnTo>
                    <a:lnTo>
                      <a:pt x="1290" y="810"/>
                    </a:lnTo>
                    <a:lnTo>
                      <a:pt x="1302" y="810"/>
                    </a:lnTo>
                    <a:lnTo>
                      <a:pt x="1302" y="816"/>
                    </a:lnTo>
                    <a:lnTo>
                      <a:pt x="1308" y="828"/>
                    </a:lnTo>
                    <a:lnTo>
                      <a:pt x="1314" y="828"/>
                    </a:lnTo>
                    <a:lnTo>
                      <a:pt x="1320" y="834"/>
                    </a:lnTo>
                    <a:lnTo>
                      <a:pt x="1338" y="834"/>
                    </a:lnTo>
                    <a:lnTo>
                      <a:pt x="1344" y="828"/>
                    </a:lnTo>
                    <a:lnTo>
                      <a:pt x="1362" y="816"/>
                    </a:lnTo>
                    <a:lnTo>
                      <a:pt x="1422" y="780"/>
                    </a:lnTo>
                    <a:lnTo>
                      <a:pt x="1440" y="768"/>
                    </a:lnTo>
                    <a:lnTo>
                      <a:pt x="1596" y="768"/>
                    </a:lnTo>
                    <a:lnTo>
                      <a:pt x="1614" y="744"/>
                    </a:lnTo>
                    <a:lnTo>
                      <a:pt x="1638" y="744"/>
                    </a:lnTo>
                    <a:lnTo>
                      <a:pt x="1650" y="738"/>
                    </a:lnTo>
                    <a:lnTo>
                      <a:pt x="1662" y="714"/>
                    </a:lnTo>
                    <a:lnTo>
                      <a:pt x="1662" y="708"/>
                    </a:lnTo>
                    <a:lnTo>
                      <a:pt x="1668" y="696"/>
                    </a:lnTo>
                    <a:lnTo>
                      <a:pt x="1668" y="690"/>
                    </a:lnTo>
                    <a:lnTo>
                      <a:pt x="1692" y="690"/>
                    </a:lnTo>
                    <a:lnTo>
                      <a:pt x="1704" y="678"/>
                    </a:lnTo>
                    <a:lnTo>
                      <a:pt x="1710" y="666"/>
                    </a:lnTo>
                    <a:lnTo>
                      <a:pt x="1716" y="660"/>
                    </a:lnTo>
                    <a:lnTo>
                      <a:pt x="1716" y="654"/>
                    </a:lnTo>
                    <a:lnTo>
                      <a:pt x="1704" y="648"/>
                    </a:lnTo>
                    <a:lnTo>
                      <a:pt x="1686" y="630"/>
                    </a:lnTo>
                    <a:lnTo>
                      <a:pt x="1674" y="624"/>
                    </a:lnTo>
                    <a:lnTo>
                      <a:pt x="1656" y="606"/>
                    </a:lnTo>
                    <a:lnTo>
                      <a:pt x="1650" y="594"/>
                    </a:lnTo>
                    <a:lnTo>
                      <a:pt x="1650" y="582"/>
                    </a:lnTo>
                    <a:lnTo>
                      <a:pt x="1656" y="570"/>
                    </a:lnTo>
                    <a:lnTo>
                      <a:pt x="1656" y="558"/>
                    </a:lnTo>
                    <a:lnTo>
                      <a:pt x="1668" y="552"/>
                    </a:lnTo>
                    <a:lnTo>
                      <a:pt x="1692" y="552"/>
                    </a:lnTo>
                    <a:lnTo>
                      <a:pt x="1698" y="558"/>
                    </a:lnTo>
                    <a:lnTo>
                      <a:pt x="1704" y="558"/>
                    </a:lnTo>
                    <a:lnTo>
                      <a:pt x="1710" y="564"/>
                    </a:lnTo>
                    <a:lnTo>
                      <a:pt x="1722" y="570"/>
                    </a:lnTo>
                    <a:lnTo>
                      <a:pt x="1728" y="576"/>
                    </a:lnTo>
                    <a:lnTo>
                      <a:pt x="1740" y="582"/>
                    </a:lnTo>
                    <a:lnTo>
                      <a:pt x="1764" y="582"/>
                    </a:lnTo>
                    <a:lnTo>
                      <a:pt x="1776" y="576"/>
                    </a:lnTo>
                    <a:lnTo>
                      <a:pt x="1794" y="576"/>
                    </a:lnTo>
                    <a:lnTo>
                      <a:pt x="1806" y="570"/>
                    </a:lnTo>
                    <a:lnTo>
                      <a:pt x="1812" y="558"/>
                    </a:lnTo>
                    <a:lnTo>
                      <a:pt x="1818" y="552"/>
                    </a:lnTo>
                    <a:lnTo>
                      <a:pt x="1818" y="528"/>
                    </a:lnTo>
                    <a:lnTo>
                      <a:pt x="1890" y="528"/>
                    </a:lnTo>
                    <a:lnTo>
                      <a:pt x="1914" y="504"/>
                    </a:lnTo>
                    <a:lnTo>
                      <a:pt x="1902" y="492"/>
                    </a:lnTo>
                    <a:lnTo>
                      <a:pt x="1896" y="480"/>
                    </a:lnTo>
                    <a:lnTo>
                      <a:pt x="1902" y="474"/>
                    </a:lnTo>
                    <a:lnTo>
                      <a:pt x="1938" y="456"/>
                    </a:lnTo>
                    <a:lnTo>
                      <a:pt x="1950" y="456"/>
                    </a:lnTo>
                    <a:lnTo>
                      <a:pt x="1950" y="438"/>
                    </a:lnTo>
                    <a:lnTo>
                      <a:pt x="1980" y="444"/>
                    </a:lnTo>
                    <a:lnTo>
                      <a:pt x="1998" y="426"/>
                    </a:lnTo>
                    <a:lnTo>
                      <a:pt x="2004" y="426"/>
                    </a:lnTo>
                    <a:lnTo>
                      <a:pt x="2010" y="420"/>
                    </a:lnTo>
                    <a:lnTo>
                      <a:pt x="2040" y="420"/>
                    </a:lnTo>
                    <a:lnTo>
                      <a:pt x="2052" y="426"/>
                    </a:lnTo>
                    <a:lnTo>
                      <a:pt x="2058" y="432"/>
                    </a:lnTo>
                    <a:lnTo>
                      <a:pt x="2094" y="432"/>
                    </a:lnTo>
                    <a:lnTo>
                      <a:pt x="2100" y="426"/>
                    </a:lnTo>
                    <a:lnTo>
                      <a:pt x="2100" y="420"/>
                    </a:lnTo>
                    <a:lnTo>
                      <a:pt x="2088" y="40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29" name="Maurit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7FF5A07-BF5E-4E56-AE59-4B2542CD92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8787" y="3536275"/>
                <a:ext cx="380884" cy="451709"/>
              </a:xfrm>
              <a:custGeom>
                <a:avLst/>
                <a:gdLst>
                  <a:gd name="T0" fmla="*/ 2147483647 w 858"/>
                  <a:gd name="T1" fmla="*/ 2147483647 h 1002"/>
                  <a:gd name="T2" fmla="*/ 2147483647 w 858"/>
                  <a:gd name="T3" fmla="*/ 2147483647 h 1002"/>
                  <a:gd name="T4" fmla="*/ 2147483647 w 858"/>
                  <a:gd name="T5" fmla="*/ 2147483647 h 1002"/>
                  <a:gd name="T6" fmla="*/ 2147483647 w 858"/>
                  <a:gd name="T7" fmla="*/ 2147483647 h 1002"/>
                  <a:gd name="T8" fmla="*/ 2147483647 w 858"/>
                  <a:gd name="T9" fmla="*/ 2147483647 h 1002"/>
                  <a:gd name="T10" fmla="*/ 2147483647 w 858"/>
                  <a:gd name="T11" fmla="*/ 2147483647 h 1002"/>
                  <a:gd name="T12" fmla="*/ 2147483647 w 858"/>
                  <a:gd name="T13" fmla="*/ 2147483647 h 1002"/>
                  <a:gd name="T14" fmla="*/ 2147483647 w 858"/>
                  <a:gd name="T15" fmla="*/ 2147483647 h 1002"/>
                  <a:gd name="T16" fmla="*/ 2147483647 w 858"/>
                  <a:gd name="T17" fmla="*/ 2147483647 h 1002"/>
                  <a:gd name="T18" fmla="*/ 2147483647 w 858"/>
                  <a:gd name="T19" fmla="*/ 2147483647 h 1002"/>
                  <a:gd name="T20" fmla="*/ 2147483647 w 858"/>
                  <a:gd name="T21" fmla="*/ 2147483647 h 1002"/>
                  <a:gd name="T22" fmla="*/ 2147483647 w 858"/>
                  <a:gd name="T23" fmla="*/ 2147483647 h 1002"/>
                  <a:gd name="T24" fmla="*/ 2147483647 w 858"/>
                  <a:gd name="T25" fmla="*/ 2147483647 h 1002"/>
                  <a:gd name="T26" fmla="*/ 2147483647 w 858"/>
                  <a:gd name="T27" fmla="*/ 2147483647 h 1002"/>
                  <a:gd name="T28" fmla="*/ 2147483647 w 858"/>
                  <a:gd name="T29" fmla="*/ 2147483647 h 1002"/>
                  <a:gd name="T30" fmla="*/ 2147483647 w 858"/>
                  <a:gd name="T31" fmla="*/ 2147483647 h 1002"/>
                  <a:gd name="T32" fmla="*/ 2147483647 w 858"/>
                  <a:gd name="T33" fmla="*/ 2147483647 h 1002"/>
                  <a:gd name="T34" fmla="*/ 2147483647 w 858"/>
                  <a:gd name="T35" fmla="*/ 2147483647 h 1002"/>
                  <a:gd name="T36" fmla="*/ 2147483647 w 858"/>
                  <a:gd name="T37" fmla="*/ 2147483647 h 1002"/>
                  <a:gd name="T38" fmla="*/ 2147483647 w 858"/>
                  <a:gd name="T39" fmla="*/ 2147483647 h 1002"/>
                  <a:gd name="T40" fmla="*/ 2147483647 w 858"/>
                  <a:gd name="T41" fmla="*/ 2147483647 h 1002"/>
                  <a:gd name="T42" fmla="*/ 2147483647 w 858"/>
                  <a:gd name="T43" fmla="*/ 2147483647 h 1002"/>
                  <a:gd name="T44" fmla="*/ 2147483647 w 858"/>
                  <a:gd name="T45" fmla="*/ 2147483647 h 1002"/>
                  <a:gd name="T46" fmla="*/ 2147483647 w 858"/>
                  <a:gd name="T47" fmla="*/ 2147483647 h 1002"/>
                  <a:gd name="T48" fmla="*/ 2147483647 w 858"/>
                  <a:gd name="T49" fmla="*/ 2147483647 h 1002"/>
                  <a:gd name="T50" fmla="*/ 2147483647 w 858"/>
                  <a:gd name="T51" fmla="*/ 2147483647 h 1002"/>
                  <a:gd name="T52" fmla="*/ 2147483647 w 858"/>
                  <a:gd name="T53" fmla="*/ 2147483647 h 1002"/>
                  <a:gd name="T54" fmla="*/ 2147483647 w 858"/>
                  <a:gd name="T55" fmla="*/ 2147483647 h 1002"/>
                  <a:gd name="T56" fmla="*/ 2147483647 w 858"/>
                  <a:gd name="T57" fmla="*/ 2147483647 h 1002"/>
                  <a:gd name="T58" fmla="*/ 2147483647 w 858"/>
                  <a:gd name="T59" fmla="*/ 2147483647 h 1002"/>
                  <a:gd name="T60" fmla="*/ 2147483647 w 858"/>
                  <a:gd name="T61" fmla="*/ 2147483647 h 1002"/>
                  <a:gd name="T62" fmla="*/ 2147483647 w 858"/>
                  <a:gd name="T63" fmla="*/ 2147483647 h 1002"/>
                  <a:gd name="T64" fmla="*/ 2147483647 w 858"/>
                  <a:gd name="T65" fmla="*/ 2147483647 h 1002"/>
                  <a:gd name="T66" fmla="*/ 2147483647 w 858"/>
                  <a:gd name="T67" fmla="*/ 2147483647 h 1002"/>
                  <a:gd name="T68" fmla="*/ 2147483647 w 858"/>
                  <a:gd name="T69" fmla="*/ 2147483647 h 1002"/>
                  <a:gd name="T70" fmla="*/ 2147483647 w 858"/>
                  <a:gd name="T71" fmla="*/ 2147483647 h 1002"/>
                  <a:gd name="T72" fmla="*/ 2147483647 w 858"/>
                  <a:gd name="T73" fmla="*/ 2147483647 h 1002"/>
                  <a:gd name="T74" fmla="*/ 2147483647 w 858"/>
                  <a:gd name="T75" fmla="*/ 2147483647 h 1002"/>
                  <a:gd name="T76" fmla="*/ 2147483647 w 858"/>
                  <a:gd name="T77" fmla="*/ 2147483647 h 1002"/>
                  <a:gd name="T78" fmla="*/ 2147483647 w 858"/>
                  <a:gd name="T79" fmla="*/ 2147483647 h 1002"/>
                  <a:gd name="T80" fmla="*/ 2147483647 w 858"/>
                  <a:gd name="T81" fmla="*/ 2147483647 h 1002"/>
                  <a:gd name="T82" fmla="*/ 2147483647 w 858"/>
                  <a:gd name="T83" fmla="*/ 2147483647 h 1002"/>
                  <a:gd name="T84" fmla="*/ 2147483647 w 858"/>
                  <a:gd name="T85" fmla="*/ 2147483647 h 1002"/>
                  <a:gd name="T86" fmla="*/ 2147483647 w 858"/>
                  <a:gd name="T87" fmla="*/ 2147483647 h 1002"/>
                  <a:gd name="T88" fmla="*/ 2147483647 w 858"/>
                  <a:gd name="T89" fmla="*/ 2147483647 h 1002"/>
                  <a:gd name="T90" fmla="*/ 2147483647 w 858"/>
                  <a:gd name="T91" fmla="*/ 2147483647 h 1002"/>
                  <a:gd name="T92" fmla="*/ 2147483647 w 858"/>
                  <a:gd name="T93" fmla="*/ 2147483647 h 1002"/>
                  <a:gd name="T94" fmla="*/ 2147483647 w 858"/>
                  <a:gd name="T95" fmla="*/ 2147483647 h 1002"/>
                  <a:gd name="T96" fmla="*/ 2147483647 w 858"/>
                  <a:gd name="T97" fmla="*/ 2147483647 h 1002"/>
                  <a:gd name="T98" fmla="*/ 0 w 858"/>
                  <a:gd name="T99" fmla="*/ 2147483647 h 10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858"/>
                  <a:gd name="T151" fmla="*/ 0 h 1002"/>
                  <a:gd name="T152" fmla="*/ 858 w 858"/>
                  <a:gd name="T153" fmla="*/ 1002 h 10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858" h="1002">
                    <a:moveTo>
                      <a:pt x="0" y="498"/>
                    </a:moveTo>
                    <a:lnTo>
                      <a:pt x="18" y="498"/>
                    </a:lnTo>
                    <a:lnTo>
                      <a:pt x="18" y="528"/>
                    </a:lnTo>
                    <a:lnTo>
                      <a:pt x="24" y="534"/>
                    </a:lnTo>
                    <a:lnTo>
                      <a:pt x="30" y="534"/>
                    </a:lnTo>
                    <a:lnTo>
                      <a:pt x="30" y="528"/>
                    </a:lnTo>
                    <a:lnTo>
                      <a:pt x="36" y="522"/>
                    </a:lnTo>
                    <a:lnTo>
                      <a:pt x="48" y="558"/>
                    </a:lnTo>
                    <a:lnTo>
                      <a:pt x="42" y="600"/>
                    </a:lnTo>
                    <a:lnTo>
                      <a:pt x="30" y="600"/>
                    </a:lnTo>
                    <a:lnTo>
                      <a:pt x="36" y="624"/>
                    </a:lnTo>
                    <a:lnTo>
                      <a:pt x="24" y="630"/>
                    </a:lnTo>
                    <a:lnTo>
                      <a:pt x="30" y="642"/>
                    </a:lnTo>
                    <a:lnTo>
                      <a:pt x="36" y="648"/>
                    </a:lnTo>
                    <a:lnTo>
                      <a:pt x="48" y="666"/>
                    </a:lnTo>
                    <a:lnTo>
                      <a:pt x="60" y="690"/>
                    </a:lnTo>
                    <a:lnTo>
                      <a:pt x="60" y="720"/>
                    </a:lnTo>
                    <a:lnTo>
                      <a:pt x="54" y="738"/>
                    </a:lnTo>
                    <a:lnTo>
                      <a:pt x="54" y="750"/>
                    </a:lnTo>
                    <a:lnTo>
                      <a:pt x="48" y="756"/>
                    </a:lnTo>
                    <a:lnTo>
                      <a:pt x="48" y="804"/>
                    </a:lnTo>
                    <a:lnTo>
                      <a:pt x="42" y="816"/>
                    </a:lnTo>
                    <a:lnTo>
                      <a:pt x="30" y="822"/>
                    </a:lnTo>
                    <a:lnTo>
                      <a:pt x="24" y="840"/>
                    </a:lnTo>
                    <a:lnTo>
                      <a:pt x="18" y="852"/>
                    </a:lnTo>
                    <a:lnTo>
                      <a:pt x="18" y="864"/>
                    </a:lnTo>
                    <a:lnTo>
                      <a:pt x="12" y="876"/>
                    </a:lnTo>
                    <a:lnTo>
                      <a:pt x="12" y="906"/>
                    </a:lnTo>
                    <a:lnTo>
                      <a:pt x="18" y="900"/>
                    </a:lnTo>
                    <a:lnTo>
                      <a:pt x="36" y="864"/>
                    </a:lnTo>
                    <a:lnTo>
                      <a:pt x="42" y="858"/>
                    </a:lnTo>
                    <a:lnTo>
                      <a:pt x="54" y="852"/>
                    </a:lnTo>
                    <a:lnTo>
                      <a:pt x="60" y="852"/>
                    </a:lnTo>
                    <a:lnTo>
                      <a:pt x="66" y="858"/>
                    </a:lnTo>
                    <a:lnTo>
                      <a:pt x="72" y="858"/>
                    </a:lnTo>
                    <a:lnTo>
                      <a:pt x="84" y="852"/>
                    </a:lnTo>
                    <a:lnTo>
                      <a:pt x="114" y="858"/>
                    </a:lnTo>
                    <a:lnTo>
                      <a:pt x="114" y="840"/>
                    </a:lnTo>
                    <a:lnTo>
                      <a:pt x="138" y="852"/>
                    </a:lnTo>
                    <a:lnTo>
                      <a:pt x="162" y="852"/>
                    </a:lnTo>
                    <a:lnTo>
                      <a:pt x="174" y="858"/>
                    </a:lnTo>
                    <a:lnTo>
                      <a:pt x="180" y="858"/>
                    </a:lnTo>
                    <a:lnTo>
                      <a:pt x="186" y="870"/>
                    </a:lnTo>
                    <a:lnTo>
                      <a:pt x="198" y="882"/>
                    </a:lnTo>
                    <a:lnTo>
                      <a:pt x="204" y="894"/>
                    </a:lnTo>
                    <a:lnTo>
                      <a:pt x="216" y="888"/>
                    </a:lnTo>
                    <a:lnTo>
                      <a:pt x="234" y="888"/>
                    </a:lnTo>
                    <a:lnTo>
                      <a:pt x="240" y="894"/>
                    </a:lnTo>
                    <a:lnTo>
                      <a:pt x="240" y="900"/>
                    </a:lnTo>
                    <a:lnTo>
                      <a:pt x="246" y="912"/>
                    </a:lnTo>
                    <a:lnTo>
                      <a:pt x="246" y="942"/>
                    </a:lnTo>
                    <a:lnTo>
                      <a:pt x="264" y="942"/>
                    </a:lnTo>
                    <a:lnTo>
                      <a:pt x="270" y="948"/>
                    </a:lnTo>
                    <a:lnTo>
                      <a:pt x="270" y="972"/>
                    </a:lnTo>
                    <a:lnTo>
                      <a:pt x="300" y="978"/>
                    </a:lnTo>
                    <a:lnTo>
                      <a:pt x="312" y="1002"/>
                    </a:lnTo>
                    <a:lnTo>
                      <a:pt x="330" y="1002"/>
                    </a:lnTo>
                    <a:lnTo>
                      <a:pt x="342" y="996"/>
                    </a:lnTo>
                    <a:lnTo>
                      <a:pt x="348" y="996"/>
                    </a:lnTo>
                    <a:lnTo>
                      <a:pt x="348" y="948"/>
                    </a:lnTo>
                    <a:lnTo>
                      <a:pt x="360" y="936"/>
                    </a:lnTo>
                    <a:lnTo>
                      <a:pt x="378" y="936"/>
                    </a:lnTo>
                    <a:lnTo>
                      <a:pt x="402" y="960"/>
                    </a:lnTo>
                    <a:lnTo>
                      <a:pt x="408" y="972"/>
                    </a:lnTo>
                    <a:lnTo>
                      <a:pt x="420" y="948"/>
                    </a:lnTo>
                    <a:lnTo>
                      <a:pt x="456" y="948"/>
                    </a:lnTo>
                    <a:lnTo>
                      <a:pt x="462" y="954"/>
                    </a:lnTo>
                    <a:lnTo>
                      <a:pt x="492" y="954"/>
                    </a:lnTo>
                    <a:lnTo>
                      <a:pt x="504" y="948"/>
                    </a:lnTo>
                    <a:lnTo>
                      <a:pt x="510" y="948"/>
                    </a:lnTo>
                    <a:lnTo>
                      <a:pt x="510" y="936"/>
                    </a:lnTo>
                    <a:lnTo>
                      <a:pt x="516" y="930"/>
                    </a:lnTo>
                    <a:lnTo>
                      <a:pt x="522" y="930"/>
                    </a:lnTo>
                    <a:lnTo>
                      <a:pt x="522" y="942"/>
                    </a:lnTo>
                    <a:lnTo>
                      <a:pt x="786" y="942"/>
                    </a:lnTo>
                    <a:lnTo>
                      <a:pt x="798" y="900"/>
                    </a:lnTo>
                    <a:lnTo>
                      <a:pt x="804" y="894"/>
                    </a:lnTo>
                    <a:lnTo>
                      <a:pt x="804" y="882"/>
                    </a:lnTo>
                    <a:lnTo>
                      <a:pt x="786" y="864"/>
                    </a:lnTo>
                    <a:lnTo>
                      <a:pt x="780" y="864"/>
                    </a:lnTo>
                    <a:lnTo>
                      <a:pt x="738" y="174"/>
                    </a:lnTo>
                    <a:lnTo>
                      <a:pt x="858" y="180"/>
                    </a:lnTo>
                    <a:lnTo>
                      <a:pt x="600" y="0"/>
                    </a:lnTo>
                    <a:lnTo>
                      <a:pt x="594" y="48"/>
                    </a:lnTo>
                    <a:lnTo>
                      <a:pt x="588" y="54"/>
                    </a:lnTo>
                    <a:lnTo>
                      <a:pt x="588" y="90"/>
                    </a:lnTo>
                    <a:lnTo>
                      <a:pt x="366" y="96"/>
                    </a:lnTo>
                    <a:lnTo>
                      <a:pt x="366" y="108"/>
                    </a:lnTo>
                    <a:lnTo>
                      <a:pt x="354" y="114"/>
                    </a:lnTo>
                    <a:lnTo>
                      <a:pt x="354" y="306"/>
                    </a:lnTo>
                    <a:lnTo>
                      <a:pt x="348" y="312"/>
                    </a:lnTo>
                    <a:lnTo>
                      <a:pt x="336" y="318"/>
                    </a:lnTo>
                    <a:lnTo>
                      <a:pt x="306" y="318"/>
                    </a:lnTo>
                    <a:lnTo>
                      <a:pt x="282" y="330"/>
                    </a:lnTo>
                    <a:lnTo>
                      <a:pt x="276" y="342"/>
                    </a:lnTo>
                    <a:lnTo>
                      <a:pt x="276" y="360"/>
                    </a:lnTo>
                    <a:lnTo>
                      <a:pt x="282" y="372"/>
                    </a:lnTo>
                    <a:lnTo>
                      <a:pt x="276" y="474"/>
                    </a:lnTo>
                    <a:lnTo>
                      <a:pt x="0" y="474"/>
                    </a:lnTo>
                    <a:lnTo>
                      <a:pt x="0" y="49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0" name="Mali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F59E1B5-D023-4F63-BD37-7B1073FA45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68558" y="3614217"/>
                <a:ext cx="513669" cy="540280"/>
              </a:xfrm>
              <a:custGeom>
                <a:avLst/>
                <a:gdLst>
                  <a:gd name="T0" fmla="*/ 2147483647 w 1164"/>
                  <a:gd name="T1" fmla="*/ 2147483647 h 1200"/>
                  <a:gd name="T2" fmla="*/ 2147483647 w 1164"/>
                  <a:gd name="T3" fmla="*/ 2147483647 h 1200"/>
                  <a:gd name="T4" fmla="*/ 2147483647 w 1164"/>
                  <a:gd name="T5" fmla="*/ 2147483647 h 1200"/>
                  <a:gd name="T6" fmla="*/ 2147483647 w 1164"/>
                  <a:gd name="T7" fmla="*/ 2147483647 h 1200"/>
                  <a:gd name="T8" fmla="*/ 2147483647 w 1164"/>
                  <a:gd name="T9" fmla="*/ 2147483647 h 1200"/>
                  <a:gd name="T10" fmla="*/ 2147483647 w 1164"/>
                  <a:gd name="T11" fmla="*/ 2147483647 h 1200"/>
                  <a:gd name="T12" fmla="*/ 2147483647 w 1164"/>
                  <a:gd name="T13" fmla="*/ 2147483647 h 1200"/>
                  <a:gd name="T14" fmla="*/ 2147483647 w 1164"/>
                  <a:gd name="T15" fmla="*/ 2147483647 h 1200"/>
                  <a:gd name="T16" fmla="*/ 2147483647 w 1164"/>
                  <a:gd name="T17" fmla="*/ 2147483647 h 1200"/>
                  <a:gd name="T18" fmla="*/ 2147483647 w 1164"/>
                  <a:gd name="T19" fmla="*/ 2147483647 h 1200"/>
                  <a:gd name="T20" fmla="*/ 2147483647 w 1164"/>
                  <a:gd name="T21" fmla="*/ 2147483647 h 1200"/>
                  <a:gd name="T22" fmla="*/ 2147483647 w 1164"/>
                  <a:gd name="T23" fmla="*/ 2147483647 h 1200"/>
                  <a:gd name="T24" fmla="*/ 2147483647 w 1164"/>
                  <a:gd name="T25" fmla="*/ 2147483647 h 1200"/>
                  <a:gd name="T26" fmla="*/ 2147483647 w 1164"/>
                  <a:gd name="T27" fmla="*/ 2147483647 h 1200"/>
                  <a:gd name="T28" fmla="*/ 2147483647 w 1164"/>
                  <a:gd name="T29" fmla="*/ 2147483647 h 1200"/>
                  <a:gd name="T30" fmla="*/ 2147483647 w 1164"/>
                  <a:gd name="T31" fmla="*/ 2147483647 h 1200"/>
                  <a:gd name="T32" fmla="*/ 2147483647 w 1164"/>
                  <a:gd name="T33" fmla="*/ 2147483647 h 1200"/>
                  <a:gd name="T34" fmla="*/ 2147483647 w 1164"/>
                  <a:gd name="T35" fmla="*/ 2147483647 h 1200"/>
                  <a:gd name="T36" fmla="*/ 2147483647 w 1164"/>
                  <a:gd name="T37" fmla="*/ 2147483647 h 1200"/>
                  <a:gd name="T38" fmla="*/ 2147483647 w 1164"/>
                  <a:gd name="T39" fmla="*/ 2147483647 h 1200"/>
                  <a:gd name="T40" fmla="*/ 2147483647 w 1164"/>
                  <a:gd name="T41" fmla="*/ 2147483647 h 1200"/>
                  <a:gd name="T42" fmla="*/ 2147483647 w 1164"/>
                  <a:gd name="T43" fmla="*/ 2147483647 h 1200"/>
                  <a:gd name="T44" fmla="*/ 2147483647 w 1164"/>
                  <a:gd name="T45" fmla="*/ 2147483647 h 1200"/>
                  <a:gd name="T46" fmla="*/ 2147483647 w 1164"/>
                  <a:gd name="T47" fmla="*/ 2147483647 h 1200"/>
                  <a:gd name="T48" fmla="*/ 2147483647 w 1164"/>
                  <a:gd name="T49" fmla="*/ 2147483647 h 1200"/>
                  <a:gd name="T50" fmla="*/ 2147483647 w 1164"/>
                  <a:gd name="T51" fmla="*/ 2147483647 h 1200"/>
                  <a:gd name="T52" fmla="*/ 2147483647 w 1164"/>
                  <a:gd name="T53" fmla="*/ 2147483647 h 1200"/>
                  <a:gd name="T54" fmla="*/ 0 w 1164"/>
                  <a:gd name="T55" fmla="*/ 2147483647 h 1200"/>
                  <a:gd name="T56" fmla="*/ 2147483647 w 1164"/>
                  <a:gd name="T57" fmla="*/ 2147483647 h 1200"/>
                  <a:gd name="T58" fmla="*/ 2147483647 w 1164"/>
                  <a:gd name="T59" fmla="*/ 2147483647 h 1200"/>
                  <a:gd name="T60" fmla="*/ 2147483647 w 1164"/>
                  <a:gd name="T61" fmla="*/ 2147483647 h 1200"/>
                  <a:gd name="T62" fmla="*/ 2147483647 w 1164"/>
                  <a:gd name="T63" fmla="*/ 2147483647 h 1200"/>
                  <a:gd name="T64" fmla="*/ 2147483647 w 1164"/>
                  <a:gd name="T65" fmla="*/ 2147483647 h 1200"/>
                  <a:gd name="T66" fmla="*/ 2147483647 w 1164"/>
                  <a:gd name="T67" fmla="*/ 2147483647 h 1200"/>
                  <a:gd name="T68" fmla="*/ 2147483647 w 1164"/>
                  <a:gd name="T69" fmla="*/ 2147483647 h 1200"/>
                  <a:gd name="T70" fmla="*/ 2147483647 w 1164"/>
                  <a:gd name="T71" fmla="*/ 2147483647 h 1200"/>
                  <a:gd name="T72" fmla="*/ 2147483647 w 1164"/>
                  <a:gd name="T73" fmla="*/ 2147483647 h 1200"/>
                  <a:gd name="T74" fmla="*/ 2147483647 w 1164"/>
                  <a:gd name="T75" fmla="*/ 2147483647 h 1200"/>
                  <a:gd name="T76" fmla="*/ 2147483647 w 1164"/>
                  <a:gd name="T77" fmla="*/ 2147483647 h 1200"/>
                  <a:gd name="T78" fmla="*/ 2147483647 w 1164"/>
                  <a:gd name="T79" fmla="*/ 2147483647 h 1200"/>
                  <a:gd name="T80" fmla="*/ 2147483647 w 1164"/>
                  <a:gd name="T81" fmla="*/ 2147483647 h 1200"/>
                  <a:gd name="T82" fmla="*/ 2147483647 w 1164"/>
                  <a:gd name="T83" fmla="*/ 2147483647 h 1200"/>
                  <a:gd name="T84" fmla="*/ 2147483647 w 1164"/>
                  <a:gd name="T85" fmla="*/ 2147483647 h 1200"/>
                  <a:gd name="T86" fmla="*/ 2147483647 w 1164"/>
                  <a:gd name="T87" fmla="*/ 2147483647 h 1200"/>
                  <a:gd name="T88" fmla="*/ 2147483647 w 1164"/>
                  <a:gd name="T89" fmla="*/ 2147483647 h 1200"/>
                  <a:gd name="T90" fmla="*/ 2147483647 w 1164"/>
                  <a:gd name="T91" fmla="*/ 2147483647 h 1200"/>
                  <a:gd name="T92" fmla="*/ 2147483647 w 1164"/>
                  <a:gd name="T93" fmla="*/ 2147483647 h 1200"/>
                  <a:gd name="T94" fmla="*/ 2147483647 w 1164"/>
                  <a:gd name="T95" fmla="*/ 2147483647 h 1200"/>
                  <a:gd name="T96" fmla="*/ 2147483647 w 1164"/>
                  <a:gd name="T97" fmla="*/ 2147483647 h 1200"/>
                  <a:gd name="T98" fmla="*/ 2147483647 w 1164"/>
                  <a:gd name="T99" fmla="*/ 2147483647 h 1200"/>
                  <a:gd name="T100" fmla="*/ 2147483647 w 1164"/>
                  <a:gd name="T101" fmla="*/ 2147483647 h 1200"/>
                  <a:gd name="T102" fmla="*/ 2147483647 w 1164"/>
                  <a:gd name="T103" fmla="*/ 2147483647 h 1200"/>
                  <a:gd name="T104" fmla="*/ 2147483647 w 1164"/>
                  <a:gd name="T105" fmla="*/ 2147483647 h 1200"/>
                  <a:gd name="T106" fmla="*/ 2147483647 w 1164"/>
                  <a:gd name="T107" fmla="*/ 2147483647 h 120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164"/>
                  <a:gd name="T163" fmla="*/ 0 h 1200"/>
                  <a:gd name="T164" fmla="*/ 1164 w 1164"/>
                  <a:gd name="T165" fmla="*/ 1200 h 120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164" h="1200">
                    <a:moveTo>
                      <a:pt x="612" y="954"/>
                    </a:moveTo>
                    <a:lnTo>
                      <a:pt x="636" y="948"/>
                    </a:lnTo>
                    <a:lnTo>
                      <a:pt x="636" y="912"/>
                    </a:lnTo>
                    <a:lnTo>
                      <a:pt x="654" y="912"/>
                    </a:lnTo>
                    <a:lnTo>
                      <a:pt x="654" y="906"/>
                    </a:lnTo>
                    <a:lnTo>
                      <a:pt x="660" y="900"/>
                    </a:lnTo>
                    <a:lnTo>
                      <a:pt x="666" y="888"/>
                    </a:lnTo>
                    <a:lnTo>
                      <a:pt x="678" y="882"/>
                    </a:lnTo>
                    <a:lnTo>
                      <a:pt x="684" y="870"/>
                    </a:lnTo>
                    <a:lnTo>
                      <a:pt x="690" y="864"/>
                    </a:lnTo>
                    <a:lnTo>
                      <a:pt x="696" y="864"/>
                    </a:lnTo>
                    <a:lnTo>
                      <a:pt x="708" y="876"/>
                    </a:lnTo>
                    <a:lnTo>
                      <a:pt x="720" y="876"/>
                    </a:lnTo>
                    <a:lnTo>
                      <a:pt x="720" y="870"/>
                    </a:lnTo>
                    <a:lnTo>
                      <a:pt x="726" y="864"/>
                    </a:lnTo>
                    <a:lnTo>
                      <a:pt x="726" y="846"/>
                    </a:lnTo>
                    <a:lnTo>
                      <a:pt x="750" y="846"/>
                    </a:lnTo>
                    <a:lnTo>
                      <a:pt x="768" y="822"/>
                    </a:lnTo>
                    <a:lnTo>
                      <a:pt x="792" y="822"/>
                    </a:lnTo>
                    <a:lnTo>
                      <a:pt x="810" y="804"/>
                    </a:lnTo>
                    <a:lnTo>
                      <a:pt x="858" y="804"/>
                    </a:lnTo>
                    <a:lnTo>
                      <a:pt x="882" y="816"/>
                    </a:lnTo>
                    <a:lnTo>
                      <a:pt x="930" y="804"/>
                    </a:lnTo>
                    <a:lnTo>
                      <a:pt x="954" y="786"/>
                    </a:lnTo>
                    <a:lnTo>
                      <a:pt x="1020" y="792"/>
                    </a:lnTo>
                    <a:lnTo>
                      <a:pt x="1020" y="774"/>
                    </a:lnTo>
                    <a:lnTo>
                      <a:pt x="1068" y="780"/>
                    </a:lnTo>
                    <a:lnTo>
                      <a:pt x="1080" y="774"/>
                    </a:lnTo>
                    <a:lnTo>
                      <a:pt x="1104" y="774"/>
                    </a:lnTo>
                    <a:lnTo>
                      <a:pt x="1122" y="768"/>
                    </a:lnTo>
                    <a:lnTo>
                      <a:pt x="1134" y="762"/>
                    </a:lnTo>
                    <a:lnTo>
                      <a:pt x="1140" y="750"/>
                    </a:lnTo>
                    <a:lnTo>
                      <a:pt x="1140" y="732"/>
                    </a:lnTo>
                    <a:lnTo>
                      <a:pt x="1146" y="720"/>
                    </a:lnTo>
                    <a:lnTo>
                      <a:pt x="1146" y="708"/>
                    </a:lnTo>
                    <a:lnTo>
                      <a:pt x="1164" y="684"/>
                    </a:lnTo>
                    <a:lnTo>
                      <a:pt x="1164" y="480"/>
                    </a:lnTo>
                    <a:lnTo>
                      <a:pt x="1140" y="480"/>
                    </a:lnTo>
                    <a:lnTo>
                      <a:pt x="1134" y="486"/>
                    </a:lnTo>
                    <a:lnTo>
                      <a:pt x="1104" y="486"/>
                    </a:lnTo>
                    <a:lnTo>
                      <a:pt x="1092" y="480"/>
                    </a:lnTo>
                    <a:lnTo>
                      <a:pt x="1086" y="474"/>
                    </a:lnTo>
                    <a:lnTo>
                      <a:pt x="1086" y="468"/>
                    </a:lnTo>
                    <a:lnTo>
                      <a:pt x="1104" y="450"/>
                    </a:lnTo>
                    <a:lnTo>
                      <a:pt x="1104" y="432"/>
                    </a:lnTo>
                    <a:lnTo>
                      <a:pt x="1092" y="408"/>
                    </a:lnTo>
                    <a:lnTo>
                      <a:pt x="1080" y="402"/>
                    </a:lnTo>
                    <a:lnTo>
                      <a:pt x="1050" y="402"/>
                    </a:lnTo>
                    <a:lnTo>
                      <a:pt x="1044" y="408"/>
                    </a:lnTo>
                    <a:lnTo>
                      <a:pt x="1038" y="408"/>
                    </a:lnTo>
                    <a:lnTo>
                      <a:pt x="1032" y="378"/>
                    </a:lnTo>
                    <a:lnTo>
                      <a:pt x="996" y="378"/>
                    </a:lnTo>
                    <a:lnTo>
                      <a:pt x="984" y="366"/>
                    </a:lnTo>
                    <a:lnTo>
                      <a:pt x="984" y="348"/>
                    </a:lnTo>
                    <a:lnTo>
                      <a:pt x="978" y="342"/>
                    </a:lnTo>
                    <a:lnTo>
                      <a:pt x="954" y="342"/>
                    </a:lnTo>
                    <a:lnTo>
                      <a:pt x="954" y="318"/>
                    </a:lnTo>
                    <a:lnTo>
                      <a:pt x="546" y="6"/>
                    </a:lnTo>
                    <a:lnTo>
                      <a:pt x="426" y="0"/>
                    </a:lnTo>
                    <a:lnTo>
                      <a:pt x="468" y="690"/>
                    </a:lnTo>
                    <a:lnTo>
                      <a:pt x="474" y="690"/>
                    </a:lnTo>
                    <a:lnTo>
                      <a:pt x="492" y="708"/>
                    </a:lnTo>
                    <a:lnTo>
                      <a:pt x="492" y="720"/>
                    </a:lnTo>
                    <a:lnTo>
                      <a:pt x="486" y="726"/>
                    </a:lnTo>
                    <a:lnTo>
                      <a:pt x="474" y="768"/>
                    </a:lnTo>
                    <a:lnTo>
                      <a:pt x="210" y="768"/>
                    </a:lnTo>
                    <a:lnTo>
                      <a:pt x="210" y="756"/>
                    </a:lnTo>
                    <a:lnTo>
                      <a:pt x="204" y="756"/>
                    </a:lnTo>
                    <a:lnTo>
                      <a:pt x="198" y="762"/>
                    </a:lnTo>
                    <a:lnTo>
                      <a:pt x="198" y="774"/>
                    </a:lnTo>
                    <a:lnTo>
                      <a:pt x="192" y="774"/>
                    </a:lnTo>
                    <a:lnTo>
                      <a:pt x="180" y="780"/>
                    </a:lnTo>
                    <a:lnTo>
                      <a:pt x="150" y="780"/>
                    </a:lnTo>
                    <a:lnTo>
                      <a:pt x="144" y="774"/>
                    </a:lnTo>
                    <a:lnTo>
                      <a:pt x="108" y="774"/>
                    </a:lnTo>
                    <a:lnTo>
                      <a:pt x="96" y="798"/>
                    </a:lnTo>
                    <a:lnTo>
                      <a:pt x="90" y="786"/>
                    </a:lnTo>
                    <a:lnTo>
                      <a:pt x="66" y="762"/>
                    </a:lnTo>
                    <a:lnTo>
                      <a:pt x="48" y="762"/>
                    </a:lnTo>
                    <a:lnTo>
                      <a:pt x="36" y="774"/>
                    </a:lnTo>
                    <a:lnTo>
                      <a:pt x="36" y="822"/>
                    </a:lnTo>
                    <a:lnTo>
                      <a:pt x="30" y="822"/>
                    </a:lnTo>
                    <a:lnTo>
                      <a:pt x="18" y="828"/>
                    </a:lnTo>
                    <a:lnTo>
                      <a:pt x="0" y="828"/>
                    </a:lnTo>
                    <a:lnTo>
                      <a:pt x="0" y="852"/>
                    </a:lnTo>
                    <a:lnTo>
                      <a:pt x="12" y="870"/>
                    </a:lnTo>
                    <a:lnTo>
                      <a:pt x="12" y="876"/>
                    </a:lnTo>
                    <a:lnTo>
                      <a:pt x="24" y="888"/>
                    </a:lnTo>
                    <a:lnTo>
                      <a:pt x="24" y="906"/>
                    </a:lnTo>
                    <a:lnTo>
                      <a:pt x="18" y="912"/>
                    </a:lnTo>
                    <a:lnTo>
                      <a:pt x="18" y="936"/>
                    </a:lnTo>
                    <a:lnTo>
                      <a:pt x="24" y="942"/>
                    </a:lnTo>
                    <a:lnTo>
                      <a:pt x="36" y="942"/>
                    </a:lnTo>
                    <a:lnTo>
                      <a:pt x="36" y="936"/>
                    </a:lnTo>
                    <a:lnTo>
                      <a:pt x="42" y="936"/>
                    </a:lnTo>
                    <a:lnTo>
                      <a:pt x="48" y="942"/>
                    </a:lnTo>
                    <a:lnTo>
                      <a:pt x="54" y="954"/>
                    </a:lnTo>
                    <a:lnTo>
                      <a:pt x="54" y="1032"/>
                    </a:lnTo>
                    <a:lnTo>
                      <a:pt x="60" y="1044"/>
                    </a:lnTo>
                    <a:lnTo>
                      <a:pt x="60" y="1050"/>
                    </a:lnTo>
                    <a:lnTo>
                      <a:pt x="66" y="1056"/>
                    </a:lnTo>
                    <a:lnTo>
                      <a:pt x="72" y="1050"/>
                    </a:lnTo>
                    <a:lnTo>
                      <a:pt x="78" y="1038"/>
                    </a:lnTo>
                    <a:lnTo>
                      <a:pt x="90" y="1026"/>
                    </a:lnTo>
                    <a:lnTo>
                      <a:pt x="102" y="1038"/>
                    </a:lnTo>
                    <a:lnTo>
                      <a:pt x="108" y="1050"/>
                    </a:lnTo>
                    <a:lnTo>
                      <a:pt x="108" y="1062"/>
                    </a:lnTo>
                    <a:lnTo>
                      <a:pt x="114" y="1050"/>
                    </a:lnTo>
                    <a:lnTo>
                      <a:pt x="126" y="1038"/>
                    </a:lnTo>
                    <a:lnTo>
                      <a:pt x="132" y="1026"/>
                    </a:lnTo>
                    <a:lnTo>
                      <a:pt x="138" y="1026"/>
                    </a:lnTo>
                    <a:lnTo>
                      <a:pt x="144" y="1032"/>
                    </a:lnTo>
                    <a:lnTo>
                      <a:pt x="150" y="1032"/>
                    </a:lnTo>
                    <a:lnTo>
                      <a:pt x="162" y="1038"/>
                    </a:lnTo>
                    <a:lnTo>
                      <a:pt x="168" y="1044"/>
                    </a:lnTo>
                    <a:lnTo>
                      <a:pt x="180" y="1050"/>
                    </a:lnTo>
                    <a:lnTo>
                      <a:pt x="198" y="1032"/>
                    </a:lnTo>
                    <a:lnTo>
                      <a:pt x="198" y="1014"/>
                    </a:lnTo>
                    <a:lnTo>
                      <a:pt x="204" y="1008"/>
                    </a:lnTo>
                    <a:lnTo>
                      <a:pt x="216" y="1008"/>
                    </a:lnTo>
                    <a:lnTo>
                      <a:pt x="228" y="1014"/>
                    </a:lnTo>
                    <a:lnTo>
                      <a:pt x="228" y="1032"/>
                    </a:lnTo>
                    <a:lnTo>
                      <a:pt x="246" y="1044"/>
                    </a:lnTo>
                    <a:lnTo>
                      <a:pt x="234" y="1074"/>
                    </a:lnTo>
                    <a:lnTo>
                      <a:pt x="270" y="1092"/>
                    </a:lnTo>
                    <a:lnTo>
                      <a:pt x="246" y="1128"/>
                    </a:lnTo>
                    <a:lnTo>
                      <a:pt x="270" y="1128"/>
                    </a:lnTo>
                    <a:lnTo>
                      <a:pt x="270" y="1164"/>
                    </a:lnTo>
                    <a:lnTo>
                      <a:pt x="300" y="1194"/>
                    </a:lnTo>
                    <a:lnTo>
                      <a:pt x="312" y="1200"/>
                    </a:lnTo>
                    <a:lnTo>
                      <a:pt x="312" y="1182"/>
                    </a:lnTo>
                    <a:lnTo>
                      <a:pt x="318" y="1176"/>
                    </a:lnTo>
                    <a:lnTo>
                      <a:pt x="330" y="1176"/>
                    </a:lnTo>
                    <a:lnTo>
                      <a:pt x="348" y="1182"/>
                    </a:lnTo>
                    <a:lnTo>
                      <a:pt x="366" y="1200"/>
                    </a:lnTo>
                    <a:lnTo>
                      <a:pt x="372" y="1182"/>
                    </a:lnTo>
                    <a:lnTo>
                      <a:pt x="390" y="1182"/>
                    </a:lnTo>
                    <a:lnTo>
                      <a:pt x="396" y="1158"/>
                    </a:lnTo>
                    <a:lnTo>
                      <a:pt x="408" y="1176"/>
                    </a:lnTo>
                    <a:lnTo>
                      <a:pt x="420" y="1152"/>
                    </a:lnTo>
                    <a:lnTo>
                      <a:pt x="420" y="1188"/>
                    </a:lnTo>
                    <a:lnTo>
                      <a:pt x="444" y="1194"/>
                    </a:lnTo>
                    <a:lnTo>
                      <a:pt x="450" y="1188"/>
                    </a:lnTo>
                    <a:lnTo>
                      <a:pt x="456" y="1176"/>
                    </a:lnTo>
                    <a:lnTo>
                      <a:pt x="462" y="1170"/>
                    </a:lnTo>
                    <a:lnTo>
                      <a:pt x="474" y="1170"/>
                    </a:lnTo>
                    <a:lnTo>
                      <a:pt x="468" y="1116"/>
                    </a:lnTo>
                    <a:lnTo>
                      <a:pt x="492" y="1116"/>
                    </a:lnTo>
                    <a:lnTo>
                      <a:pt x="504" y="1092"/>
                    </a:lnTo>
                    <a:lnTo>
                      <a:pt x="480" y="1062"/>
                    </a:lnTo>
                    <a:lnTo>
                      <a:pt x="498" y="1050"/>
                    </a:lnTo>
                    <a:lnTo>
                      <a:pt x="504" y="1050"/>
                    </a:lnTo>
                    <a:lnTo>
                      <a:pt x="510" y="1044"/>
                    </a:lnTo>
                    <a:lnTo>
                      <a:pt x="546" y="1044"/>
                    </a:lnTo>
                    <a:lnTo>
                      <a:pt x="546" y="1032"/>
                    </a:lnTo>
                    <a:lnTo>
                      <a:pt x="540" y="1026"/>
                    </a:lnTo>
                    <a:lnTo>
                      <a:pt x="546" y="1026"/>
                    </a:lnTo>
                    <a:lnTo>
                      <a:pt x="552" y="1020"/>
                    </a:lnTo>
                    <a:lnTo>
                      <a:pt x="552" y="990"/>
                    </a:lnTo>
                    <a:lnTo>
                      <a:pt x="570" y="990"/>
                    </a:lnTo>
                    <a:lnTo>
                      <a:pt x="570" y="960"/>
                    </a:lnTo>
                    <a:lnTo>
                      <a:pt x="564" y="954"/>
                    </a:lnTo>
                    <a:lnTo>
                      <a:pt x="582" y="924"/>
                    </a:lnTo>
                    <a:lnTo>
                      <a:pt x="612" y="95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1" name="Malawi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75E7115-362B-4065-9506-2D19F19367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73288" y="4861290"/>
                <a:ext cx="103083" cy="281654"/>
              </a:xfrm>
              <a:custGeom>
                <a:avLst/>
                <a:gdLst>
                  <a:gd name="T0" fmla="*/ 2147483647 w 234"/>
                  <a:gd name="T1" fmla="*/ 2147483647 h 624"/>
                  <a:gd name="T2" fmla="*/ 2147483647 w 234"/>
                  <a:gd name="T3" fmla="*/ 2147483647 h 624"/>
                  <a:gd name="T4" fmla="*/ 2147483647 w 234"/>
                  <a:gd name="T5" fmla="*/ 2147483647 h 624"/>
                  <a:gd name="T6" fmla="*/ 2147483647 w 234"/>
                  <a:gd name="T7" fmla="*/ 2147483647 h 624"/>
                  <a:gd name="T8" fmla="*/ 2147483647 w 234"/>
                  <a:gd name="T9" fmla="*/ 2147483647 h 624"/>
                  <a:gd name="T10" fmla="*/ 2147483647 w 234"/>
                  <a:gd name="T11" fmla="*/ 2147483647 h 624"/>
                  <a:gd name="T12" fmla="*/ 2147483647 w 234"/>
                  <a:gd name="T13" fmla="*/ 2147483647 h 624"/>
                  <a:gd name="T14" fmla="*/ 2147483647 w 234"/>
                  <a:gd name="T15" fmla="*/ 2147483647 h 624"/>
                  <a:gd name="T16" fmla="*/ 2147483647 w 234"/>
                  <a:gd name="T17" fmla="*/ 2147483647 h 624"/>
                  <a:gd name="T18" fmla="*/ 2147483647 w 234"/>
                  <a:gd name="T19" fmla="*/ 2147483647 h 624"/>
                  <a:gd name="T20" fmla="*/ 2147483647 w 234"/>
                  <a:gd name="T21" fmla="*/ 2147483647 h 624"/>
                  <a:gd name="T22" fmla="*/ 2147483647 w 234"/>
                  <a:gd name="T23" fmla="*/ 2147483647 h 624"/>
                  <a:gd name="T24" fmla="*/ 2147483647 w 234"/>
                  <a:gd name="T25" fmla="*/ 2147483647 h 624"/>
                  <a:gd name="T26" fmla="*/ 2147483647 w 234"/>
                  <a:gd name="T27" fmla="*/ 2147483647 h 624"/>
                  <a:gd name="T28" fmla="*/ 2147483647 w 234"/>
                  <a:gd name="T29" fmla="*/ 2147483647 h 624"/>
                  <a:gd name="T30" fmla="*/ 2147483647 w 234"/>
                  <a:gd name="T31" fmla="*/ 2147483647 h 624"/>
                  <a:gd name="T32" fmla="*/ 2147483647 w 234"/>
                  <a:gd name="T33" fmla="*/ 2147483647 h 624"/>
                  <a:gd name="T34" fmla="*/ 2147483647 w 234"/>
                  <a:gd name="T35" fmla="*/ 2147483647 h 624"/>
                  <a:gd name="T36" fmla="*/ 2147483647 w 234"/>
                  <a:gd name="T37" fmla="*/ 2147483647 h 624"/>
                  <a:gd name="T38" fmla="*/ 2147483647 w 234"/>
                  <a:gd name="T39" fmla="*/ 2147483647 h 624"/>
                  <a:gd name="T40" fmla="*/ 2147483647 w 234"/>
                  <a:gd name="T41" fmla="*/ 2147483647 h 624"/>
                  <a:gd name="T42" fmla="*/ 2147483647 w 234"/>
                  <a:gd name="T43" fmla="*/ 2147483647 h 624"/>
                  <a:gd name="T44" fmla="*/ 2147483647 w 234"/>
                  <a:gd name="T45" fmla="*/ 2147483647 h 624"/>
                  <a:gd name="T46" fmla="*/ 2147483647 w 234"/>
                  <a:gd name="T47" fmla="*/ 0 h 624"/>
                  <a:gd name="T48" fmla="*/ 2147483647 w 234"/>
                  <a:gd name="T49" fmla="*/ 2147483647 h 624"/>
                  <a:gd name="T50" fmla="*/ 2147483647 w 234"/>
                  <a:gd name="T51" fmla="*/ 2147483647 h 624"/>
                  <a:gd name="T52" fmla="*/ 2147483647 w 234"/>
                  <a:gd name="T53" fmla="*/ 2147483647 h 624"/>
                  <a:gd name="T54" fmla="*/ 2147483647 w 234"/>
                  <a:gd name="T55" fmla="*/ 2147483647 h 624"/>
                  <a:gd name="T56" fmla="*/ 2147483647 w 234"/>
                  <a:gd name="T57" fmla="*/ 2147483647 h 624"/>
                  <a:gd name="T58" fmla="*/ 2147483647 w 234"/>
                  <a:gd name="T59" fmla="*/ 2147483647 h 624"/>
                  <a:gd name="T60" fmla="*/ 2147483647 w 234"/>
                  <a:gd name="T61" fmla="*/ 2147483647 h 624"/>
                  <a:gd name="T62" fmla="*/ 2147483647 w 234"/>
                  <a:gd name="T63" fmla="*/ 2147483647 h 624"/>
                  <a:gd name="T64" fmla="*/ 2147483647 w 234"/>
                  <a:gd name="T65" fmla="*/ 2147483647 h 624"/>
                  <a:gd name="T66" fmla="*/ 2147483647 w 234"/>
                  <a:gd name="T67" fmla="*/ 2147483647 h 624"/>
                  <a:gd name="T68" fmla="*/ 2147483647 w 234"/>
                  <a:gd name="T69" fmla="*/ 2147483647 h 624"/>
                  <a:gd name="T70" fmla="*/ 2147483647 w 234"/>
                  <a:gd name="T71" fmla="*/ 2147483647 h 624"/>
                  <a:gd name="T72" fmla="*/ 2147483647 w 234"/>
                  <a:gd name="T73" fmla="*/ 2147483647 h 624"/>
                  <a:gd name="T74" fmla="*/ 0 w 234"/>
                  <a:gd name="T75" fmla="*/ 2147483647 h 624"/>
                  <a:gd name="T76" fmla="*/ 2147483647 w 234"/>
                  <a:gd name="T77" fmla="*/ 2147483647 h 624"/>
                  <a:gd name="T78" fmla="*/ 2147483647 w 234"/>
                  <a:gd name="T79" fmla="*/ 2147483647 h 624"/>
                  <a:gd name="T80" fmla="*/ 2147483647 w 234"/>
                  <a:gd name="T81" fmla="*/ 2147483647 h 624"/>
                  <a:gd name="T82" fmla="*/ 2147483647 w 234"/>
                  <a:gd name="T83" fmla="*/ 2147483647 h 624"/>
                  <a:gd name="T84" fmla="*/ 2147483647 w 234"/>
                  <a:gd name="T85" fmla="*/ 2147483647 h 624"/>
                  <a:gd name="T86" fmla="*/ 2147483647 w 234"/>
                  <a:gd name="T87" fmla="*/ 2147483647 h 624"/>
                  <a:gd name="T88" fmla="*/ 2147483647 w 234"/>
                  <a:gd name="T89" fmla="*/ 2147483647 h 624"/>
                  <a:gd name="T90" fmla="*/ 2147483647 w 234"/>
                  <a:gd name="T91" fmla="*/ 2147483647 h 624"/>
                  <a:gd name="T92" fmla="*/ 2147483647 w 234"/>
                  <a:gd name="T93" fmla="*/ 2147483647 h 624"/>
                  <a:gd name="T94" fmla="*/ 2147483647 w 234"/>
                  <a:gd name="T95" fmla="*/ 2147483647 h 624"/>
                  <a:gd name="T96" fmla="*/ 2147483647 w 234"/>
                  <a:gd name="T97" fmla="*/ 2147483647 h 624"/>
                  <a:gd name="T98" fmla="*/ 2147483647 w 234"/>
                  <a:gd name="T99" fmla="*/ 2147483647 h 624"/>
                  <a:gd name="T100" fmla="*/ 2147483647 w 234"/>
                  <a:gd name="T101" fmla="*/ 2147483647 h 624"/>
                  <a:gd name="T102" fmla="*/ 2147483647 w 234"/>
                  <a:gd name="T103" fmla="*/ 2147483647 h 624"/>
                  <a:gd name="T104" fmla="*/ 2147483647 w 234"/>
                  <a:gd name="T105" fmla="*/ 2147483647 h 624"/>
                  <a:gd name="T106" fmla="*/ 2147483647 w 234"/>
                  <a:gd name="T107" fmla="*/ 2147483647 h 624"/>
                  <a:gd name="T108" fmla="*/ 2147483647 w 234"/>
                  <a:gd name="T109" fmla="*/ 2147483647 h 624"/>
                  <a:gd name="T110" fmla="*/ 2147483647 w 234"/>
                  <a:gd name="T111" fmla="*/ 2147483647 h 624"/>
                  <a:gd name="T112" fmla="*/ 2147483647 w 234"/>
                  <a:gd name="T113" fmla="*/ 2147483647 h 624"/>
                  <a:gd name="T114" fmla="*/ 2147483647 w 234"/>
                  <a:gd name="T115" fmla="*/ 2147483647 h 624"/>
                  <a:gd name="T116" fmla="*/ 2147483647 w 234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34"/>
                  <a:gd name="T178" fmla="*/ 0 h 624"/>
                  <a:gd name="T179" fmla="*/ 234 w 234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34" h="624">
                    <a:moveTo>
                      <a:pt x="234" y="432"/>
                    </a:moveTo>
                    <a:lnTo>
                      <a:pt x="222" y="420"/>
                    </a:lnTo>
                    <a:lnTo>
                      <a:pt x="210" y="402"/>
                    </a:lnTo>
                    <a:lnTo>
                      <a:pt x="204" y="390"/>
                    </a:lnTo>
                    <a:lnTo>
                      <a:pt x="198" y="384"/>
                    </a:lnTo>
                    <a:lnTo>
                      <a:pt x="186" y="360"/>
                    </a:lnTo>
                    <a:lnTo>
                      <a:pt x="162" y="336"/>
                    </a:lnTo>
                    <a:lnTo>
                      <a:pt x="156" y="336"/>
                    </a:lnTo>
                    <a:lnTo>
                      <a:pt x="156" y="330"/>
                    </a:lnTo>
                    <a:lnTo>
                      <a:pt x="150" y="330"/>
                    </a:lnTo>
                    <a:lnTo>
                      <a:pt x="150" y="342"/>
                    </a:lnTo>
                    <a:lnTo>
                      <a:pt x="156" y="342"/>
                    </a:lnTo>
                    <a:lnTo>
                      <a:pt x="168" y="354"/>
                    </a:lnTo>
                    <a:lnTo>
                      <a:pt x="168" y="366"/>
                    </a:lnTo>
                    <a:lnTo>
                      <a:pt x="174" y="378"/>
                    </a:lnTo>
                    <a:lnTo>
                      <a:pt x="174" y="390"/>
                    </a:lnTo>
                    <a:lnTo>
                      <a:pt x="168" y="396"/>
                    </a:lnTo>
                    <a:lnTo>
                      <a:pt x="162" y="396"/>
                    </a:lnTo>
                    <a:lnTo>
                      <a:pt x="162" y="390"/>
                    </a:lnTo>
                    <a:lnTo>
                      <a:pt x="156" y="384"/>
                    </a:lnTo>
                    <a:lnTo>
                      <a:pt x="156" y="378"/>
                    </a:lnTo>
                    <a:lnTo>
                      <a:pt x="144" y="384"/>
                    </a:lnTo>
                    <a:lnTo>
                      <a:pt x="132" y="384"/>
                    </a:lnTo>
                    <a:lnTo>
                      <a:pt x="132" y="360"/>
                    </a:lnTo>
                    <a:lnTo>
                      <a:pt x="126" y="354"/>
                    </a:lnTo>
                    <a:lnTo>
                      <a:pt x="126" y="342"/>
                    </a:lnTo>
                    <a:lnTo>
                      <a:pt x="120" y="330"/>
                    </a:lnTo>
                    <a:lnTo>
                      <a:pt x="120" y="282"/>
                    </a:lnTo>
                    <a:lnTo>
                      <a:pt x="84" y="246"/>
                    </a:lnTo>
                    <a:lnTo>
                      <a:pt x="90" y="240"/>
                    </a:lnTo>
                    <a:lnTo>
                      <a:pt x="90" y="222"/>
                    </a:lnTo>
                    <a:lnTo>
                      <a:pt x="96" y="210"/>
                    </a:lnTo>
                    <a:lnTo>
                      <a:pt x="114" y="192"/>
                    </a:lnTo>
                    <a:lnTo>
                      <a:pt x="120" y="180"/>
                    </a:lnTo>
                    <a:lnTo>
                      <a:pt x="126" y="174"/>
                    </a:lnTo>
                    <a:lnTo>
                      <a:pt x="126" y="156"/>
                    </a:lnTo>
                    <a:lnTo>
                      <a:pt x="120" y="150"/>
                    </a:lnTo>
                    <a:lnTo>
                      <a:pt x="120" y="102"/>
                    </a:lnTo>
                    <a:lnTo>
                      <a:pt x="114" y="78"/>
                    </a:lnTo>
                    <a:lnTo>
                      <a:pt x="114" y="60"/>
                    </a:lnTo>
                    <a:lnTo>
                      <a:pt x="102" y="60"/>
                    </a:lnTo>
                    <a:lnTo>
                      <a:pt x="84" y="42"/>
                    </a:lnTo>
                    <a:lnTo>
                      <a:pt x="84" y="36"/>
                    </a:lnTo>
                    <a:lnTo>
                      <a:pt x="90" y="24"/>
                    </a:lnTo>
                    <a:lnTo>
                      <a:pt x="90" y="18"/>
                    </a:lnTo>
                    <a:lnTo>
                      <a:pt x="60" y="18"/>
                    </a:lnTo>
                    <a:lnTo>
                      <a:pt x="54" y="0"/>
                    </a:lnTo>
                    <a:lnTo>
                      <a:pt x="30" y="0"/>
                    </a:lnTo>
                    <a:lnTo>
                      <a:pt x="30" y="12"/>
                    </a:lnTo>
                    <a:lnTo>
                      <a:pt x="42" y="12"/>
                    </a:lnTo>
                    <a:lnTo>
                      <a:pt x="54" y="24"/>
                    </a:lnTo>
                    <a:lnTo>
                      <a:pt x="54" y="66"/>
                    </a:lnTo>
                    <a:lnTo>
                      <a:pt x="60" y="66"/>
                    </a:lnTo>
                    <a:lnTo>
                      <a:pt x="66" y="60"/>
                    </a:lnTo>
                    <a:lnTo>
                      <a:pt x="66" y="84"/>
                    </a:lnTo>
                    <a:lnTo>
                      <a:pt x="78" y="84"/>
                    </a:lnTo>
                    <a:lnTo>
                      <a:pt x="78" y="96"/>
                    </a:lnTo>
                    <a:lnTo>
                      <a:pt x="54" y="108"/>
                    </a:lnTo>
                    <a:lnTo>
                      <a:pt x="48" y="114"/>
                    </a:lnTo>
                    <a:lnTo>
                      <a:pt x="42" y="114"/>
                    </a:lnTo>
                    <a:lnTo>
                      <a:pt x="42" y="132"/>
                    </a:lnTo>
                    <a:lnTo>
                      <a:pt x="54" y="138"/>
                    </a:lnTo>
                    <a:lnTo>
                      <a:pt x="48" y="156"/>
                    </a:lnTo>
                    <a:lnTo>
                      <a:pt x="48" y="228"/>
                    </a:lnTo>
                    <a:lnTo>
                      <a:pt x="60" y="228"/>
                    </a:lnTo>
                    <a:lnTo>
                      <a:pt x="60" y="234"/>
                    </a:lnTo>
                    <a:lnTo>
                      <a:pt x="42" y="252"/>
                    </a:lnTo>
                    <a:lnTo>
                      <a:pt x="30" y="258"/>
                    </a:lnTo>
                    <a:lnTo>
                      <a:pt x="24" y="264"/>
                    </a:lnTo>
                    <a:lnTo>
                      <a:pt x="18" y="264"/>
                    </a:lnTo>
                    <a:lnTo>
                      <a:pt x="24" y="300"/>
                    </a:lnTo>
                    <a:lnTo>
                      <a:pt x="18" y="312"/>
                    </a:lnTo>
                    <a:lnTo>
                      <a:pt x="12" y="318"/>
                    </a:lnTo>
                    <a:lnTo>
                      <a:pt x="6" y="330"/>
                    </a:lnTo>
                    <a:lnTo>
                      <a:pt x="0" y="336"/>
                    </a:lnTo>
                    <a:lnTo>
                      <a:pt x="0" y="342"/>
                    </a:lnTo>
                    <a:lnTo>
                      <a:pt x="12" y="348"/>
                    </a:lnTo>
                    <a:lnTo>
                      <a:pt x="24" y="360"/>
                    </a:lnTo>
                    <a:lnTo>
                      <a:pt x="36" y="366"/>
                    </a:lnTo>
                    <a:lnTo>
                      <a:pt x="66" y="414"/>
                    </a:lnTo>
                    <a:lnTo>
                      <a:pt x="96" y="414"/>
                    </a:lnTo>
                    <a:lnTo>
                      <a:pt x="102" y="408"/>
                    </a:lnTo>
                    <a:lnTo>
                      <a:pt x="120" y="408"/>
                    </a:lnTo>
                    <a:lnTo>
                      <a:pt x="126" y="414"/>
                    </a:lnTo>
                    <a:lnTo>
                      <a:pt x="126" y="450"/>
                    </a:lnTo>
                    <a:lnTo>
                      <a:pt x="132" y="450"/>
                    </a:lnTo>
                    <a:lnTo>
                      <a:pt x="126" y="480"/>
                    </a:lnTo>
                    <a:lnTo>
                      <a:pt x="114" y="486"/>
                    </a:lnTo>
                    <a:lnTo>
                      <a:pt x="126" y="504"/>
                    </a:lnTo>
                    <a:lnTo>
                      <a:pt x="120" y="510"/>
                    </a:lnTo>
                    <a:lnTo>
                      <a:pt x="108" y="516"/>
                    </a:lnTo>
                    <a:lnTo>
                      <a:pt x="102" y="522"/>
                    </a:lnTo>
                    <a:lnTo>
                      <a:pt x="102" y="528"/>
                    </a:lnTo>
                    <a:lnTo>
                      <a:pt x="114" y="528"/>
                    </a:lnTo>
                    <a:lnTo>
                      <a:pt x="114" y="558"/>
                    </a:lnTo>
                    <a:lnTo>
                      <a:pt x="126" y="564"/>
                    </a:lnTo>
                    <a:lnTo>
                      <a:pt x="132" y="570"/>
                    </a:lnTo>
                    <a:lnTo>
                      <a:pt x="144" y="576"/>
                    </a:lnTo>
                    <a:lnTo>
                      <a:pt x="150" y="582"/>
                    </a:lnTo>
                    <a:lnTo>
                      <a:pt x="162" y="588"/>
                    </a:lnTo>
                    <a:lnTo>
                      <a:pt x="162" y="600"/>
                    </a:lnTo>
                    <a:lnTo>
                      <a:pt x="156" y="606"/>
                    </a:lnTo>
                    <a:lnTo>
                      <a:pt x="156" y="618"/>
                    </a:lnTo>
                    <a:lnTo>
                      <a:pt x="162" y="624"/>
                    </a:lnTo>
                    <a:lnTo>
                      <a:pt x="168" y="618"/>
                    </a:lnTo>
                    <a:lnTo>
                      <a:pt x="180" y="612"/>
                    </a:lnTo>
                    <a:lnTo>
                      <a:pt x="180" y="582"/>
                    </a:lnTo>
                    <a:lnTo>
                      <a:pt x="174" y="576"/>
                    </a:lnTo>
                    <a:lnTo>
                      <a:pt x="168" y="576"/>
                    </a:lnTo>
                    <a:lnTo>
                      <a:pt x="168" y="558"/>
                    </a:lnTo>
                    <a:lnTo>
                      <a:pt x="174" y="546"/>
                    </a:lnTo>
                    <a:lnTo>
                      <a:pt x="186" y="540"/>
                    </a:lnTo>
                    <a:lnTo>
                      <a:pt x="210" y="540"/>
                    </a:lnTo>
                    <a:lnTo>
                      <a:pt x="216" y="534"/>
                    </a:lnTo>
                    <a:lnTo>
                      <a:pt x="216" y="474"/>
                    </a:lnTo>
                    <a:lnTo>
                      <a:pt x="222" y="468"/>
                    </a:lnTo>
                    <a:lnTo>
                      <a:pt x="228" y="456"/>
                    </a:lnTo>
                    <a:lnTo>
                      <a:pt x="234" y="450"/>
                    </a:lnTo>
                    <a:lnTo>
                      <a:pt x="234" y="43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2" name="Madagasca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76FD225-B6AD-43F5-8540-6888C92E8C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75549" y="4965802"/>
                <a:ext cx="263823" cy="488908"/>
              </a:xfrm>
              <a:custGeom>
                <a:avLst/>
                <a:gdLst>
                  <a:gd name="T0" fmla="*/ 2147483647 w 594"/>
                  <a:gd name="T1" fmla="*/ 2147483647 h 1092"/>
                  <a:gd name="T2" fmla="*/ 2147483647 w 594"/>
                  <a:gd name="T3" fmla="*/ 2147483647 h 1092"/>
                  <a:gd name="T4" fmla="*/ 2147483647 w 594"/>
                  <a:gd name="T5" fmla="*/ 2147483647 h 1092"/>
                  <a:gd name="T6" fmla="*/ 2147483647 w 594"/>
                  <a:gd name="T7" fmla="*/ 2147483647 h 1092"/>
                  <a:gd name="T8" fmla="*/ 2147483647 w 594"/>
                  <a:gd name="T9" fmla="*/ 2147483647 h 1092"/>
                  <a:gd name="T10" fmla="*/ 2147483647 w 594"/>
                  <a:gd name="T11" fmla="*/ 2147483647 h 1092"/>
                  <a:gd name="T12" fmla="*/ 2147483647 w 594"/>
                  <a:gd name="T13" fmla="*/ 2147483647 h 1092"/>
                  <a:gd name="T14" fmla="*/ 2147483647 w 594"/>
                  <a:gd name="T15" fmla="*/ 2147483647 h 1092"/>
                  <a:gd name="T16" fmla="*/ 2147483647 w 594"/>
                  <a:gd name="T17" fmla="*/ 2147483647 h 1092"/>
                  <a:gd name="T18" fmla="*/ 2147483647 w 594"/>
                  <a:gd name="T19" fmla="*/ 2147483647 h 1092"/>
                  <a:gd name="T20" fmla="*/ 2147483647 w 594"/>
                  <a:gd name="T21" fmla="*/ 2147483647 h 1092"/>
                  <a:gd name="T22" fmla="*/ 2147483647 w 594"/>
                  <a:gd name="T23" fmla="*/ 2147483647 h 1092"/>
                  <a:gd name="T24" fmla="*/ 2147483647 w 594"/>
                  <a:gd name="T25" fmla="*/ 2147483647 h 1092"/>
                  <a:gd name="T26" fmla="*/ 2147483647 w 594"/>
                  <a:gd name="T27" fmla="*/ 2147483647 h 1092"/>
                  <a:gd name="T28" fmla="*/ 2147483647 w 594"/>
                  <a:gd name="T29" fmla="*/ 2147483647 h 1092"/>
                  <a:gd name="T30" fmla="*/ 2147483647 w 594"/>
                  <a:gd name="T31" fmla="*/ 2147483647 h 1092"/>
                  <a:gd name="T32" fmla="*/ 2147483647 w 594"/>
                  <a:gd name="T33" fmla="*/ 0 h 1092"/>
                  <a:gd name="T34" fmla="*/ 2147483647 w 594"/>
                  <a:gd name="T35" fmla="*/ 2147483647 h 1092"/>
                  <a:gd name="T36" fmla="*/ 2147483647 w 594"/>
                  <a:gd name="T37" fmla="*/ 2147483647 h 1092"/>
                  <a:gd name="T38" fmla="*/ 2147483647 w 594"/>
                  <a:gd name="T39" fmla="*/ 2147483647 h 1092"/>
                  <a:gd name="T40" fmla="*/ 2147483647 w 594"/>
                  <a:gd name="T41" fmla="*/ 2147483647 h 1092"/>
                  <a:gd name="T42" fmla="*/ 2147483647 w 594"/>
                  <a:gd name="T43" fmla="*/ 2147483647 h 1092"/>
                  <a:gd name="T44" fmla="*/ 2147483647 w 594"/>
                  <a:gd name="T45" fmla="*/ 2147483647 h 1092"/>
                  <a:gd name="T46" fmla="*/ 2147483647 w 594"/>
                  <a:gd name="T47" fmla="*/ 2147483647 h 1092"/>
                  <a:gd name="T48" fmla="*/ 2147483647 w 594"/>
                  <a:gd name="T49" fmla="*/ 2147483647 h 1092"/>
                  <a:gd name="T50" fmla="*/ 2147483647 w 594"/>
                  <a:gd name="T51" fmla="*/ 2147483647 h 1092"/>
                  <a:gd name="T52" fmla="*/ 2147483647 w 594"/>
                  <a:gd name="T53" fmla="*/ 2147483647 h 1092"/>
                  <a:gd name="T54" fmla="*/ 2147483647 w 594"/>
                  <a:gd name="T55" fmla="*/ 2147483647 h 1092"/>
                  <a:gd name="T56" fmla="*/ 2147483647 w 594"/>
                  <a:gd name="T57" fmla="*/ 2147483647 h 1092"/>
                  <a:gd name="T58" fmla="*/ 2147483647 w 594"/>
                  <a:gd name="T59" fmla="*/ 2147483647 h 1092"/>
                  <a:gd name="T60" fmla="*/ 2147483647 w 594"/>
                  <a:gd name="T61" fmla="*/ 2147483647 h 1092"/>
                  <a:gd name="T62" fmla="*/ 2147483647 w 594"/>
                  <a:gd name="T63" fmla="*/ 2147483647 h 1092"/>
                  <a:gd name="T64" fmla="*/ 2147483647 w 594"/>
                  <a:gd name="T65" fmla="*/ 2147483647 h 1092"/>
                  <a:gd name="T66" fmla="*/ 2147483647 w 594"/>
                  <a:gd name="T67" fmla="*/ 2147483647 h 1092"/>
                  <a:gd name="T68" fmla="*/ 2147483647 w 594"/>
                  <a:gd name="T69" fmla="*/ 2147483647 h 1092"/>
                  <a:gd name="T70" fmla="*/ 2147483647 w 594"/>
                  <a:gd name="T71" fmla="*/ 2147483647 h 1092"/>
                  <a:gd name="T72" fmla="*/ 2147483647 w 594"/>
                  <a:gd name="T73" fmla="*/ 2147483647 h 1092"/>
                  <a:gd name="T74" fmla="*/ 2147483647 w 594"/>
                  <a:gd name="T75" fmla="*/ 2147483647 h 1092"/>
                  <a:gd name="T76" fmla="*/ 2147483647 w 594"/>
                  <a:gd name="T77" fmla="*/ 2147483647 h 1092"/>
                  <a:gd name="T78" fmla="*/ 2147483647 w 594"/>
                  <a:gd name="T79" fmla="*/ 2147483647 h 1092"/>
                  <a:gd name="T80" fmla="*/ 2147483647 w 594"/>
                  <a:gd name="T81" fmla="*/ 2147483647 h 1092"/>
                  <a:gd name="T82" fmla="*/ 2147483647 w 594"/>
                  <a:gd name="T83" fmla="*/ 2147483647 h 1092"/>
                  <a:gd name="T84" fmla="*/ 2147483647 w 594"/>
                  <a:gd name="T85" fmla="*/ 2147483647 h 1092"/>
                  <a:gd name="T86" fmla="*/ 0 w 594"/>
                  <a:gd name="T87" fmla="*/ 2147483647 h 1092"/>
                  <a:gd name="T88" fmla="*/ 2147483647 w 594"/>
                  <a:gd name="T89" fmla="*/ 2147483647 h 1092"/>
                  <a:gd name="T90" fmla="*/ 2147483647 w 594"/>
                  <a:gd name="T91" fmla="*/ 2147483647 h 1092"/>
                  <a:gd name="T92" fmla="*/ 2147483647 w 594"/>
                  <a:gd name="T93" fmla="*/ 2147483647 h 1092"/>
                  <a:gd name="T94" fmla="*/ 2147483647 w 594"/>
                  <a:gd name="T95" fmla="*/ 2147483647 h 1092"/>
                  <a:gd name="T96" fmla="*/ 2147483647 w 594"/>
                  <a:gd name="T97" fmla="*/ 2147483647 h 1092"/>
                  <a:gd name="T98" fmla="*/ 2147483647 w 594"/>
                  <a:gd name="T99" fmla="*/ 2147483647 h 1092"/>
                  <a:gd name="T100" fmla="*/ 2147483647 w 594"/>
                  <a:gd name="T101" fmla="*/ 2147483647 h 1092"/>
                  <a:gd name="T102" fmla="*/ 2147483647 w 594"/>
                  <a:gd name="T103" fmla="*/ 2147483647 h 109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94"/>
                  <a:gd name="T157" fmla="*/ 0 h 1092"/>
                  <a:gd name="T158" fmla="*/ 594 w 594"/>
                  <a:gd name="T159" fmla="*/ 1092 h 109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94" h="1092">
                    <a:moveTo>
                      <a:pt x="120" y="330"/>
                    </a:moveTo>
                    <a:lnTo>
                      <a:pt x="144" y="324"/>
                    </a:lnTo>
                    <a:lnTo>
                      <a:pt x="192" y="324"/>
                    </a:lnTo>
                    <a:lnTo>
                      <a:pt x="192" y="300"/>
                    </a:lnTo>
                    <a:lnTo>
                      <a:pt x="252" y="312"/>
                    </a:lnTo>
                    <a:lnTo>
                      <a:pt x="270" y="282"/>
                    </a:lnTo>
                    <a:lnTo>
                      <a:pt x="312" y="288"/>
                    </a:lnTo>
                    <a:lnTo>
                      <a:pt x="312" y="258"/>
                    </a:lnTo>
                    <a:lnTo>
                      <a:pt x="324" y="228"/>
                    </a:lnTo>
                    <a:lnTo>
                      <a:pt x="324" y="258"/>
                    </a:lnTo>
                    <a:lnTo>
                      <a:pt x="336" y="276"/>
                    </a:lnTo>
                    <a:lnTo>
                      <a:pt x="348" y="240"/>
                    </a:lnTo>
                    <a:lnTo>
                      <a:pt x="348" y="210"/>
                    </a:lnTo>
                    <a:lnTo>
                      <a:pt x="354" y="192"/>
                    </a:lnTo>
                    <a:lnTo>
                      <a:pt x="354" y="186"/>
                    </a:lnTo>
                    <a:lnTo>
                      <a:pt x="360" y="186"/>
                    </a:lnTo>
                    <a:lnTo>
                      <a:pt x="372" y="198"/>
                    </a:lnTo>
                    <a:lnTo>
                      <a:pt x="372" y="204"/>
                    </a:lnTo>
                    <a:lnTo>
                      <a:pt x="378" y="204"/>
                    </a:lnTo>
                    <a:lnTo>
                      <a:pt x="402" y="180"/>
                    </a:lnTo>
                    <a:lnTo>
                      <a:pt x="396" y="168"/>
                    </a:lnTo>
                    <a:lnTo>
                      <a:pt x="396" y="150"/>
                    </a:lnTo>
                    <a:lnTo>
                      <a:pt x="390" y="138"/>
                    </a:lnTo>
                    <a:lnTo>
                      <a:pt x="402" y="126"/>
                    </a:lnTo>
                    <a:lnTo>
                      <a:pt x="414" y="126"/>
                    </a:lnTo>
                    <a:lnTo>
                      <a:pt x="420" y="132"/>
                    </a:lnTo>
                    <a:lnTo>
                      <a:pt x="426" y="132"/>
                    </a:lnTo>
                    <a:lnTo>
                      <a:pt x="432" y="126"/>
                    </a:lnTo>
                    <a:lnTo>
                      <a:pt x="438" y="114"/>
                    </a:lnTo>
                    <a:lnTo>
                      <a:pt x="450" y="102"/>
                    </a:lnTo>
                    <a:lnTo>
                      <a:pt x="456" y="90"/>
                    </a:lnTo>
                    <a:lnTo>
                      <a:pt x="462" y="72"/>
                    </a:lnTo>
                    <a:lnTo>
                      <a:pt x="462" y="42"/>
                    </a:lnTo>
                    <a:lnTo>
                      <a:pt x="492" y="0"/>
                    </a:lnTo>
                    <a:lnTo>
                      <a:pt x="546" y="60"/>
                    </a:lnTo>
                    <a:lnTo>
                      <a:pt x="546" y="90"/>
                    </a:lnTo>
                    <a:lnTo>
                      <a:pt x="552" y="96"/>
                    </a:lnTo>
                    <a:lnTo>
                      <a:pt x="558" y="114"/>
                    </a:lnTo>
                    <a:lnTo>
                      <a:pt x="576" y="150"/>
                    </a:lnTo>
                    <a:lnTo>
                      <a:pt x="582" y="156"/>
                    </a:lnTo>
                    <a:lnTo>
                      <a:pt x="582" y="162"/>
                    </a:lnTo>
                    <a:lnTo>
                      <a:pt x="564" y="216"/>
                    </a:lnTo>
                    <a:lnTo>
                      <a:pt x="594" y="276"/>
                    </a:lnTo>
                    <a:lnTo>
                      <a:pt x="594" y="288"/>
                    </a:lnTo>
                    <a:lnTo>
                      <a:pt x="588" y="294"/>
                    </a:lnTo>
                    <a:lnTo>
                      <a:pt x="576" y="294"/>
                    </a:lnTo>
                    <a:lnTo>
                      <a:pt x="564" y="288"/>
                    </a:lnTo>
                    <a:lnTo>
                      <a:pt x="558" y="282"/>
                    </a:lnTo>
                    <a:lnTo>
                      <a:pt x="552" y="282"/>
                    </a:lnTo>
                    <a:lnTo>
                      <a:pt x="522" y="288"/>
                    </a:lnTo>
                    <a:lnTo>
                      <a:pt x="528" y="330"/>
                    </a:lnTo>
                    <a:lnTo>
                      <a:pt x="522" y="336"/>
                    </a:lnTo>
                    <a:lnTo>
                      <a:pt x="516" y="348"/>
                    </a:lnTo>
                    <a:lnTo>
                      <a:pt x="504" y="354"/>
                    </a:lnTo>
                    <a:lnTo>
                      <a:pt x="486" y="390"/>
                    </a:lnTo>
                    <a:lnTo>
                      <a:pt x="486" y="402"/>
                    </a:lnTo>
                    <a:lnTo>
                      <a:pt x="492" y="414"/>
                    </a:lnTo>
                    <a:lnTo>
                      <a:pt x="504" y="450"/>
                    </a:lnTo>
                    <a:lnTo>
                      <a:pt x="498" y="468"/>
                    </a:lnTo>
                    <a:lnTo>
                      <a:pt x="486" y="510"/>
                    </a:lnTo>
                    <a:lnTo>
                      <a:pt x="462" y="570"/>
                    </a:lnTo>
                    <a:lnTo>
                      <a:pt x="432" y="642"/>
                    </a:lnTo>
                    <a:lnTo>
                      <a:pt x="390" y="720"/>
                    </a:lnTo>
                    <a:lnTo>
                      <a:pt x="324" y="852"/>
                    </a:lnTo>
                    <a:lnTo>
                      <a:pt x="312" y="894"/>
                    </a:lnTo>
                    <a:lnTo>
                      <a:pt x="306" y="912"/>
                    </a:lnTo>
                    <a:lnTo>
                      <a:pt x="306" y="948"/>
                    </a:lnTo>
                    <a:lnTo>
                      <a:pt x="294" y="984"/>
                    </a:lnTo>
                    <a:lnTo>
                      <a:pt x="276" y="1014"/>
                    </a:lnTo>
                    <a:lnTo>
                      <a:pt x="258" y="1032"/>
                    </a:lnTo>
                    <a:lnTo>
                      <a:pt x="240" y="1044"/>
                    </a:lnTo>
                    <a:lnTo>
                      <a:pt x="222" y="1062"/>
                    </a:lnTo>
                    <a:lnTo>
                      <a:pt x="216" y="1062"/>
                    </a:lnTo>
                    <a:lnTo>
                      <a:pt x="210" y="1068"/>
                    </a:lnTo>
                    <a:lnTo>
                      <a:pt x="186" y="1068"/>
                    </a:lnTo>
                    <a:lnTo>
                      <a:pt x="150" y="1086"/>
                    </a:lnTo>
                    <a:lnTo>
                      <a:pt x="114" y="1092"/>
                    </a:lnTo>
                    <a:lnTo>
                      <a:pt x="78" y="1074"/>
                    </a:lnTo>
                    <a:lnTo>
                      <a:pt x="60" y="1056"/>
                    </a:lnTo>
                    <a:lnTo>
                      <a:pt x="48" y="1038"/>
                    </a:lnTo>
                    <a:lnTo>
                      <a:pt x="36" y="1026"/>
                    </a:lnTo>
                    <a:lnTo>
                      <a:pt x="36" y="1020"/>
                    </a:lnTo>
                    <a:lnTo>
                      <a:pt x="30" y="1014"/>
                    </a:lnTo>
                    <a:lnTo>
                      <a:pt x="48" y="990"/>
                    </a:lnTo>
                    <a:lnTo>
                      <a:pt x="42" y="978"/>
                    </a:lnTo>
                    <a:lnTo>
                      <a:pt x="24" y="948"/>
                    </a:lnTo>
                    <a:lnTo>
                      <a:pt x="12" y="900"/>
                    </a:lnTo>
                    <a:lnTo>
                      <a:pt x="0" y="834"/>
                    </a:lnTo>
                    <a:lnTo>
                      <a:pt x="0" y="786"/>
                    </a:lnTo>
                    <a:lnTo>
                      <a:pt x="6" y="756"/>
                    </a:lnTo>
                    <a:lnTo>
                      <a:pt x="18" y="738"/>
                    </a:lnTo>
                    <a:lnTo>
                      <a:pt x="60" y="696"/>
                    </a:lnTo>
                    <a:lnTo>
                      <a:pt x="72" y="678"/>
                    </a:lnTo>
                    <a:lnTo>
                      <a:pt x="90" y="672"/>
                    </a:lnTo>
                    <a:lnTo>
                      <a:pt x="96" y="660"/>
                    </a:lnTo>
                    <a:lnTo>
                      <a:pt x="108" y="654"/>
                    </a:lnTo>
                    <a:lnTo>
                      <a:pt x="108" y="636"/>
                    </a:lnTo>
                    <a:lnTo>
                      <a:pt x="102" y="600"/>
                    </a:lnTo>
                    <a:lnTo>
                      <a:pt x="96" y="558"/>
                    </a:lnTo>
                    <a:lnTo>
                      <a:pt x="96" y="522"/>
                    </a:lnTo>
                    <a:lnTo>
                      <a:pt x="78" y="432"/>
                    </a:lnTo>
                    <a:lnTo>
                      <a:pt x="90" y="408"/>
                    </a:lnTo>
                    <a:lnTo>
                      <a:pt x="132" y="366"/>
                    </a:lnTo>
                    <a:lnTo>
                      <a:pt x="132" y="360"/>
                    </a:lnTo>
                    <a:lnTo>
                      <a:pt x="120" y="33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3" name="Liby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C859EBF-8F26-4DC7-9BB3-B4E6CA0AE2E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41221" y="3318389"/>
                <a:ext cx="487461" cy="497767"/>
              </a:xfrm>
              <a:custGeom>
                <a:avLst/>
                <a:gdLst>
                  <a:gd name="T0" fmla="*/ 2147483647 w 1098"/>
                  <a:gd name="T1" fmla="*/ 2147483647 h 1110"/>
                  <a:gd name="T2" fmla="*/ 2147483647 w 1098"/>
                  <a:gd name="T3" fmla="*/ 2147483647 h 1110"/>
                  <a:gd name="T4" fmla="*/ 2147483647 w 1098"/>
                  <a:gd name="T5" fmla="*/ 2147483647 h 1110"/>
                  <a:gd name="T6" fmla="*/ 2147483647 w 1098"/>
                  <a:gd name="T7" fmla="*/ 2147483647 h 1110"/>
                  <a:gd name="T8" fmla="*/ 2147483647 w 1098"/>
                  <a:gd name="T9" fmla="*/ 2147483647 h 1110"/>
                  <a:gd name="T10" fmla="*/ 2147483647 w 1098"/>
                  <a:gd name="T11" fmla="*/ 2147483647 h 1110"/>
                  <a:gd name="T12" fmla="*/ 2147483647 w 1098"/>
                  <a:gd name="T13" fmla="*/ 2147483647 h 1110"/>
                  <a:gd name="T14" fmla="*/ 2147483647 w 1098"/>
                  <a:gd name="T15" fmla="*/ 2147483647 h 1110"/>
                  <a:gd name="T16" fmla="*/ 2147483647 w 1098"/>
                  <a:gd name="T17" fmla="*/ 2147483647 h 1110"/>
                  <a:gd name="T18" fmla="*/ 2147483647 w 1098"/>
                  <a:gd name="T19" fmla="*/ 2147483647 h 1110"/>
                  <a:gd name="T20" fmla="*/ 2147483647 w 1098"/>
                  <a:gd name="T21" fmla="*/ 2147483647 h 1110"/>
                  <a:gd name="T22" fmla="*/ 2147483647 w 1098"/>
                  <a:gd name="T23" fmla="*/ 2147483647 h 1110"/>
                  <a:gd name="T24" fmla="*/ 0 w 1098"/>
                  <a:gd name="T25" fmla="*/ 2147483647 h 1110"/>
                  <a:gd name="T26" fmla="*/ 2147483647 w 1098"/>
                  <a:gd name="T27" fmla="*/ 2147483647 h 1110"/>
                  <a:gd name="T28" fmla="*/ 2147483647 w 1098"/>
                  <a:gd name="T29" fmla="*/ 2147483647 h 1110"/>
                  <a:gd name="T30" fmla="*/ 2147483647 w 1098"/>
                  <a:gd name="T31" fmla="*/ 2147483647 h 1110"/>
                  <a:gd name="T32" fmla="*/ 2147483647 w 1098"/>
                  <a:gd name="T33" fmla="*/ 2147483647 h 1110"/>
                  <a:gd name="T34" fmla="*/ 2147483647 w 1098"/>
                  <a:gd name="T35" fmla="*/ 2147483647 h 1110"/>
                  <a:gd name="T36" fmla="*/ 2147483647 w 1098"/>
                  <a:gd name="T37" fmla="*/ 2147483647 h 1110"/>
                  <a:gd name="T38" fmla="*/ 2147483647 w 1098"/>
                  <a:gd name="T39" fmla="*/ 2147483647 h 1110"/>
                  <a:gd name="T40" fmla="*/ 2147483647 w 1098"/>
                  <a:gd name="T41" fmla="*/ 2147483647 h 1110"/>
                  <a:gd name="T42" fmla="*/ 2147483647 w 1098"/>
                  <a:gd name="T43" fmla="*/ 2147483647 h 1110"/>
                  <a:gd name="T44" fmla="*/ 2147483647 w 1098"/>
                  <a:gd name="T45" fmla="*/ 2147483647 h 1110"/>
                  <a:gd name="T46" fmla="*/ 2147483647 w 1098"/>
                  <a:gd name="T47" fmla="*/ 2147483647 h 1110"/>
                  <a:gd name="T48" fmla="*/ 2147483647 w 1098"/>
                  <a:gd name="T49" fmla="*/ 2147483647 h 1110"/>
                  <a:gd name="T50" fmla="*/ 2147483647 w 1098"/>
                  <a:gd name="T51" fmla="*/ 2147483647 h 1110"/>
                  <a:gd name="T52" fmla="*/ 2147483647 w 1098"/>
                  <a:gd name="T53" fmla="*/ 2147483647 h 1110"/>
                  <a:gd name="T54" fmla="*/ 2147483647 w 1098"/>
                  <a:gd name="T55" fmla="*/ 2147483647 h 1110"/>
                  <a:gd name="T56" fmla="*/ 2147483647 w 1098"/>
                  <a:gd name="T57" fmla="*/ 2147483647 h 1110"/>
                  <a:gd name="T58" fmla="*/ 2147483647 w 1098"/>
                  <a:gd name="T59" fmla="*/ 2147483647 h 1110"/>
                  <a:gd name="T60" fmla="*/ 2147483647 w 1098"/>
                  <a:gd name="T61" fmla="*/ 2147483647 h 1110"/>
                  <a:gd name="T62" fmla="*/ 2147483647 w 1098"/>
                  <a:gd name="T63" fmla="*/ 2147483647 h 1110"/>
                  <a:gd name="T64" fmla="*/ 2147483647 w 1098"/>
                  <a:gd name="T65" fmla="*/ 2147483647 h 1110"/>
                  <a:gd name="T66" fmla="*/ 2147483647 w 1098"/>
                  <a:gd name="T67" fmla="*/ 2147483647 h 1110"/>
                  <a:gd name="T68" fmla="*/ 2147483647 w 1098"/>
                  <a:gd name="T69" fmla="*/ 2147483647 h 1110"/>
                  <a:gd name="T70" fmla="*/ 2147483647 w 1098"/>
                  <a:gd name="T71" fmla="*/ 2147483647 h 1110"/>
                  <a:gd name="T72" fmla="*/ 2147483647 w 1098"/>
                  <a:gd name="T73" fmla="*/ 2147483647 h 1110"/>
                  <a:gd name="T74" fmla="*/ 2147483647 w 1098"/>
                  <a:gd name="T75" fmla="*/ 2147483647 h 1110"/>
                  <a:gd name="T76" fmla="*/ 2147483647 w 1098"/>
                  <a:gd name="T77" fmla="*/ 2147483647 h 1110"/>
                  <a:gd name="T78" fmla="*/ 2147483647 w 1098"/>
                  <a:gd name="T79" fmla="*/ 2147483647 h 1110"/>
                  <a:gd name="T80" fmla="*/ 2147483647 w 1098"/>
                  <a:gd name="T81" fmla="*/ 2147483647 h 1110"/>
                  <a:gd name="T82" fmla="*/ 2147483647 w 1098"/>
                  <a:gd name="T83" fmla="*/ 2147483647 h 1110"/>
                  <a:gd name="T84" fmla="*/ 2147483647 w 1098"/>
                  <a:gd name="T85" fmla="*/ 2147483647 h 1110"/>
                  <a:gd name="T86" fmla="*/ 2147483647 w 1098"/>
                  <a:gd name="T87" fmla="*/ 2147483647 h 1110"/>
                  <a:gd name="T88" fmla="*/ 2147483647 w 1098"/>
                  <a:gd name="T89" fmla="*/ 2147483647 h 1110"/>
                  <a:gd name="T90" fmla="*/ 2147483647 w 1098"/>
                  <a:gd name="T91" fmla="*/ 2147483647 h 1110"/>
                  <a:gd name="T92" fmla="*/ 2147483647 w 1098"/>
                  <a:gd name="T93" fmla="*/ 2147483647 h 1110"/>
                  <a:gd name="T94" fmla="*/ 2147483647 w 1098"/>
                  <a:gd name="T95" fmla="*/ 2147483647 h 1110"/>
                  <a:gd name="T96" fmla="*/ 2147483647 w 1098"/>
                  <a:gd name="T97" fmla="*/ 2147483647 h 1110"/>
                  <a:gd name="T98" fmla="*/ 2147483647 w 1098"/>
                  <a:gd name="T99" fmla="*/ 2147483647 h 1110"/>
                  <a:gd name="T100" fmla="*/ 2147483647 w 1098"/>
                  <a:gd name="T101" fmla="*/ 2147483647 h 1110"/>
                  <a:gd name="T102" fmla="*/ 2147483647 w 1098"/>
                  <a:gd name="T103" fmla="*/ 2147483647 h 1110"/>
                  <a:gd name="T104" fmla="*/ 2147483647 w 1098"/>
                  <a:gd name="T105" fmla="*/ 2147483647 h 1110"/>
                  <a:gd name="T106" fmla="*/ 2147483647 w 1098"/>
                  <a:gd name="T107" fmla="*/ 2147483647 h 1110"/>
                  <a:gd name="T108" fmla="*/ 2147483647 w 1098"/>
                  <a:gd name="T109" fmla="*/ 2147483647 h 1110"/>
                  <a:gd name="T110" fmla="*/ 2147483647 w 1098"/>
                  <a:gd name="T111" fmla="*/ 2147483647 h 1110"/>
                  <a:gd name="T112" fmla="*/ 2147483647 w 1098"/>
                  <a:gd name="T113" fmla="*/ 2147483647 h 111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098"/>
                  <a:gd name="T172" fmla="*/ 0 h 1110"/>
                  <a:gd name="T173" fmla="*/ 1098 w 1098"/>
                  <a:gd name="T174" fmla="*/ 1110 h 111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098" h="1110">
                    <a:moveTo>
                      <a:pt x="156" y="60"/>
                    </a:moveTo>
                    <a:lnTo>
                      <a:pt x="150" y="66"/>
                    </a:lnTo>
                    <a:lnTo>
                      <a:pt x="126" y="78"/>
                    </a:lnTo>
                    <a:lnTo>
                      <a:pt x="114" y="78"/>
                    </a:lnTo>
                    <a:lnTo>
                      <a:pt x="102" y="84"/>
                    </a:lnTo>
                    <a:lnTo>
                      <a:pt x="96" y="90"/>
                    </a:lnTo>
                    <a:lnTo>
                      <a:pt x="90" y="102"/>
                    </a:lnTo>
                    <a:lnTo>
                      <a:pt x="84" y="108"/>
                    </a:lnTo>
                    <a:lnTo>
                      <a:pt x="78" y="120"/>
                    </a:lnTo>
                    <a:lnTo>
                      <a:pt x="72" y="120"/>
                    </a:lnTo>
                    <a:lnTo>
                      <a:pt x="54" y="138"/>
                    </a:lnTo>
                    <a:lnTo>
                      <a:pt x="54" y="156"/>
                    </a:lnTo>
                    <a:lnTo>
                      <a:pt x="66" y="180"/>
                    </a:lnTo>
                    <a:lnTo>
                      <a:pt x="66" y="204"/>
                    </a:lnTo>
                    <a:lnTo>
                      <a:pt x="36" y="234"/>
                    </a:lnTo>
                    <a:lnTo>
                      <a:pt x="30" y="234"/>
                    </a:lnTo>
                    <a:lnTo>
                      <a:pt x="24" y="240"/>
                    </a:lnTo>
                    <a:lnTo>
                      <a:pt x="12" y="246"/>
                    </a:lnTo>
                    <a:lnTo>
                      <a:pt x="6" y="246"/>
                    </a:lnTo>
                    <a:lnTo>
                      <a:pt x="0" y="252"/>
                    </a:lnTo>
                    <a:lnTo>
                      <a:pt x="12" y="270"/>
                    </a:lnTo>
                    <a:lnTo>
                      <a:pt x="36" y="330"/>
                    </a:lnTo>
                    <a:lnTo>
                      <a:pt x="48" y="354"/>
                    </a:lnTo>
                    <a:lnTo>
                      <a:pt x="48" y="360"/>
                    </a:lnTo>
                    <a:lnTo>
                      <a:pt x="42" y="372"/>
                    </a:lnTo>
                    <a:lnTo>
                      <a:pt x="42" y="402"/>
                    </a:lnTo>
                    <a:lnTo>
                      <a:pt x="36" y="408"/>
                    </a:lnTo>
                    <a:lnTo>
                      <a:pt x="36" y="414"/>
                    </a:lnTo>
                    <a:lnTo>
                      <a:pt x="42" y="432"/>
                    </a:lnTo>
                    <a:lnTo>
                      <a:pt x="30" y="456"/>
                    </a:lnTo>
                    <a:lnTo>
                      <a:pt x="36" y="510"/>
                    </a:lnTo>
                    <a:lnTo>
                      <a:pt x="36" y="516"/>
                    </a:lnTo>
                    <a:lnTo>
                      <a:pt x="42" y="522"/>
                    </a:lnTo>
                    <a:lnTo>
                      <a:pt x="42" y="534"/>
                    </a:lnTo>
                    <a:lnTo>
                      <a:pt x="36" y="546"/>
                    </a:lnTo>
                    <a:lnTo>
                      <a:pt x="30" y="552"/>
                    </a:lnTo>
                    <a:lnTo>
                      <a:pt x="18" y="558"/>
                    </a:lnTo>
                    <a:lnTo>
                      <a:pt x="6" y="558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6" y="582"/>
                    </a:lnTo>
                    <a:lnTo>
                      <a:pt x="18" y="594"/>
                    </a:lnTo>
                    <a:lnTo>
                      <a:pt x="24" y="612"/>
                    </a:lnTo>
                    <a:lnTo>
                      <a:pt x="36" y="624"/>
                    </a:lnTo>
                    <a:lnTo>
                      <a:pt x="42" y="636"/>
                    </a:lnTo>
                    <a:lnTo>
                      <a:pt x="48" y="642"/>
                    </a:lnTo>
                    <a:lnTo>
                      <a:pt x="48" y="684"/>
                    </a:lnTo>
                    <a:lnTo>
                      <a:pt x="72" y="708"/>
                    </a:lnTo>
                    <a:lnTo>
                      <a:pt x="96" y="696"/>
                    </a:lnTo>
                    <a:lnTo>
                      <a:pt x="102" y="696"/>
                    </a:lnTo>
                    <a:lnTo>
                      <a:pt x="138" y="714"/>
                    </a:lnTo>
                    <a:lnTo>
                      <a:pt x="150" y="714"/>
                    </a:lnTo>
                    <a:lnTo>
                      <a:pt x="162" y="726"/>
                    </a:lnTo>
                    <a:lnTo>
                      <a:pt x="162" y="732"/>
                    </a:lnTo>
                    <a:lnTo>
                      <a:pt x="168" y="744"/>
                    </a:lnTo>
                    <a:lnTo>
                      <a:pt x="174" y="762"/>
                    </a:lnTo>
                    <a:lnTo>
                      <a:pt x="180" y="774"/>
                    </a:lnTo>
                    <a:lnTo>
                      <a:pt x="186" y="780"/>
                    </a:lnTo>
                    <a:lnTo>
                      <a:pt x="186" y="786"/>
                    </a:lnTo>
                    <a:lnTo>
                      <a:pt x="222" y="792"/>
                    </a:lnTo>
                    <a:lnTo>
                      <a:pt x="234" y="792"/>
                    </a:lnTo>
                    <a:lnTo>
                      <a:pt x="246" y="798"/>
                    </a:lnTo>
                    <a:lnTo>
                      <a:pt x="258" y="798"/>
                    </a:lnTo>
                    <a:lnTo>
                      <a:pt x="276" y="804"/>
                    </a:lnTo>
                    <a:lnTo>
                      <a:pt x="288" y="810"/>
                    </a:lnTo>
                    <a:lnTo>
                      <a:pt x="294" y="810"/>
                    </a:lnTo>
                    <a:lnTo>
                      <a:pt x="300" y="816"/>
                    </a:lnTo>
                    <a:lnTo>
                      <a:pt x="312" y="822"/>
                    </a:lnTo>
                    <a:lnTo>
                      <a:pt x="318" y="828"/>
                    </a:lnTo>
                    <a:lnTo>
                      <a:pt x="324" y="840"/>
                    </a:lnTo>
                    <a:lnTo>
                      <a:pt x="336" y="846"/>
                    </a:lnTo>
                    <a:lnTo>
                      <a:pt x="342" y="852"/>
                    </a:lnTo>
                    <a:lnTo>
                      <a:pt x="360" y="846"/>
                    </a:lnTo>
                    <a:lnTo>
                      <a:pt x="396" y="828"/>
                    </a:lnTo>
                    <a:lnTo>
                      <a:pt x="456" y="792"/>
                    </a:lnTo>
                    <a:lnTo>
                      <a:pt x="468" y="786"/>
                    </a:lnTo>
                    <a:lnTo>
                      <a:pt x="1026" y="1110"/>
                    </a:lnTo>
                    <a:lnTo>
                      <a:pt x="1026" y="1062"/>
                    </a:lnTo>
                    <a:lnTo>
                      <a:pt x="1098" y="1062"/>
                    </a:lnTo>
                    <a:lnTo>
                      <a:pt x="1098" y="828"/>
                    </a:lnTo>
                    <a:lnTo>
                      <a:pt x="1092" y="750"/>
                    </a:lnTo>
                    <a:lnTo>
                      <a:pt x="1092" y="660"/>
                    </a:lnTo>
                    <a:lnTo>
                      <a:pt x="1086" y="564"/>
                    </a:lnTo>
                    <a:lnTo>
                      <a:pt x="1086" y="468"/>
                    </a:lnTo>
                    <a:lnTo>
                      <a:pt x="1080" y="390"/>
                    </a:lnTo>
                    <a:lnTo>
                      <a:pt x="1080" y="306"/>
                    </a:lnTo>
                    <a:lnTo>
                      <a:pt x="1068" y="270"/>
                    </a:lnTo>
                    <a:lnTo>
                      <a:pt x="1056" y="258"/>
                    </a:lnTo>
                    <a:lnTo>
                      <a:pt x="1050" y="246"/>
                    </a:lnTo>
                    <a:lnTo>
                      <a:pt x="1050" y="240"/>
                    </a:lnTo>
                    <a:lnTo>
                      <a:pt x="1056" y="228"/>
                    </a:lnTo>
                    <a:lnTo>
                      <a:pt x="1062" y="222"/>
                    </a:lnTo>
                    <a:lnTo>
                      <a:pt x="1068" y="210"/>
                    </a:lnTo>
                    <a:lnTo>
                      <a:pt x="1074" y="204"/>
                    </a:lnTo>
                    <a:lnTo>
                      <a:pt x="1074" y="198"/>
                    </a:lnTo>
                    <a:lnTo>
                      <a:pt x="1068" y="186"/>
                    </a:lnTo>
                    <a:lnTo>
                      <a:pt x="1056" y="180"/>
                    </a:lnTo>
                    <a:lnTo>
                      <a:pt x="1056" y="150"/>
                    </a:lnTo>
                    <a:lnTo>
                      <a:pt x="1080" y="126"/>
                    </a:lnTo>
                    <a:lnTo>
                      <a:pt x="1074" y="114"/>
                    </a:lnTo>
                    <a:lnTo>
                      <a:pt x="1074" y="96"/>
                    </a:lnTo>
                    <a:lnTo>
                      <a:pt x="1056" y="102"/>
                    </a:lnTo>
                    <a:lnTo>
                      <a:pt x="1044" y="90"/>
                    </a:lnTo>
                    <a:lnTo>
                      <a:pt x="1032" y="102"/>
                    </a:lnTo>
                    <a:lnTo>
                      <a:pt x="1026" y="102"/>
                    </a:lnTo>
                    <a:lnTo>
                      <a:pt x="1020" y="96"/>
                    </a:lnTo>
                    <a:lnTo>
                      <a:pt x="1008" y="90"/>
                    </a:lnTo>
                    <a:lnTo>
                      <a:pt x="1002" y="84"/>
                    </a:lnTo>
                    <a:lnTo>
                      <a:pt x="990" y="78"/>
                    </a:lnTo>
                    <a:lnTo>
                      <a:pt x="978" y="78"/>
                    </a:lnTo>
                    <a:lnTo>
                      <a:pt x="966" y="84"/>
                    </a:lnTo>
                    <a:lnTo>
                      <a:pt x="954" y="84"/>
                    </a:lnTo>
                    <a:lnTo>
                      <a:pt x="942" y="78"/>
                    </a:lnTo>
                    <a:lnTo>
                      <a:pt x="936" y="72"/>
                    </a:lnTo>
                    <a:lnTo>
                      <a:pt x="936" y="48"/>
                    </a:lnTo>
                    <a:lnTo>
                      <a:pt x="930" y="42"/>
                    </a:lnTo>
                    <a:lnTo>
                      <a:pt x="918" y="36"/>
                    </a:lnTo>
                    <a:lnTo>
                      <a:pt x="882" y="36"/>
                    </a:lnTo>
                    <a:lnTo>
                      <a:pt x="876" y="30"/>
                    </a:lnTo>
                    <a:lnTo>
                      <a:pt x="864" y="30"/>
                    </a:lnTo>
                    <a:lnTo>
                      <a:pt x="852" y="24"/>
                    </a:lnTo>
                    <a:lnTo>
                      <a:pt x="840" y="24"/>
                    </a:lnTo>
                    <a:lnTo>
                      <a:pt x="834" y="30"/>
                    </a:lnTo>
                    <a:lnTo>
                      <a:pt x="834" y="36"/>
                    </a:lnTo>
                    <a:lnTo>
                      <a:pt x="798" y="36"/>
                    </a:lnTo>
                    <a:lnTo>
                      <a:pt x="780" y="42"/>
                    </a:lnTo>
                    <a:lnTo>
                      <a:pt x="768" y="48"/>
                    </a:lnTo>
                    <a:lnTo>
                      <a:pt x="732" y="84"/>
                    </a:lnTo>
                    <a:lnTo>
                      <a:pt x="720" y="108"/>
                    </a:lnTo>
                    <a:lnTo>
                      <a:pt x="720" y="120"/>
                    </a:lnTo>
                    <a:lnTo>
                      <a:pt x="726" y="138"/>
                    </a:lnTo>
                    <a:lnTo>
                      <a:pt x="738" y="150"/>
                    </a:lnTo>
                    <a:lnTo>
                      <a:pt x="744" y="162"/>
                    </a:lnTo>
                    <a:lnTo>
                      <a:pt x="744" y="180"/>
                    </a:lnTo>
                    <a:lnTo>
                      <a:pt x="738" y="192"/>
                    </a:lnTo>
                    <a:lnTo>
                      <a:pt x="714" y="216"/>
                    </a:lnTo>
                    <a:lnTo>
                      <a:pt x="708" y="228"/>
                    </a:lnTo>
                    <a:lnTo>
                      <a:pt x="696" y="234"/>
                    </a:lnTo>
                    <a:lnTo>
                      <a:pt x="666" y="234"/>
                    </a:lnTo>
                    <a:lnTo>
                      <a:pt x="648" y="228"/>
                    </a:lnTo>
                    <a:lnTo>
                      <a:pt x="630" y="216"/>
                    </a:lnTo>
                    <a:lnTo>
                      <a:pt x="612" y="198"/>
                    </a:lnTo>
                    <a:lnTo>
                      <a:pt x="582" y="180"/>
                    </a:lnTo>
                    <a:lnTo>
                      <a:pt x="552" y="168"/>
                    </a:lnTo>
                    <a:lnTo>
                      <a:pt x="528" y="162"/>
                    </a:lnTo>
                    <a:lnTo>
                      <a:pt x="462" y="162"/>
                    </a:lnTo>
                    <a:lnTo>
                      <a:pt x="438" y="150"/>
                    </a:lnTo>
                    <a:lnTo>
                      <a:pt x="426" y="138"/>
                    </a:lnTo>
                    <a:lnTo>
                      <a:pt x="420" y="126"/>
                    </a:lnTo>
                    <a:lnTo>
                      <a:pt x="414" y="108"/>
                    </a:lnTo>
                    <a:lnTo>
                      <a:pt x="414" y="96"/>
                    </a:lnTo>
                    <a:lnTo>
                      <a:pt x="402" y="72"/>
                    </a:lnTo>
                    <a:lnTo>
                      <a:pt x="378" y="60"/>
                    </a:lnTo>
                    <a:lnTo>
                      <a:pt x="366" y="60"/>
                    </a:lnTo>
                    <a:lnTo>
                      <a:pt x="354" y="54"/>
                    </a:lnTo>
                    <a:lnTo>
                      <a:pt x="348" y="48"/>
                    </a:lnTo>
                    <a:lnTo>
                      <a:pt x="324" y="36"/>
                    </a:lnTo>
                    <a:lnTo>
                      <a:pt x="318" y="36"/>
                    </a:lnTo>
                    <a:lnTo>
                      <a:pt x="306" y="30"/>
                    </a:lnTo>
                    <a:lnTo>
                      <a:pt x="264" y="30"/>
                    </a:lnTo>
                    <a:lnTo>
                      <a:pt x="252" y="36"/>
                    </a:lnTo>
                    <a:lnTo>
                      <a:pt x="216" y="36"/>
                    </a:lnTo>
                    <a:lnTo>
                      <a:pt x="192" y="24"/>
                    </a:lnTo>
                    <a:lnTo>
                      <a:pt x="180" y="12"/>
                    </a:lnTo>
                    <a:lnTo>
                      <a:pt x="168" y="6"/>
                    </a:lnTo>
                    <a:lnTo>
                      <a:pt x="150" y="6"/>
                    </a:lnTo>
                    <a:lnTo>
                      <a:pt x="144" y="0"/>
                    </a:lnTo>
                    <a:lnTo>
                      <a:pt x="138" y="42"/>
                    </a:lnTo>
                    <a:lnTo>
                      <a:pt x="144" y="42"/>
                    </a:lnTo>
                    <a:lnTo>
                      <a:pt x="156" y="54"/>
                    </a:lnTo>
                    <a:lnTo>
                      <a:pt x="156" y="6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4" name="Libe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C52364F-7850-4ED9-B0B4-033014029E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9043" y="4209414"/>
                <a:ext cx="136279" cy="155884"/>
              </a:xfrm>
              <a:custGeom>
                <a:avLst/>
                <a:gdLst>
                  <a:gd name="T0" fmla="*/ 2147483647 w 312"/>
                  <a:gd name="T1" fmla="*/ 2147483647 h 342"/>
                  <a:gd name="T2" fmla="*/ 2147483647 w 312"/>
                  <a:gd name="T3" fmla="*/ 2147483647 h 342"/>
                  <a:gd name="T4" fmla="*/ 2147483647 w 312"/>
                  <a:gd name="T5" fmla="*/ 2147483647 h 342"/>
                  <a:gd name="T6" fmla="*/ 2147483647 w 312"/>
                  <a:gd name="T7" fmla="*/ 2147483647 h 342"/>
                  <a:gd name="T8" fmla="*/ 2147483647 w 312"/>
                  <a:gd name="T9" fmla="*/ 2147483647 h 342"/>
                  <a:gd name="T10" fmla="*/ 2147483647 w 312"/>
                  <a:gd name="T11" fmla="*/ 2147483647 h 342"/>
                  <a:gd name="T12" fmla="*/ 2147483647 w 312"/>
                  <a:gd name="T13" fmla="*/ 2147483647 h 342"/>
                  <a:gd name="T14" fmla="*/ 2147483647 w 312"/>
                  <a:gd name="T15" fmla="*/ 2147483647 h 342"/>
                  <a:gd name="T16" fmla="*/ 2147483647 w 312"/>
                  <a:gd name="T17" fmla="*/ 2147483647 h 342"/>
                  <a:gd name="T18" fmla="*/ 2147483647 w 312"/>
                  <a:gd name="T19" fmla="*/ 2147483647 h 342"/>
                  <a:gd name="T20" fmla="*/ 2147483647 w 312"/>
                  <a:gd name="T21" fmla="*/ 2147483647 h 342"/>
                  <a:gd name="T22" fmla="*/ 2147483647 w 312"/>
                  <a:gd name="T23" fmla="*/ 2147483647 h 342"/>
                  <a:gd name="T24" fmla="*/ 2147483647 w 312"/>
                  <a:gd name="T25" fmla="*/ 2147483647 h 342"/>
                  <a:gd name="T26" fmla="*/ 2147483647 w 312"/>
                  <a:gd name="T27" fmla="*/ 2147483647 h 342"/>
                  <a:gd name="T28" fmla="*/ 2147483647 w 312"/>
                  <a:gd name="T29" fmla="*/ 2147483647 h 342"/>
                  <a:gd name="T30" fmla="*/ 2147483647 w 312"/>
                  <a:gd name="T31" fmla="*/ 2147483647 h 342"/>
                  <a:gd name="T32" fmla="*/ 2147483647 w 312"/>
                  <a:gd name="T33" fmla="*/ 2147483647 h 342"/>
                  <a:gd name="T34" fmla="*/ 2147483647 w 312"/>
                  <a:gd name="T35" fmla="*/ 2147483647 h 342"/>
                  <a:gd name="T36" fmla="*/ 2147483647 w 312"/>
                  <a:gd name="T37" fmla="*/ 2147483647 h 342"/>
                  <a:gd name="T38" fmla="*/ 2147483647 w 312"/>
                  <a:gd name="T39" fmla="*/ 2147483647 h 342"/>
                  <a:gd name="T40" fmla="*/ 2147483647 w 312"/>
                  <a:gd name="T41" fmla="*/ 2147483647 h 342"/>
                  <a:gd name="T42" fmla="*/ 2147483647 w 312"/>
                  <a:gd name="T43" fmla="*/ 2147483647 h 342"/>
                  <a:gd name="T44" fmla="*/ 2147483647 w 312"/>
                  <a:gd name="T45" fmla="*/ 2147483647 h 342"/>
                  <a:gd name="T46" fmla="*/ 2147483647 w 312"/>
                  <a:gd name="T47" fmla="*/ 2147483647 h 342"/>
                  <a:gd name="T48" fmla="*/ 2147483647 w 312"/>
                  <a:gd name="T49" fmla="*/ 2147483647 h 342"/>
                  <a:gd name="T50" fmla="*/ 2147483647 w 312"/>
                  <a:gd name="T51" fmla="*/ 0 h 342"/>
                  <a:gd name="T52" fmla="*/ 2147483647 w 312"/>
                  <a:gd name="T53" fmla="*/ 0 h 342"/>
                  <a:gd name="T54" fmla="*/ 2147483647 w 312"/>
                  <a:gd name="T55" fmla="*/ 2147483647 h 342"/>
                  <a:gd name="T56" fmla="*/ 2147483647 w 312"/>
                  <a:gd name="T57" fmla="*/ 2147483647 h 342"/>
                  <a:gd name="T58" fmla="*/ 2147483647 w 312"/>
                  <a:gd name="T59" fmla="*/ 2147483647 h 342"/>
                  <a:gd name="T60" fmla="*/ 2147483647 w 312"/>
                  <a:gd name="T61" fmla="*/ 2147483647 h 342"/>
                  <a:gd name="T62" fmla="*/ 2147483647 w 312"/>
                  <a:gd name="T63" fmla="*/ 2147483647 h 342"/>
                  <a:gd name="T64" fmla="*/ 2147483647 w 312"/>
                  <a:gd name="T65" fmla="*/ 2147483647 h 342"/>
                  <a:gd name="T66" fmla="*/ 2147483647 w 312"/>
                  <a:gd name="T67" fmla="*/ 2147483647 h 342"/>
                  <a:gd name="T68" fmla="*/ 2147483647 w 312"/>
                  <a:gd name="T69" fmla="*/ 2147483647 h 342"/>
                  <a:gd name="T70" fmla="*/ 2147483647 w 312"/>
                  <a:gd name="T71" fmla="*/ 2147483647 h 342"/>
                  <a:gd name="T72" fmla="*/ 2147483647 w 312"/>
                  <a:gd name="T73" fmla="*/ 2147483647 h 342"/>
                  <a:gd name="T74" fmla="*/ 2147483647 w 312"/>
                  <a:gd name="T75" fmla="*/ 2147483647 h 342"/>
                  <a:gd name="T76" fmla="*/ 2147483647 w 312"/>
                  <a:gd name="T77" fmla="*/ 2147483647 h 342"/>
                  <a:gd name="T78" fmla="*/ 0 w 312"/>
                  <a:gd name="T79" fmla="*/ 2147483647 h 342"/>
                  <a:gd name="T80" fmla="*/ 2147483647 w 312"/>
                  <a:gd name="T81" fmla="*/ 2147483647 h 342"/>
                  <a:gd name="T82" fmla="*/ 2147483647 w 312"/>
                  <a:gd name="T83" fmla="*/ 2147483647 h 342"/>
                  <a:gd name="T84" fmla="*/ 2147483647 w 312"/>
                  <a:gd name="T85" fmla="*/ 2147483647 h 342"/>
                  <a:gd name="T86" fmla="*/ 2147483647 w 312"/>
                  <a:gd name="T87" fmla="*/ 2147483647 h 342"/>
                  <a:gd name="T88" fmla="*/ 2147483647 w 312"/>
                  <a:gd name="T89" fmla="*/ 2147483647 h 342"/>
                  <a:gd name="T90" fmla="*/ 2147483647 w 312"/>
                  <a:gd name="T91" fmla="*/ 2147483647 h 342"/>
                  <a:gd name="T92" fmla="*/ 2147483647 w 312"/>
                  <a:gd name="T93" fmla="*/ 2147483647 h 342"/>
                  <a:gd name="T94" fmla="*/ 2147483647 w 312"/>
                  <a:gd name="T95" fmla="*/ 2147483647 h 342"/>
                  <a:gd name="T96" fmla="*/ 2147483647 w 312"/>
                  <a:gd name="T97" fmla="*/ 2147483647 h 342"/>
                  <a:gd name="T98" fmla="*/ 2147483647 w 312"/>
                  <a:gd name="T99" fmla="*/ 2147483647 h 342"/>
                  <a:gd name="T100" fmla="*/ 2147483647 w 312"/>
                  <a:gd name="T101" fmla="*/ 2147483647 h 342"/>
                  <a:gd name="T102" fmla="*/ 2147483647 w 312"/>
                  <a:gd name="T103" fmla="*/ 2147483647 h 342"/>
                  <a:gd name="T104" fmla="*/ 2147483647 w 312"/>
                  <a:gd name="T105" fmla="*/ 2147483647 h 342"/>
                  <a:gd name="T106" fmla="*/ 2147483647 w 312"/>
                  <a:gd name="T107" fmla="*/ 2147483647 h 342"/>
                  <a:gd name="T108" fmla="*/ 2147483647 w 312"/>
                  <a:gd name="T109" fmla="*/ 2147483647 h 342"/>
                  <a:gd name="T110" fmla="*/ 2147483647 w 312"/>
                  <a:gd name="T111" fmla="*/ 2147483647 h 342"/>
                  <a:gd name="T112" fmla="*/ 2147483647 w 312"/>
                  <a:gd name="T113" fmla="*/ 2147483647 h 342"/>
                  <a:gd name="T114" fmla="*/ 2147483647 w 312"/>
                  <a:gd name="T115" fmla="*/ 2147483647 h 342"/>
                  <a:gd name="T116" fmla="*/ 2147483647 w 312"/>
                  <a:gd name="T117" fmla="*/ 2147483647 h 342"/>
                  <a:gd name="T118" fmla="*/ 2147483647 w 312"/>
                  <a:gd name="T119" fmla="*/ 2147483647 h 342"/>
                  <a:gd name="T120" fmla="*/ 2147483647 w 312"/>
                  <a:gd name="T121" fmla="*/ 2147483647 h 3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12"/>
                  <a:gd name="T184" fmla="*/ 0 h 342"/>
                  <a:gd name="T185" fmla="*/ 312 w 312"/>
                  <a:gd name="T186" fmla="*/ 342 h 3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12" h="342">
                    <a:moveTo>
                      <a:pt x="312" y="252"/>
                    </a:moveTo>
                    <a:lnTo>
                      <a:pt x="312" y="240"/>
                    </a:lnTo>
                    <a:lnTo>
                      <a:pt x="282" y="210"/>
                    </a:lnTo>
                    <a:lnTo>
                      <a:pt x="282" y="180"/>
                    </a:lnTo>
                    <a:lnTo>
                      <a:pt x="246" y="186"/>
                    </a:lnTo>
                    <a:lnTo>
                      <a:pt x="246" y="174"/>
                    </a:lnTo>
                    <a:lnTo>
                      <a:pt x="228" y="174"/>
                    </a:lnTo>
                    <a:lnTo>
                      <a:pt x="222" y="168"/>
                    </a:lnTo>
                    <a:lnTo>
                      <a:pt x="228" y="156"/>
                    </a:lnTo>
                    <a:lnTo>
                      <a:pt x="240" y="150"/>
                    </a:lnTo>
                    <a:lnTo>
                      <a:pt x="246" y="132"/>
                    </a:lnTo>
                    <a:lnTo>
                      <a:pt x="246" y="108"/>
                    </a:lnTo>
                    <a:lnTo>
                      <a:pt x="228" y="72"/>
                    </a:lnTo>
                    <a:lnTo>
                      <a:pt x="222" y="72"/>
                    </a:lnTo>
                    <a:lnTo>
                      <a:pt x="216" y="78"/>
                    </a:lnTo>
                    <a:lnTo>
                      <a:pt x="210" y="90"/>
                    </a:lnTo>
                    <a:lnTo>
                      <a:pt x="210" y="102"/>
                    </a:lnTo>
                    <a:lnTo>
                      <a:pt x="198" y="114"/>
                    </a:lnTo>
                    <a:lnTo>
                      <a:pt x="192" y="114"/>
                    </a:lnTo>
                    <a:lnTo>
                      <a:pt x="180" y="102"/>
                    </a:lnTo>
                    <a:lnTo>
                      <a:pt x="180" y="96"/>
                    </a:lnTo>
                    <a:lnTo>
                      <a:pt x="168" y="96"/>
                    </a:lnTo>
                    <a:lnTo>
                      <a:pt x="168" y="36"/>
                    </a:lnTo>
                    <a:lnTo>
                      <a:pt x="162" y="18"/>
                    </a:lnTo>
                    <a:lnTo>
                      <a:pt x="150" y="6"/>
                    </a:lnTo>
                    <a:lnTo>
                      <a:pt x="138" y="0"/>
                    </a:lnTo>
                    <a:lnTo>
                      <a:pt x="132" y="0"/>
                    </a:lnTo>
                    <a:lnTo>
                      <a:pt x="126" y="6"/>
                    </a:lnTo>
                    <a:lnTo>
                      <a:pt x="126" y="18"/>
                    </a:lnTo>
                    <a:lnTo>
                      <a:pt x="102" y="12"/>
                    </a:lnTo>
                    <a:lnTo>
                      <a:pt x="108" y="36"/>
                    </a:lnTo>
                    <a:lnTo>
                      <a:pt x="84" y="42"/>
                    </a:lnTo>
                    <a:lnTo>
                      <a:pt x="84" y="60"/>
                    </a:lnTo>
                    <a:lnTo>
                      <a:pt x="78" y="72"/>
                    </a:lnTo>
                    <a:lnTo>
                      <a:pt x="66" y="78"/>
                    </a:lnTo>
                    <a:lnTo>
                      <a:pt x="54" y="90"/>
                    </a:lnTo>
                    <a:lnTo>
                      <a:pt x="42" y="96"/>
                    </a:lnTo>
                    <a:lnTo>
                      <a:pt x="24" y="114"/>
                    </a:lnTo>
                    <a:lnTo>
                      <a:pt x="24" y="150"/>
                    </a:lnTo>
                    <a:lnTo>
                      <a:pt x="0" y="126"/>
                    </a:lnTo>
                    <a:lnTo>
                      <a:pt x="36" y="162"/>
                    </a:lnTo>
                    <a:lnTo>
                      <a:pt x="60" y="162"/>
                    </a:lnTo>
                    <a:lnTo>
                      <a:pt x="72" y="192"/>
                    </a:lnTo>
                    <a:lnTo>
                      <a:pt x="102" y="192"/>
                    </a:lnTo>
                    <a:lnTo>
                      <a:pt x="108" y="198"/>
                    </a:lnTo>
                    <a:lnTo>
                      <a:pt x="120" y="222"/>
                    </a:lnTo>
                    <a:lnTo>
                      <a:pt x="132" y="240"/>
                    </a:lnTo>
                    <a:lnTo>
                      <a:pt x="150" y="252"/>
                    </a:lnTo>
                    <a:lnTo>
                      <a:pt x="162" y="270"/>
                    </a:lnTo>
                    <a:lnTo>
                      <a:pt x="180" y="282"/>
                    </a:lnTo>
                    <a:lnTo>
                      <a:pt x="198" y="288"/>
                    </a:lnTo>
                    <a:lnTo>
                      <a:pt x="210" y="294"/>
                    </a:lnTo>
                    <a:lnTo>
                      <a:pt x="228" y="300"/>
                    </a:lnTo>
                    <a:lnTo>
                      <a:pt x="258" y="330"/>
                    </a:lnTo>
                    <a:lnTo>
                      <a:pt x="294" y="342"/>
                    </a:lnTo>
                    <a:lnTo>
                      <a:pt x="300" y="342"/>
                    </a:lnTo>
                    <a:lnTo>
                      <a:pt x="300" y="294"/>
                    </a:lnTo>
                    <a:lnTo>
                      <a:pt x="306" y="288"/>
                    </a:lnTo>
                    <a:lnTo>
                      <a:pt x="306" y="276"/>
                    </a:lnTo>
                    <a:lnTo>
                      <a:pt x="312" y="264"/>
                    </a:lnTo>
                    <a:lnTo>
                      <a:pt x="312" y="25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5" name="Lesoth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2518263-92FD-40A7-A712-05FE687F4C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79351" y="5557453"/>
                <a:ext cx="73381" cy="72628"/>
              </a:xfrm>
              <a:custGeom>
                <a:avLst/>
                <a:gdLst>
                  <a:gd name="T0" fmla="*/ 0 w 168"/>
                  <a:gd name="T1" fmla="*/ 2147483647 h 162"/>
                  <a:gd name="T2" fmla="*/ 2147483647 w 168"/>
                  <a:gd name="T3" fmla="*/ 2147483647 h 162"/>
                  <a:gd name="T4" fmla="*/ 2147483647 w 168"/>
                  <a:gd name="T5" fmla="*/ 2147483647 h 162"/>
                  <a:gd name="T6" fmla="*/ 2147483647 w 168"/>
                  <a:gd name="T7" fmla="*/ 2147483647 h 162"/>
                  <a:gd name="T8" fmla="*/ 2147483647 w 168"/>
                  <a:gd name="T9" fmla="*/ 2147483647 h 162"/>
                  <a:gd name="T10" fmla="*/ 2147483647 w 168"/>
                  <a:gd name="T11" fmla="*/ 2147483647 h 162"/>
                  <a:gd name="T12" fmla="*/ 2147483647 w 168"/>
                  <a:gd name="T13" fmla="*/ 2147483647 h 162"/>
                  <a:gd name="T14" fmla="*/ 2147483647 w 168"/>
                  <a:gd name="T15" fmla="*/ 2147483647 h 162"/>
                  <a:gd name="T16" fmla="*/ 2147483647 w 168"/>
                  <a:gd name="T17" fmla="*/ 2147483647 h 162"/>
                  <a:gd name="T18" fmla="*/ 2147483647 w 168"/>
                  <a:gd name="T19" fmla="*/ 2147483647 h 162"/>
                  <a:gd name="T20" fmla="*/ 2147483647 w 168"/>
                  <a:gd name="T21" fmla="*/ 2147483647 h 162"/>
                  <a:gd name="T22" fmla="*/ 2147483647 w 168"/>
                  <a:gd name="T23" fmla="*/ 2147483647 h 162"/>
                  <a:gd name="T24" fmla="*/ 2147483647 w 168"/>
                  <a:gd name="T25" fmla="*/ 2147483647 h 162"/>
                  <a:gd name="T26" fmla="*/ 2147483647 w 168"/>
                  <a:gd name="T27" fmla="*/ 2147483647 h 162"/>
                  <a:gd name="T28" fmla="*/ 2147483647 w 168"/>
                  <a:gd name="T29" fmla="*/ 2147483647 h 162"/>
                  <a:gd name="T30" fmla="*/ 2147483647 w 168"/>
                  <a:gd name="T31" fmla="*/ 2147483647 h 162"/>
                  <a:gd name="T32" fmla="*/ 2147483647 w 168"/>
                  <a:gd name="T33" fmla="*/ 2147483647 h 162"/>
                  <a:gd name="T34" fmla="*/ 2147483647 w 168"/>
                  <a:gd name="T35" fmla="*/ 2147483647 h 162"/>
                  <a:gd name="T36" fmla="*/ 2147483647 w 168"/>
                  <a:gd name="T37" fmla="*/ 2147483647 h 162"/>
                  <a:gd name="T38" fmla="*/ 2147483647 w 168"/>
                  <a:gd name="T39" fmla="*/ 2147483647 h 162"/>
                  <a:gd name="T40" fmla="*/ 2147483647 w 168"/>
                  <a:gd name="T41" fmla="*/ 2147483647 h 162"/>
                  <a:gd name="T42" fmla="*/ 2147483647 w 168"/>
                  <a:gd name="T43" fmla="*/ 0 h 162"/>
                  <a:gd name="T44" fmla="*/ 2147483647 w 168"/>
                  <a:gd name="T45" fmla="*/ 0 h 162"/>
                  <a:gd name="T46" fmla="*/ 2147483647 w 168"/>
                  <a:gd name="T47" fmla="*/ 2147483647 h 162"/>
                  <a:gd name="T48" fmla="*/ 2147483647 w 168"/>
                  <a:gd name="T49" fmla="*/ 2147483647 h 162"/>
                  <a:gd name="T50" fmla="*/ 2147483647 w 168"/>
                  <a:gd name="T51" fmla="*/ 2147483647 h 162"/>
                  <a:gd name="T52" fmla="*/ 2147483647 w 168"/>
                  <a:gd name="T53" fmla="*/ 2147483647 h 162"/>
                  <a:gd name="T54" fmla="*/ 2147483647 w 168"/>
                  <a:gd name="T55" fmla="*/ 2147483647 h 162"/>
                  <a:gd name="T56" fmla="*/ 2147483647 w 168"/>
                  <a:gd name="T57" fmla="*/ 2147483647 h 162"/>
                  <a:gd name="T58" fmla="*/ 2147483647 w 168"/>
                  <a:gd name="T59" fmla="*/ 2147483647 h 162"/>
                  <a:gd name="T60" fmla="*/ 0 w 168"/>
                  <a:gd name="T61" fmla="*/ 2147483647 h 16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68"/>
                  <a:gd name="T94" fmla="*/ 0 h 162"/>
                  <a:gd name="T95" fmla="*/ 168 w 168"/>
                  <a:gd name="T96" fmla="*/ 162 h 16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68" h="162">
                    <a:moveTo>
                      <a:pt x="0" y="78"/>
                    </a:moveTo>
                    <a:lnTo>
                      <a:pt x="24" y="114"/>
                    </a:lnTo>
                    <a:lnTo>
                      <a:pt x="24" y="132"/>
                    </a:lnTo>
                    <a:lnTo>
                      <a:pt x="54" y="162"/>
                    </a:lnTo>
                    <a:lnTo>
                      <a:pt x="72" y="162"/>
                    </a:lnTo>
                    <a:lnTo>
                      <a:pt x="72" y="150"/>
                    </a:lnTo>
                    <a:lnTo>
                      <a:pt x="78" y="144"/>
                    </a:lnTo>
                    <a:lnTo>
                      <a:pt x="84" y="132"/>
                    </a:lnTo>
                    <a:lnTo>
                      <a:pt x="90" y="126"/>
                    </a:lnTo>
                    <a:lnTo>
                      <a:pt x="102" y="120"/>
                    </a:lnTo>
                    <a:lnTo>
                      <a:pt x="120" y="120"/>
                    </a:lnTo>
                    <a:lnTo>
                      <a:pt x="132" y="114"/>
                    </a:lnTo>
                    <a:lnTo>
                      <a:pt x="138" y="108"/>
                    </a:lnTo>
                    <a:lnTo>
                      <a:pt x="150" y="102"/>
                    </a:lnTo>
                    <a:lnTo>
                      <a:pt x="144" y="84"/>
                    </a:lnTo>
                    <a:lnTo>
                      <a:pt x="168" y="66"/>
                    </a:lnTo>
                    <a:lnTo>
                      <a:pt x="162" y="42"/>
                    </a:lnTo>
                    <a:lnTo>
                      <a:pt x="150" y="36"/>
                    </a:lnTo>
                    <a:lnTo>
                      <a:pt x="144" y="24"/>
                    </a:lnTo>
                    <a:lnTo>
                      <a:pt x="138" y="18"/>
                    </a:lnTo>
                    <a:lnTo>
                      <a:pt x="132" y="6"/>
                    </a:lnTo>
                    <a:lnTo>
                      <a:pt x="126" y="0"/>
                    </a:lnTo>
                    <a:lnTo>
                      <a:pt x="90" y="0"/>
                    </a:lnTo>
                    <a:lnTo>
                      <a:pt x="78" y="6"/>
                    </a:lnTo>
                    <a:lnTo>
                      <a:pt x="78" y="18"/>
                    </a:lnTo>
                    <a:lnTo>
                      <a:pt x="54" y="18"/>
                    </a:lnTo>
                    <a:lnTo>
                      <a:pt x="48" y="24"/>
                    </a:lnTo>
                    <a:lnTo>
                      <a:pt x="48" y="42"/>
                    </a:lnTo>
                    <a:lnTo>
                      <a:pt x="30" y="60"/>
                    </a:lnTo>
                    <a:lnTo>
                      <a:pt x="24" y="78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6" name="Kyrgyzs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88EAAE3-B6B9-4124-9102-026CC4771E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88398" y="2960568"/>
                <a:ext cx="297019" cy="139942"/>
              </a:xfrm>
              <a:custGeom>
                <a:avLst/>
                <a:gdLst>
                  <a:gd name="T0" fmla="*/ 2147483647 w 672"/>
                  <a:gd name="T1" fmla="*/ 2147483647 h 312"/>
                  <a:gd name="T2" fmla="*/ 2147483647 w 672"/>
                  <a:gd name="T3" fmla="*/ 2147483647 h 312"/>
                  <a:gd name="T4" fmla="*/ 2147483647 w 672"/>
                  <a:gd name="T5" fmla="*/ 2147483647 h 312"/>
                  <a:gd name="T6" fmla="*/ 2147483647 w 672"/>
                  <a:gd name="T7" fmla="*/ 2147483647 h 312"/>
                  <a:gd name="T8" fmla="*/ 2147483647 w 672"/>
                  <a:gd name="T9" fmla="*/ 2147483647 h 312"/>
                  <a:gd name="T10" fmla="*/ 2147483647 w 672"/>
                  <a:gd name="T11" fmla="*/ 2147483647 h 312"/>
                  <a:gd name="T12" fmla="*/ 2147483647 w 672"/>
                  <a:gd name="T13" fmla="*/ 2147483647 h 312"/>
                  <a:gd name="T14" fmla="*/ 2147483647 w 672"/>
                  <a:gd name="T15" fmla="*/ 2147483647 h 312"/>
                  <a:gd name="T16" fmla="*/ 2147483647 w 672"/>
                  <a:gd name="T17" fmla="*/ 2147483647 h 312"/>
                  <a:gd name="T18" fmla="*/ 2147483647 w 672"/>
                  <a:gd name="T19" fmla="*/ 2147483647 h 312"/>
                  <a:gd name="T20" fmla="*/ 2147483647 w 672"/>
                  <a:gd name="T21" fmla="*/ 2147483647 h 312"/>
                  <a:gd name="T22" fmla="*/ 2147483647 w 672"/>
                  <a:gd name="T23" fmla="*/ 2147483647 h 312"/>
                  <a:gd name="T24" fmla="*/ 0 w 672"/>
                  <a:gd name="T25" fmla="*/ 2147483647 h 312"/>
                  <a:gd name="T26" fmla="*/ 2147483647 w 672"/>
                  <a:gd name="T27" fmla="*/ 2147483647 h 312"/>
                  <a:gd name="T28" fmla="*/ 2147483647 w 672"/>
                  <a:gd name="T29" fmla="*/ 2147483647 h 312"/>
                  <a:gd name="T30" fmla="*/ 2147483647 w 672"/>
                  <a:gd name="T31" fmla="*/ 2147483647 h 312"/>
                  <a:gd name="T32" fmla="*/ 2147483647 w 672"/>
                  <a:gd name="T33" fmla="*/ 2147483647 h 312"/>
                  <a:gd name="T34" fmla="*/ 2147483647 w 672"/>
                  <a:gd name="T35" fmla="*/ 2147483647 h 312"/>
                  <a:gd name="T36" fmla="*/ 2147483647 w 672"/>
                  <a:gd name="T37" fmla="*/ 2147483647 h 312"/>
                  <a:gd name="T38" fmla="*/ 2147483647 w 672"/>
                  <a:gd name="T39" fmla="*/ 2147483647 h 312"/>
                  <a:gd name="T40" fmla="*/ 2147483647 w 672"/>
                  <a:gd name="T41" fmla="*/ 2147483647 h 312"/>
                  <a:gd name="T42" fmla="*/ 2147483647 w 672"/>
                  <a:gd name="T43" fmla="*/ 2147483647 h 312"/>
                  <a:gd name="T44" fmla="*/ 2147483647 w 672"/>
                  <a:gd name="T45" fmla="*/ 2147483647 h 312"/>
                  <a:gd name="T46" fmla="*/ 2147483647 w 672"/>
                  <a:gd name="T47" fmla="*/ 2147483647 h 312"/>
                  <a:gd name="T48" fmla="*/ 2147483647 w 672"/>
                  <a:gd name="T49" fmla="*/ 2147483647 h 312"/>
                  <a:gd name="T50" fmla="*/ 2147483647 w 672"/>
                  <a:gd name="T51" fmla="*/ 2147483647 h 312"/>
                  <a:gd name="T52" fmla="*/ 2147483647 w 672"/>
                  <a:gd name="T53" fmla="*/ 2147483647 h 312"/>
                  <a:gd name="T54" fmla="*/ 2147483647 w 672"/>
                  <a:gd name="T55" fmla="*/ 2147483647 h 312"/>
                  <a:gd name="T56" fmla="*/ 2147483647 w 672"/>
                  <a:gd name="T57" fmla="*/ 2147483647 h 312"/>
                  <a:gd name="T58" fmla="*/ 2147483647 w 672"/>
                  <a:gd name="T59" fmla="*/ 2147483647 h 312"/>
                  <a:gd name="T60" fmla="*/ 2147483647 w 672"/>
                  <a:gd name="T61" fmla="*/ 2147483647 h 312"/>
                  <a:gd name="T62" fmla="*/ 2147483647 w 672"/>
                  <a:gd name="T63" fmla="*/ 2147483647 h 312"/>
                  <a:gd name="T64" fmla="*/ 2147483647 w 672"/>
                  <a:gd name="T65" fmla="*/ 2147483647 h 312"/>
                  <a:gd name="T66" fmla="*/ 2147483647 w 672"/>
                  <a:gd name="T67" fmla="*/ 2147483647 h 312"/>
                  <a:gd name="T68" fmla="*/ 2147483647 w 672"/>
                  <a:gd name="T69" fmla="*/ 2147483647 h 312"/>
                  <a:gd name="T70" fmla="*/ 2147483647 w 672"/>
                  <a:gd name="T71" fmla="*/ 2147483647 h 312"/>
                  <a:gd name="T72" fmla="*/ 2147483647 w 672"/>
                  <a:gd name="T73" fmla="*/ 2147483647 h 312"/>
                  <a:gd name="T74" fmla="*/ 2147483647 w 672"/>
                  <a:gd name="T75" fmla="*/ 2147483647 h 312"/>
                  <a:gd name="T76" fmla="*/ 2147483647 w 672"/>
                  <a:gd name="T77" fmla="*/ 0 h 312"/>
                  <a:gd name="T78" fmla="*/ 2147483647 w 672"/>
                  <a:gd name="T79" fmla="*/ 2147483647 h 312"/>
                  <a:gd name="T80" fmla="*/ 2147483647 w 672"/>
                  <a:gd name="T81" fmla="*/ 2147483647 h 312"/>
                  <a:gd name="T82" fmla="*/ 2147483647 w 672"/>
                  <a:gd name="T83" fmla="*/ 2147483647 h 312"/>
                  <a:gd name="T84" fmla="*/ 2147483647 w 672"/>
                  <a:gd name="T85" fmla="*/ 2147483647 h 312"/>
                  <a:gd name="T86" fmla="*/ 2147483647 w 672"/>
                  <a:gd name="T87" fmla="*/ 2147483647 h 312"/>
                  <a:gd name="T88" fmla="*/ 2147483647 w 672"/>
                  <a:gd name="T89" fmla="*/ 2147483647 h 31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672"/>
                  <a:gd name="T136" fmla="*/ 0 h 312"/>
                  <a:gd name="T137" fmla="*/ 672 w 672"/>
                  <a:gd name="T138" fmla="*/ 312 h 31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672" h="312">
                    <a:moveTo>
                      <a:pt x="36" y="132"/>
                    </a:moveTo>
                    <a:lnTo>
                      <a:pt x="66" y="144"/>
                    </a:lnTo>
                    <a:lnTo>
                      <a:pt x="78" y="156"/>
                    </a:lnTo>
                    <a:lnTo>
                      <a:pt x="114" y="156"/>
                    </a:lnTo>
                    <a:lnTo>
                      <a:pt x="114" y="144"/>
                    </a:lnTo>
                    <a:lnTo>
                      <a:pt x="126" y="144"/>
                    </a:lnTo>
                    <a:lnTo>
                      <a:pt x="126" y="132"/>
                    </a:lnTo>
                    <a:lnTo>
                      <a:pt x="144" y="156"/>
                    </a:lnTo>
                    <a:lnTo>
                      <a:pt x="162" y="156"/>
                    </a:lnTo>
                    <a:lnTo>
                      <a:pt x="168" y="174"/>
                    </a:lnTo>
                    <a:lnTo>
                      <a:pt x="192" y="174"/>
                    </a:lnTo>
                    <a:lnTo>
                      <a:pt x="198" y="186"/>
                    </a:lnTo>
                    <a:lnTo>
                      <a:pt x="204" y="186"/>
                    </a:lnTo>
                    <a:lnTo>
                      <a:pt x="216" y="180"/>
                    </a:lnTo>
                    <a:lnTo>
                      <a:pt x="228" y="180"/>
                    </a:lnTo>
                    <a:lnTo>
                      <a:pt x="228" y="192"/>
                    </a:lnTo>
                    <a:lnTo>
                      <a:pt x="216" y="204"/>
                    </a:lnTo>
                    <a:lnTo>
                      <a:pt x="204" y="210"/>
                    </a:lnTo>
                    <a:lnTo>
                      <a:pt x="192" y="210"/>
                    </a:lnTo>
                    <a:lnTo>
                      <a:pt x="192" y="216"/>
                    </a:lnTo>
                    <a:lnTo>
                      <a:pt x="174" y="222"/>
                    </a:lnTo>
                    <a:lnTo>
                      <a:pt x="156" y="240"/>
                    </a:lnTo>
                    <a:lnTo>
                      <a:pt x="150" y="240"/>
                    </a:lnTo>
                    <a:lnTo>
                      <a:pt x="144" y="234"/>
                    </a:lnTo>
                    <a:lnTo>
                      <a:pt x="138" y="234"/>
                    </a:lnTo>
                    <a:lnTo>
                      <a:pt x="132" y="228"/>
                    </a:lnTo>
                    <a:lnTo>
                      <a:pt x="114" y="228"/>
                    </a:lnTo>
                    <a:lnTo>
                      <a:pt x="102" y="234"/>
                    </a:lnTo>
                    <a:lnTo>
                      <a:pt x="96" y="234"/>
                    </a:lnTo>
                    <a:lnTo>
                      <a:pt x="96" y="246"/>
                    </a:lnTo>
                    <a:lnTo>
                      <a:pt x="90" y="252"/>
                    </a:lnTo>
                    <a:lnTo>
                      <a:pt x="84" y="252"/>
                    </a:lnTo>
                    <a:lnTo>
                      <a:pt x="72" y="246"/>
                    </a:lnTo>
                    <a:lnTo>
                      <a:pt x="36" y="234"/>
                    </a:lnTo>
                    <a:lnTo>
                      <a:pt x="24" y="234"/>
                    </a:lnTo>
                    <a:lnTo>
                      <a:pt x="18" y="240"/>
                    </a:lnTo>
                    <a:lnTo>
                      <a:pt x="18" y="252"/>
                    </a:lnTo>
                    <a:lnTo>
                      <a:pt x="12" y="258"/>
                    </a:lnTo>
                    <a:lnTo>
                      <a:pt x="0" y="264"/>
                    </a:lnTo>
                    <a:lnTo>
                      <a:pt x="0" y="276"/>
                    </a:lnTo>
                    <a:lnTo>
                      <a:pt x="6" y="282"/>
                    </a:lnTo>
                    <a:lnTo>
                      <a:pt x="6" y="288"/>
                    </a:lnTo>
                    <a:lnTo>
                      <a:pt x="12" y="294"/>
                    </a:lnTo>
                    <a:lnTo>
                      <a:pt x="24" y="288"/>
                    </a:lnTo>
                    <a:lnTo>
                      <a:pt x="36" y="288"/>
                    </a:lnTo>
                    <a:lnTo>
                      <a:pt x="42" y="282"/>
                    </a:lnTo>
                    <a:lnTo>
                      <a:pt x="60" y="282"/>
                    </a:lnTo>
                    <a:lnTo>
                      <a:pt x="72" y="288"/>
                    </a:lnTo>
                    <a:lnTo>
                      <a:pt x="96" y="288"/>
                    </a:lnTo>
                    <a:lnTo>
                      <a:pt x="108" y="300"/>
                    </a:lnTo>
                    <a:lnTo>
                      <a:pt x="126" y="300"/>
                    </a:lnTo>
                    <a:lnTo>
                      <a:pt x="132" y="294"/>
                    </a:lnTo>
                    <a:lnTo>
                      <a:pt x="144" y="288"/>
                    </a:lnTo>
                    <a:lnTo>
                      <a:pt x="150" y="282"/>
                    </a:lnTo>
                    <a:lnTo>
                      <a:pt x="180" y="312"/>
                    </a:lnTo>
                    <a:lnTo>
                      <a:pt x="192" y="306"/>
                    </a:lnTo>
                    <a:lnTo>
                      <a:pt x="198" y="306"/>
                    </a:lnTo>
                    <a:lnTo>
                      <a:pt x="198" y="312"/>
                    </a:lnTo>
                    <a:lnTo>
                      <a:pt x="210" y="312"/>
                    </a:lnTo>
                    <a:lnTo>
                      <a:pt x="222" y="306"/>
                    </a:lnTo>
                    <a:lnTo>
                      <a:pt x="228" y="300"/>
                    </a:lnTo>
                    <a:lnTo>
                      <a:pt x="270" y="300"/>
                    </a:lnTo>
                    <a:lnTo>
                      <a:pt x="282" y="288"/>
                    </a:lnTo>
                    <a:lnTo>
                      <a:pt x="300" y="294"/>
                    </a:lnTo>
                    <a:lnTo>
                      <a:pt x="318" y="294"/>
                    </a:lnTo>
                    <a:lnTo>
                      <a:pt x="318" y="282"/>
                    </a:lnTo>
                    <a:lnTo>
                      <a:pt x="312" y="270"/>
                    </a:lnTo>
                    <a:lnTo>
                      <a:pt x="300" y="264"/>
                    </a:lnTo>
                    <a:lnTo>
                      <a:pt x="300" y="258"/>
                    </a:lnTo>
                    <a:lnTo>
                      <a:pt x="306" y="252"/>
                    </a:lnTo>
                    <a:lnTo>
                      <a:pt x="318" y="246"/>
                    </a:lnTo>
                    <a:lnTo>
                      <a:pt x="330" y="246"/>
                    </a:lnTo>
                    <a:lnTo>
                      <a:pt x="336" y="240"/>
                    </a:lnTo>
                    <a:lnTo>
                      <a:pt x="348" y="234"/>
                    </a:lnTo>
                    <a:lnTo>
                      <a:pt x="348" y="216"/>
                    </a:lnTo>
                    <a:lnTo>
                      <a:pt x="372" y="216"/>
                    </a:lnTo>
                    <a:lnTo>
                      <a:pt x="384" y="204"/>
                    </a:lnTo>
                    <a:lnTo>
                      <a:pt x="396" y="204"/>
                    </a:lnTo>
                    <a:lnTo>
                      <a:pt x="402" y="210"/>
                    </a:lnTo>
                    <a:lnTo>
                      <a:pt x="408" y="222"/>
                    </a:lnTo>
                    <a:lnTo>
                      <a:pt x="414" y="228"/>
                    </a:lnTo>
                    <a:lnTo>
                      <a:pt x="426" y="222"/>
                    </a:lnTo>
                    <a:lnTo>
                      <a:pt x="456" y="228"/>
                    </a:lnTo>
                    <a:lnTo>
                      <a:pt x="462" y="222"/>
                    </a:lnTo>
                    <a:lnTo>
                      <a:pt x="462" y="198"/>
                    </a:lnTo>
                    <a:lnTo>
                      <a:pt x="468" y="186"/>
                    </a:lnTo>
                    <a:lnTo>
                      <a:pt x="486" y="168"/>
                    </a:lnTo>
                    <a:lnTo>
                      <a:pt x="516" y="168"/>
                    </a:lnTo>
                    <a:lnTo>
                      <a:pt x="534" y="174"/>
                    </a:lnTo>
                    <a:lnTo>
                      <a:pt x="552" y="174"/>
                    </a:lnTo>
                    <a:lnTo>
                      <a:pt x="558" y="168"/>
                    </a:lnTo>
                    <a:lnTo>
                      <a:pt x="564" y="156"/>
                    </a:lnTo>
                    <a:lnTo>
                      <a:pt x="564" y="138"/>
                    </a:lnTo>
                    <a:lnTo>
                      <a:pt x="570" y="132"/>
                    </a:lnTo>
                    <a:lnTo>
                      <a:pt x="582" y="126"/>
                    </a:lnTo>
                    <a:lnTo>
                      <a:pt x="594" y="114"/>
                    </a:lnTo>
                    <a:lnTo>
                      <a:pt x="642" y="96"/>
                    </a:lnTo>
                    <a:lnTo>
                      <a:pt x="666" y="96"/>
                    </a:lnTo>
                    <a:lnTo>
                      <a:pt x="672" y="90"/>
                    </a:lnTo>
                    <a:lnTo>
                      <a:pt x="672" y="78"/>
                    </a:lnTo>
                    <a:lnTo>
                      <a:pt x="660" y="66"/>
                    </a:lnTo>
                    <a:lnTo>
                      <a:pt x="642" y="60"/>
                    </a:lnTo>
                    <a:lnTo>
                      <a:pt x="600" y="60"/>
                    </a:lnTo>
                    <a:lnTo>
                      <a:pt x="576" y="30"/>
                    </a:lnTo>
                    <a:lnTo>
                      <a:pt x="558" y="30"/>
                    </a:lnTo>
                    <a:lnTo>
                      <a:pt x="546" y="18"/>
                    </a:lnTo>
                    <a:lnTo>
                      <a:pt x="498" y="24"/>
                    </a:lnTo>
                    <a:lnTo>
                      <a:pt x="486" y="24"/>
                    </a:lnTo>
                    <a:lnTo>
                      <a:pt x="474" y="18"/>
                    </a:lnTo>
                    <a:lnTo>
                      <a:pt x="354" y="18"/>
                    </a:lnTo>
                    <a:lnTo>
                      <a:pt x="336" y="24"/>
                    </a:lnTo>
                    <a:lnTo>
                      <a:pt x="318" y="24"/>
                    </a:lnTo>
                    <a:lnTo>
                      <a:pt x="306" y="18"/>
                    </a:lnTo>
                    <a:lnTo>
                      <a:pt x="282" y="18"/>
                    </a:lnTo>
                    <a:lnTo>
                      <a:pt x="276" y="6"/>
                    </a:lnTo>
                    <a:lnTo>
                      <a:pt x="264" y="0"/>
                    </a:lnTo>
                    <a:lnTo>
                      <a:pt x="222" y="0"/>
                    </a:lnTo>
                    <a:lnTo>
                      <a:pt x="216" y="6"/>
                    </a:lnTo>
                    <a:lnTo>
                      <a:pt x="216" y="36"/>
                    </a:lnTo>
                    <a:lnTo>
                      <a:pt x="222" y="48"/>
                    </a:lnTo>
                    <a:lnTo>
                      <a:pt x="222" y="60"/>
                    </a:lnTo>
                    <a:lnTo>
                      <a:pt x="204" y="54"/>
                    </a:lnTo>
                    <a:lnTo>
                      <a:pt x="174" y="54"/>
                    </a:lnTo>
                    <a:lnTo>
                      <a:pt x="138" y="36"/>
                    </a:lnTo>
                    <a:lnTo>
                      <a:pt x="120" y="30"/>
                    </a:lnTo>
                    <a:lnTo>
                      <a:pt x="108" y="24"/>
                    </a:lnTo>
                    <a:lnTo>
                      <a:pt x="78" y="24"/>
                    </a:lnTo>
                    <a:lnTo>
                      <a:pt x="60" y="42"/>
                    </a:lnTo>
                    <a:lnTo>
                      <a:pt x="54" y="54"/>
                    </a:lnTo>
                    <a:lnTo>
                      <a:pt x="54" y="72"/>
                    </a:lnTo>
                    <a:lnTo>
                      <a:pt x="72" y="72"/>
                    </a:lnTo>
                    <a:lnTo>
                      <a:pt x="78" y="78"/>
                    </a:lnTo>
                    <a:lnTo>
                      <a:pt x="84" y="78"/>
                    </a:lnTo>
                    <a:lnTo>
                      <a:pt x="84" y="84"/>
                    </a:lnTo>
                    <a:lnTo>
                      <a:pt x="36" y="13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7" name="Korea, North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62F2EBA-EFC4-47CC-B358-65F569D4591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87059" y="2969423"/>
                <a:ext cx="145015" cy="187770"/>
              </a:xfrm>
              <a:custGeom>
                <a:avLst/>
                <a:gdLst>
                  <a:gd name="T0" fmla="*/ 2147483647 w 330"/>
                  <a:gd name="T1" fmla="*/ 0 h 420"/>
                  <a:gd name="T2" fmla="*/ 2147483647 w 330"/>
                  <a:gd name="T3" fmla="*/ 2147483647 h 420"/>
                  <a:gd name="T4" fmla="*/ 2147483647 w 330"/>
                  <a:gd name="T5" fmla="*/ 2147483647 h 420"/>
                  <a:gd name="T6" fmla="*/ 2147483647 w 330"/>
                  <a:gd name="T7" fmla="*/ 2147483647 h 420"/>
                  <a:gd name="T8" fmla="*/ 2147483647 w 330"/>
                  <a:gd name="T9" fmla="*/ 2147483647 h 420"/>
                  <a:gd name="T10" fmla="*/ 2147483647 w 330"/>
                  <a:gd name="T11" fmla="*/ 2147483647 h 420"/>
                  <a:gd name="T12" fmla="*/ 2147483647 w 330"/>
                  <a:gd name="T13" fmla="*/ 2147483647 h 420"/>
                  <a:gd name="T14" fmla="*/ 2147483647 w 330"/>
                  <a:gd name="T15" fmla="*/ 2147483647 h 420"/>
                  <a:gd name="T16" fmla="*/ 2147483647 w 330"/>
                  <a:gd name="T17" fmla="*/ 2147483647 h 420"/>
                  <a:gd name="T18" fmla="*/ 2147483647 w 330"/>
                  <a:gd name="T19" fmla="*/ 2147483647 h 420"/>
                  <a:gd name="T20" fmla="*/ 2147483647 w 330"/>
                  <a:gd name="T21" fmla="*/ 2147483647 h 420"/>
                  <a:gd name="T22" fmla="*/ 2147483647 w 330"/>
                  <a:gd name="T23" fmla="*/ 2147483647 h 420"/>
                  <a:gd name="T24" fmla="*/ 2147483647 w 330"/>
                  <a:gd name="T25" fmla="*/ 2147483647 h 420"/>
                  <a:gd name="T26" fmla="*/ 2147483647 w 330"/>
                  <a:gd name="T27" fmla="*/ 2147483647 h 420"/>
                  <a:gd name="T28" fmla="*/ 2147483647 w 330"/>
                  <a:gd name="T29" fmla="*/ 2147483647 h 420"/>
                  <a:gd name="T30" fmla="*/ 2147483647 w 330"/>
                  <a:gd name="T31" fmla="*/ 2147483647 h 420"/>
                  <a:gd name="T32" fmla="*/ 2147483647 w 330"/>
                  <a:gd name="T33" fmla="*/ 2147483647 h 420"/>
                  <a:gd name="T34" fmla="*/ 2147483647 w 330"/>
                  <a:gd name="T35" fmla="*/ 2147483647 h 420"/>
                  <a:gd name="T36" fmla="*/ 2147483647 w 330"/>
                  <a:gd name="T37" fmla="*/ 2147483647 h 420"/>
                  <a:gd name="T38" fmla="*/ 2147483647 w 330"/>
                  <a:gd name="T39" fmla="*/ 2147483647 h 420"/>
                  <a:gd name="T40" fmla="*/ 2147483647 w 330"/>
                  <a:gd name="T41" fmla="*/ 2147483647 h 420"/>
                  <a:gd name="T42" fmla="*/ 2147483647 w 330"/>
                  <a:gd name="T43" fmla="*/ 2147483647 h 420"/>
                  <a:gd name="T44" fmla="*/ 2147483647 w 330"/>
                  <a:gd name="T45" fmla="*/ 2147483647 h 420"/>
                  <a:gd name="T46" fmla="*/ 2147483647 w 330"/>
                  <a:gd name="T47" fmla="*/ 2147483647 h 420"/>
                  <a:gd name="T48" fmla="*/ 2147483647 w 330"/>
                  <a:gd name="T49" fmla="*/ 2147483647 h 420"/>
                  <a:gd name="T50" fmla="*/ 2147483647 w 330"/>
                  <a:gd name="T51" fmla="*/ 2147483647 h 420"/>
                  <a:gd name="T52" fmla="*/ 2147483647 w 330"/>
                  <a:gd name="T53" fmla="*/ 2147483647 h 420"/>
                  <a:gd name="T54" fmla="*/ 2147483647 w 330"/>
                  <a:gd name="T55" fmla="*/ 2147483647 h 420"/>
                  <a:gd name="T56" fmla="*/ 2147483647 w 330"/>
                  <a:gd name="T57" fmla="*/ 2147483647 h 420"/>
                  <a:gd name="T58" fmla="*/ 2147483647 w 330"/>
                  <a:gd name="T59" fmla="*/ 2147483647 h 420"/>
                  <a:gd name="T60" fmla="*/ 2147483647 w 330"/>
                  <a:gd name="T61" fmla="*/ 2147483647 h 420"/>
                  <a:gd name="T62" fmla="*/ 2147483647 w 330"/>
                  <a:gd name="T63" fmla="*/ 2147483647 h 420"/>
                  <a:gd name="T64" fmla="*/ 2147483647 w 330"/>
                  <a:gd name="T65" fmla="*/ 2147483647 h 420"/>
                  <a:gd name="T66" fmla="*/ 2147483647 w 330"/>
                  <a:gd name="T67" fmla="*/ 2147483647 h 420"/>
                  <a:gd name="T68" fmla="*/ 2147483647 w 330"/>
                  <a:gd name="T69" fmla="*/ 2147483647 h 420"/>
                  <a:gd name="T70" fmla="*/ 2147483647 w 330"/>
                  <a:gd name="T71" fmla="*/ 2147483647 h 420"/>
                  <a:gd name="T72" fmla="*/ 2147483647 w 330"/>
                  <a:gd name="T73" fmla="*/ 2147483647 h 420"/>
                  <a:gd name="T74" fmla="*/ 2147483647 w 330"/>
                  <a:gd name="T75" fmla="*/ 2147483647 h 420"/>
                  <a:gd name="T76" fmla="*/ 2147483647 w 330"/>
                  <a:gd name="T77" fmla="*/ 2147483647 h 420"/>
                  <a:gd name="T78" fmla="*/ 2147483647 w 330"/>
                  <a:gd name="T79" fmla="*/ 2147483647 h 420"/>
                  <a:gd name="T80" fmla="*/ 2147483647 w 330"/>
                  <a:gd name="T81" fmla="*/ 2147483647 h 420"/>
                  <a:gd name="T82" fmla="*/ 2147483647 w 330"/>
                  <a:gd name="T83" fmla="*/ 2147483647 h 420"/>
                  <a:gd name="T84" fmla="*/ 2147483647 w 330"/>
                  <a:gd name="T85" fmla="*/ 2147483647 h 420"/>
                  <a:gd name="T86" fmla="*/ 2147483647 w 330"/>
                  <a:gd name="T87" fmla="*/ 2147483647 h 420"/>
                  <a:gd name="T88" fmla="*/ 2147483647 w 330"/>
                  <a:gd name="T89" fmla="*/ 2147483647 h 420"/>
                  <a:gd name="T90" fmla="*/ 2147483647 w 330"/>
                  <a:gd name="T91" fmla="*/ 2147483647 h 420"/>
                  <a:gd name="T92" fmla="*/ 2147483647 w 330"/>
                  <a:gd name="T93" fmla="*/ 2147483647 h 420"/>
                  <a:gd name="T94" fmla="*/ 2147483647 w 330"/>
                  <a:gd name="T95" fmla="*/ 2147483647 h 420"/>
                  <a:gd name="T96" fmla="*/ 2147483647 w 330"/>
                  <a:gd name="T97" fmla="*/ 2147483647 h 420"/>
                  <a:gd name="T98" fmla="*/ 2147483647 w 330"/>
                  <a:gd name="T99" fmla="*/ 2147483647 h 420"/>
                  <a:gd name="T100" fmla="*/ 2147483647 w 330"/>
                  <a:gd name="T101" fmla="*/ 2147483647 h 420"/>
                  <a:gd name="T102" fmla="*/ 2147483647 w 330"/>
                  <a:gd name="T103" fmla="*/ 0 h 42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30"/>
                  <a:gd name="T157" fmla="*/ 0 h 420"/>
                  <a:gd name="T158" fmla="*/ 330 w 330"/>
                  <a:gd name="T159" fmla="*/ 420 h 42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30" h="420">
                    <a:moveTo>
                      <a:pt x="270" y="0"/>
                    </a:moveTo>
                    <a:lnTo>
                      <a:pt x="240" y="0"/>
                    </a:lnTo>
                    <a:lnTo>
                      <a:pt x="240" y="6"/>
                    </a:lnTo>
                    <a:lnTo>
                      <a:pt x="246" y="12"/>
                    </a:lnTo>
                    <a:lnTo>
                      <a:pt x="252" y="24"/>
                    </a:lnTo>
                    <a:lnTo>
                      <a:pt x="252" y="42"/>
                    </a:lnTo>
                    <a:lnTo>
                      <a:pt x="228" y="42"/>
                    </a:lnTo>
                    <a:lnTo>
                      <a:pt x="234" y="54"/>
                    </a:lnTo>
                    <a:lnTo>
                      <a:pt x="234" y="60"/>
                    </a:lnTo>
                    <a:lnTo>
                      <a:pt x="228" y="72"/>
                    </a:lnTo>
                    <a:lnTo>
                      <a:pt x="216" y="78"/>
                    </a:lnTo>
                    <a:lnTo>
                      <a:pt x="204" y="72"/>
                    </a:lnTo>
                    <a:lnTo>
                      <a:pt x="180" y="72"/>
                    </a:lnTo>
                    <a:lnTo>
                      <a:pt x="174" y="66"/>
                    </a:lnTo>
                    <a:lnTo>
                      <a:pt x="168" y="72"/>
                    </a:lnTo>
                    <a:lnTo>
                      <a:pt x="168" y="84"/>
                    </a:lnTo>
                    <a:lnTo>
                      <a:pt x="192" y="108"/>
                    </a:lnTo>
                    <a:lnTo>
                      <a:pt x="198" y="108"/>
                    </a:lnTo>
                    <a:lnTo>
                      <a:pt x="198" y="120"/>
                    </a:lnTo>
                    <a:lnTo>
                      <a:pt x="150" y="120"/>
                    </a:lnTo>
                    <a:lnTo>
                      <a:pt x="138" y="114"/>
                    </a:lnTo>
                    <a:lnTo>
                      <a:pt x="126" y="114"/>
                    </a:lnTo>
                    <a:lnTo>
                      <a:pt x="114" y="102"/>
                    </a:lnTo>
                    <a:lnTo>
                      <a:pt x="102" y="96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84" y="108"/>
                    </a:lnTo>
                    <a:lnTo>
                      <a:pt x="84" y="138"/>
                    </a:lnTo>
                    <a:lnTo>
                      <a:pt x="66" y="174"/>
                    </a:lnTo>
                    <a:lnTo>
                      <a:pt x="54" y="186"/>
                    </a:lnTo>
                    <a:lnTo>
                      <a:pt x="18" y="204"/>
                    </a:lnTo>
                    <a:lnTo>
                      <a:pt x="12" y="216"/>
                    </a:lnTo>
                    <a:lnTo>
                      <a:pt x="6" y="222"/>
                    </a:lnTo>
                    <a:lnTo>
                      <a:pt x="6" y="234"/>
                    </a:lnTo>
                    <a:lnTo>
                      <a:pt x="0" y="246"/>
                    </a:lnTo>
                    <a:lnTo>
                      <a:pt x="12" y="228"/>
                    </a:lnTo>
                    <a:lnTo>
                      <a:pt x="18" y="246"/>
                    </a:lnTo>
                    <a:lnTo>
                      <a:pt x="36" y="270"/>
                    </a:lnTo>
                    <a:lnTo>
                      <a:pt x="48" y="252"/>
                    </a:lnTo>
                    <a:lnTo>
                      <a:pt x="54" y="258"/>
                    </a:lnTo>
                    <a:lnTo>
                      <a:pt x="60" y="270"/>
                    </a:lnTo>
                    <a:lnTo>
                      <a:pt x="96" y="270"/>
                    </a:lnTo>
                    <a:lnTo>
                      <a:pt x="96" y="282"/>
                    </a:lnTo>
                    <a:lnTo>
                      <a:pt x="102" y="294"/>
                    </a:lnTo>
                    <a:lnTo>
                      <a:pt x="102" y="336"/>
                    </a:lnTo>
                    <a:lnTo>
                      <a:pt x="138" y="336"/>
                    </a:lnTo>
                    <a:lnTo>
                      <a:pt x="144" y="348"/>
                    </a:lnTo>
                    <a:lnTo>
                      <a:pt x="132" y="342"/>
                    </a:lnTo>
                    <a:lnTo>
                      <a:pt x="108" y="342"/>
                    </a:lnTo>
                    <a:lnTo>
                      <a:pt x="102" y="348"/>
                    </a:lnTo>
                    <a:lnTo>
                      <a:pt x="102" y="360"/>
                    </a:lnTo>
                    <a:lnTo>
                      <a:pt x="108" y="378"/>
                    </a:lnTo>
                    <a:lnTo>
                      <a:pt x="114" y="384"/>
                    </a:lnTo>
                    <a:lnTo>
                      <a:pt x="126" y="408"/>
                    </a:lnTo>
                    <a:lnTo>
                      <a:pt x="156" y="396"/>
                    </a:lnTo>
                    <a:lnTo>
                      <a:pt x="162" y="402"/>
                    </a:lnTo>
                    <a:lnTo>
                      <a:pt x="174" y="408"/>
                    </a:lnTo>
                    <a:lnTo>
                      <a:pt x="180" y="414"/>
                    </a:lnTo>
                    <a:lnTo>
                      <a:pt x="192" y="420"/>
                    </a:lnTo>
                    <a:lnTo>
                      <a:pt x="198" y="420"/>
                    </a:lnTo>
                    <a:lnTo>
                      <a:pt x="216" y="414"/>
                    </a:lnTo>
                    <a:lnTo>
                      <a:pt x="228" y="414"/>
                    </a:lnTo>
                    <a:lnTo>
                      <a:pt x="240" y="408"/>
                    </a:lnTo>
                    <a:lnTo>
                      <a:pt x="246" y="402"/>
                    </a:lnTo>
                    <a:lnTo>
                      <a:pt x="246" y="396"/>
                    </a:lnTo>
                    <a:lnTo>
                      <a:pt x="240" y="390"/>
                    </a:lnTo>
                    <a:lnTo>
                      <a:pt x="240" y="384"/>
                    </a:lnTo>
                    <a:lnTo>
                      <a:pt x="246" y="384"/>
                    </a:lnTo>
                    <a:lnTo>
                      <a:pt x="252" y="378"/>
                    </a:lnTo>
                    <a:lnTo>
                      <a:pt x="276" y="366"/>
                    </a:lnTo>
                    <a:lnTo>
                      <a:pt x="306" y="366"/>
                    </a:lnTo>
                    <a:lnTo>
                      <a:pt x="324" y="354"/>
                    </a:lnTo>
                    <a:lnTo>
                      <a:pt x="312" y="342"/>
                    </a:lnTo>
                    <a:lnTo>
                      <a:pt x="312" y="336"/>
                    </a:lnTo>
                    <a:lnTo>
                      <a:pt x="264" y="312"/>
                    </a:lnTo>
                    <a:lnTo>
                      <a:pt x="240" y="312"/>
                    </a:lnTo>
                    <a:lnTo>
                      <a:pt x="240" y="300"/>
                    </a:lnTo>
                    <a:lnTo>
                      <a:pt x="246" y="288"/>
                    </a:lnTo>
                    <a:lnTo>
                      <a:pt x="252" y="282"/>
                    </a:lnTo>
                    <a:lnTo>
                      <a:pt x="246" y="276"/>
                    </a:lnTo>
                    <a:lnTo>
                      <a:pt x="234" y="270"/>
                    </a:lnTo>
                    <a:lnTo>
                      <a:pt x="228" y="264"/>
                    </a:lnTo>
                    <a:lnTo>
                      <a:pt x="228" y="252"/>
                    </a:lnTo>
                    <a:lnTo>
                      <a:pt x="240" y="246"/>
                    </a:lnTo>
                    <a:lnTo>
                      <a:pt x="246" y="240"/>
                    </a:lnTo>
                    <a:lnTo>
                      <a:pt x="258" y="234"/>
                    </a:lnTo>
                    <a:lnTo>
                      <a:pt x="270" y="234"/>
                    </a:lnTo>
                    <a:lnTo>
                      <a:pt x="276" y="228"/>
                    </a:lnTo>
                    <a:lnTo>
                      <a:pt x="288" y="204"/>
                    </a:lnTo>
                    <a:lnTo>
                      <a:pt x="288" y="192"/>
                    </a:lnTo>
                    <a:lnTo>
                      <a:pt x="294" y="186"/>
                    </a:lnTo>
                    <a:lnTo>
                      <a:pt x="300" y="174"/>
                    </a:lnTo>
                    <a:lnTo>
                      <a:pt x="324" y="162"/>
                    </a:lnTo>
                    <a:lnTo>
                      <a:pt x="312" y="132"/>
                    </a:lnTo>
                    <a:lnTo>
                      <a:pt x="306" y="126"/>
                    </a:lnTo>
                    <a:lnTo>
                      <a:pt x="294" y="102"/>
                    </a:lnTo>
                    <a:lnTo>
                      <a:pt x="294" y="90"/>
                    </a:lnTo>
                    <a:lnTo>
                      <a:pt x="306" y="66"/>
                    </a:lnTo>
                    <a:lnTo>
                      <a:pt x="318" y="60"/>
                    </a:lnTo>
                    <a:lnTo>
                      <a:pt x="324" y="54"/>
                    </a:lnTo>
                    <a:lnTo>
                      <a:pt x="330" y="54"/>
                    </a:lnTo>
                    <a:lnTo>
                      <a:pt x="312" y="36"/>
                    </a:lnTo>
                    <a:lnTo>
                      <a:pt x="288" y="24"/>
                    </a:lnTo>
                    <a:lnTo>
                      <a:pt x="270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8" name="Keny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53CC290-F424-4CDB-A6F3-FB919B300B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2207" y="4351121"/>
                <a:ext cx="248099" cy="341884"/>
              </a:xfrm>
              <a:custGeom>
                <a:avLst/>
                <a:gdLst>
                  <a:gd name="T0" fmla="*/ 2147483647 w 564"/>
                  <a:gd name="T1" fmla="*/ 2147483647 h 762"/>
                  <a:gd name="T2" fmla="*/ 2147483647 w 564"/>
                  <a:gd name="T3" fmla="*/ 2147483647 h 762"/>
                  <a:gd name="T4" fmla="*/ 2147483647 w 564"/>
                  <a:gd name="T5" fmla="*/ 2147483647 h 762"/>
                  <a:gd name="T6" fmla="*/ 2147483647 w 564"/>
                  <a:gd name="T7" fmla="*/ 2147483647 h 762"/>
                  <a:gd name="T8" fmla="*/ 2147483647 w 564"/>
                  <a:gd name="T9" fmla="*/ 2147483647 h 762"/>
                  <a:gd name="T10" fmla="*/ 2147483647 w 564"/>
                  <a:gd name="T11" fmla="*/ 2147483647 h 762"/>
                  <a:gd name="T12" fmla="*/ 2147483647 w 564"/>
                  <a:gd name="T13" fmla="*/ 2147483647 h 762"/>
                  <a:gd name="T14" fmla="*/ 2147483647 w 564"/>
                  <a:gd name="T15" fmla="*/ 2147483647 h 762"/>
                  <a:gd name="T16" fmla="*/ 2147483647 w 564"/>
                  <a:gd name="T17" fmla="*/ 2147483647 h 762"/>
                  <a:gd name="T18" fmla="*/ 2147483647 w 564"/>
                  <a:gd name="T19" fmla="*/ 2147483647 h 762"/>
                  <a:gd name="T20" fmla="*/ 2147483647 w 564"/>
                  <a:gd name="T21" fmla="*/ 2147483647 h 762"/>
                  <a:gd name="T22" fmla="*/ 2147483647 w 564"/>
                  <a:gd name="T23" fmla="*/ 2147483647 h 762"/>
                  <a:gd name="T24" fmla="*/ 2147483647 w 564"/>
                  <a:gd name="T25" fmla="*/ 0 h 762"/>
                  <a:gd name="T26" fmla="*/ 2147483647 w 564"/>
                  <a:gd name="T27" fmla="*/ 2147483647 h 762"/>
                  <a:gd name="T28" fmla="*/ 2147483647 w 564"/>
                  <a:gd name="T29" fmla="*/ 2147483647 h 762"/>
                  <a:gd name="T30" fmla="*/ 2147483647 w 564"/>
                  <a:gd name="T31" fmla="*/ 2147483647 h 762"/>
                  <a:gd name="T32" fmla="*/ 2147483647 w 564"/>
                  <a:gd name="T33" fmla="*/ 2147483647 h 762"/>
                  <a:gd name="T34" fmla="*/ 2147483647 w 564"/>
                  <a:gd name="T35" fmla="*/ 2147483647 h 762"/>
                  <a:gd name="T36" fmla="*/ 2147483647 w 564"/>
                  <a:gd name="T37" fmla="*/ 2147483647 h 762"/>
                  <a:gd name="T38" fmla="*/ 2147483647 w 564"/>
                  <a:gd name="T39" fmla="*/ 2147483647 h 762"/>
                  <a:gd name="T40" fmla="*/ 2147483647 w 564"/>
                  <a:gd name="T41" fmla="*/ 2147483647 h 762"/>
                  <a:gd name="T42" fmla="*/ 2147483647 w 564"/>
                  <a:gd name="T43" fmla="*/ 2147483647 h 762"/>
                  <a:gd name="T44" fmla="*/ 2147483647 w 564"/>
                  <a:gd name="T45" fmla="*/ 2147483647 h 762"/>
                  <a:gd name="T46" fmla="*/ 2147483647 w 564"/>
                  <a:gd name="T47" fmla="*/ 2147483647 h 762"/>
                  <a:gd name="T48" fmla="*/ 2147483647 w 564"/>
                  <a:gd name="T49" fmla="*/ 2147483647 h 762"/>
                  <a:gd name="T50" fmla="*/ 2147483647 w 564"/>
                  <a:gd name="T51" fmla="*/ 2147483647 h 762"/>
                  <a:gd name="T52" fmla="*/ 2147483647 w 564"/>
                  <a:gd name="T53" fmla="*/ 2147483647 h 762"/>
                  <a:gd name="T54" fmla="*/ 2147483647 w 564"/>
                  <a:gd name="T55" fmla="*/ 2147483647 h 762"/>
                  <a:gd name="T56" fmla="*/ 2147483647 w 564"/>
                  <a:gd name="T57" fmla="*/ 2147483647 h 762"/>
                  <a:gd name="T58" fmla="*/ 0 w 564"/>
                  <a:gd name="T59" fmla="*/ 2147483647 h 762"/>
                  <a:gd name="T60" fmla="*/ 2147483647 w 564"/>
                  <a:gd name="T61" fmla="*/ 2147483647 h 762"/>
                  <a:gd name="T62" fmla="*/ 2147483647 w 564"/>
                  <a:gd name="T63" fmla="*/ 2147483647 h 762"/>
                  <a:gd name="T64" fmla="*/ 2147483647 w 564"/>
                  <a:gd name="T65" fmla="*/ 2147483647 h 762"/>
                  <a:gd name="T66" fmla="*/ 2147483647 w 564"/>
                  <a:gd name="T67" fmla="*/ 2147483647 h 762"/>
                  <a:gd name="T68" fmla="*/ 2147483647 w 564"/>
                  <a:gd name="T69" fmla="*/ 2147483647 h 762"/>
                  <a:gd name="T70" fmla="*/ 0 w 564"/>
                  <a:gd name="T71" fmla="*/ 2147483647 h 762"/>
                  <a:gd name="T72" fmla="*/ 2147483647 w 564"/>
                  <a:gd name="T73" fmla="*/ 2147483647 h 762"/>
                  <a:gd name="T74" fmla="*/ 2147483647 w 564"/>
                  <a:gd name="T75" fmla="*/ 2147483647 h 762"/>
                  <a:gd name="T76" fmla="*/ 2147483647 w 564"/>
                  <a:gd name="T77" fmla="*/ 2147483647 h 762"/>
                  <a:gd name="T78" fmla="*/ 2147483647 w 564"/>
                  <a:gd name="T79" fmla="*/ 2147483647 h 762"/>
                  <a:gd name="T80" fmla="*/ 2147483647 w 564"/>
                  <a:gd name="T81" fmla="*/ 2147483647 h 762"/>
                  <a:gd name="T82" fmla="*/ 2147483647 w 564"/>
                  <a:gd name="T83" fmla="*/ 2147483647 h 762"/>
                  <a:gd name="T84" fmla="*/ 2147483647 w 564"/>
                  <a:gd name="T85" fmla="*/ 2147483647 h 762"/>
                  <a:gd name="T86" fmla="*/ 2147483647 w 564"/>
                  <a:gd name="T87" fmla="*/ 2147483647 h 762"/>
                  <a:gd name="T88" fmla="*/ 2147483647 w 564"/>
                  <a:gd name="T89" fmla="*/ 2147483647 h 762"/>
                  <a:gd name="T90" fmla="*/ 2147483647 w 564"/>
                  <a:gd name="T91" fmla="*/ 2147483647 h 762"/>
                  <a:gd name="T92" fmla="*/ 2147483647 w 564"/>
                  <a:gd name="T93" fmla="*/ 2147483647 h 762"/>
                  <a:gd name="T94" fmla="*/ 2147483647 w 564"/>
                  <a:gd name="T95" fmla="*/ 2147483647 h 762"/>
                  <a:gd name="T96" fmla="*/ 2147483647 w 564"/>
                  <a:gd name="T97" fmla="*/ 2147483647 h 762"/>
                  <a:gd name="T98" fmla="*/ 2147483647 w 564"/>
                  <a:gd name="T99" fmla="*/ 2147483647 h 762"/>
                  <a:gd name="T100" fmla="*/ 2147483647 w 564"/>
                  <a:gd name="T101" fmla="*/ 2147483647 h 76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564"/>
                  <a:gd name="T154" fmla="*/ 0 h 762"/>
                  <a:gd name="T155" fmla="*/ 564 w 564"/>
                  <a:gd name="T156" fmla="*/ 762 h 76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564" h="762">
                    <a:moveTo>
                      <a:pt x="498" y="150"/>
                    </a:moveTo>
                    <a:lnTo>
                      <a:pt x="540" y="108"/>
                    </a:lnTo>
                    <a:lnTo>
                      <a:pt x="558" y="72"/>
                    </a:lnTo>
                    <a:lnTo>
                      <a:pt x="564" y="66"/>
                    </a:lnTo>
                    <a:lnTo>
                      <a:pt x="564" y="60"/>
                    </a:lnTo>
                    <a:lnTo>
                      <a:pt x="540" y="54"/>
                    </a:lnTo>
                    <a:lnTo>
                      <a:pt x="534" y="60"/>
                    </a:lnTo>
                    <a:lnTo>
                      <a:pt x="504" y="60"/>
                    </a:lnTo>
                    <a:lnTo>
                      <a:pt x="480" y="30"/>
                    </a:lnTo>
                    <a:lnTo>
                      <a:pt x="462" y="48"/>
                    </a:lnTo>
                    <a:lnTo>
                      <a:pt x="456" y="48"/>
                    </a:lnTo>
                    <a:lnTo>
                      <a:pt x="450" y="54"/>
                    </a:lnTo>
                    <a:lnTo>
                      <a:pt x="438" y="60"/>
                    </a:lnTo>
                    <a:lnTo>
                      <a:pt x="426" y="60"/>
                    </a:lnTo>
                    <a:lnTo>
                      <a:pt x="414" y="72"/>
                    </a:lnTo>
                    <a:lnTo>
                      <a:pt x="414" y="84"/>
                    </a:lnTo>
                    <a:lnTo>
                      <a:pt x="390" y="102"/>
                    </a:lnTo>
                    <a:lnTo>
                      <a:pt x="378" y="96"/>
                    </a:lnTo>
                    <a:lnTo>
                      <a:pt x="372" y="96"/>
                    </a:lnTo>
                    <a:lnTo>
                      <a:pt x="360" y="90"/>
                    </a:lnTo>
                    <a:lnTo>
                      <a:pt x="330" y="90"/>
                    </a:lnTo>
                    <a:lnTo>
                      <a:pt x="318" y="84"/>
                    </a:lnTo>
                    <a:lnTo>
                      <a:pt x="288" y="84"/>
                    </a:lnTo>
                    <a:lnTo>
                      <a:pt x="210" y="24"/>
                    </a:lnTo>
                    <a:lnTo>
                      <a:pt x="138" y="18"/>
                    </a:lnTo>
                    <a:lnTo>
                      <a:pt x="132" y="0"/>
                    </a:lnTo>
                    <a:lnTo>
                      <a:pt x="108" y="12"/>
                    </a:lnTo>
                    <a:lnTo>
                      <a:pt x="18" y="12"/>
                    </a:lnTo>
                    <a:lnTo>
                      <a:pt x="0" y="42"/>
                    </a:lnTo>
                    <a:lnTo>
                      <a:pt x="6" y="48"/>
                    </a:lnTo>
                    <a:lnTo>
                      <a:pt x="12" y="60"/>
                    </a:lnTo>
                    <a:lnTo>
                      <a:pt x="12" y="84"/>
                    </a:lnTo>
                    <a:lnTo>
                      <a:pt x="18" y="84"/>
                    </a:lnTo>
                    <a:lnTo>
                      <a:pt x="24" y="90"/>
                    </a:lnTo>
                    <a:lnTo>
                      <a:pt x="24" y="84"/>
                    </a:lnTo>
                    <a:lnTo>
                      <a:pt x="30" y="84"/>
                    </a:lnTo>
                    <a:lnTo>
                      <a:pt x="30" y="96"/>
                    </a:lnTo>
                    <a:lnTo>
                      <a:pt x="24" y="102"/>
                    </a:lnTo>
                    <a:lnTo>
                      <a:pt x="24" y="108"/>
                    </a:lnTo>
                    <a:lnTo>
                      <a:pt x="42" y="126"/>
                    </a:lnTo>
                    <a:lnTo>
                      <a:pt x="36" y="132"/>
                    </a:lnTo>
                    <a:lnTo>
                      <a:pt x="72" y="174"/>
                    </a:lnTo>
                    <a:lnTo>
                      <a:pt x="66" y="180"/>
                    </a:lnTo>
                    <a:lnTo>
                      <a:pt x="60" y="180"/>
                    </a:lnTo>
                    <a:lnTo>
                      <a:pt x="54" y="186"/>
                    </a:lnTo>
                    <a:lnTo>
                      <a:pt x="54" y="192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8" y="234"/>
                    </a:lnTo>
                    <a:lnTo>
                      <a:pt x="78" y="246"/>
                    </a:lnTo>
                    <a:lnTo>
                      <a:pt x="66" y="258"/>
                    </a:lnTo>
                    <a:lnTo>
                      <a:pt x="60" y="282"/>
                    </a:lnTo>
                    <a:lnTo>
                      <a:pt x="42" y="282"/>
                    </a:lnTo>
                    <a:lnTo>
                      <a:pt x="36" y="288"/>
                    </a:lnTo>
                    <a:lnTo>
                      <a:pt x="36" y="312"/>
                    </a:lnTo>
                    <a:lnTo>
                      <a:pt x="18" y="324"/>
                    </a:lnTo>
                    <a:lnTo>
                      <a:pt x="12" y="342"/>
                    </a:lnTo>
                    <a:lnTo>
                      <a:pt x="6" y="348"/>
                    </a:lnTo>
                    <a:lnTo>
                      <a:pt x="0" y="360"/>
                    </a:lnTo>
                    <a:lnTo>
                      <a:pt x="0" y="384"/>
                    </a:lnTo>
                    <a:lnTo>
                      <a:pt x="18" y="402"/>
                    </a:lnTo>
                    <a:lnTo>
                      <a:pt x="30" y="402"/>
                    </a:lnTo>
                    <a:lnTo>
                      <a:pt x="30" y="390"/>
                    </a:lnTo>
                    <a:lnTo>
                      <a:pt x="54" y="390"/>
                    </a:lnTo>
                    <a:lnTo>
                      <a:pt x="60" y="408"/>
                    </a:lnTo>
                    <a:lnTo>
                      <a:pt x="42" y="408"/>
                    </a:lnTo>
                    <a:lnTo>
                      <a:pt x="30" y="420"/>
                    </a:lnTo>
                    <a:lnTo>
                      <a:pt x="24" y="414"/>
                    </a:lnTo>
                    <a:lnTo>
                      <a:pt x="18" y="414"/>
                    </a:lnTo>
                    <a:lnTo>
                      <a:pt x="6" y="420"/>
                    </a:lnTo>
                    <a:lnTo>
                      <a:pt x="0" y="432"/>
                    </a:lnTo>
                    <a:lnTo>
                      <a:pt x="0" y="438"/>
                    </a:lnTo>
                    <a:lnTo>
                      <a:pt x="12" y="450"/>
                    </a:lnTo>
                    <a:lnTo>
                      <a:pt x="6" y="468"/>
                    </a:lnTo>
                    <a:lnTo>
                      <a:pt x="258" y="624"/>
                    </a:lnTo>
                    <a:lnTo>
                      <a:pt x="270" y="636"/>
                    </a:lnTo>
                    <a:lnTo>
                      <a:pt x="270" y="642"/>
                    </a:lnTo>
                    <a:lnTo>
                      <a:pt x="264" y="648"/>
                    </a:lnTo>
                    <a:lnTo>
                      <a:pt x="258" y="648"/>
                    </a:lnTo>
                    <a:lnTo>
                      <a:pt x="252" y="654"/>
                    </a:lnTo>
                    <a:lnTo>
                      <a:pt x="366" y="762"/>
                    </a:lnTo>
                    <a:lnTo>
                      <a:pt x="384" y="756"/>
                    </a:lnTo>
                    <a:lnTo>
                      <a:pt x="414" y="690"/>
                    </a:lnTo>
                    <a:lnTo>
                      <a:pt x="414" y="660"/>
                    </a:lnTo>
                    <a:lnTo>
                      <a:pt x="426" y="648"/>
                    </a:lnTo>
                    <a:lnTo>
                      <a:pt x="432" y="648"/>
                    </a:lnTo>
                    <a:lnTo>
                      <a:pt x="444" y="636"/>
                    </a:lnTo>
                    <a:lnTo>
                      <a:pt x="444" y="624"/>
                    </a:lnTo>
                    <a:lnTo>
                      <a:pt x="438" y="618"/>
                    </a:lnTo>
                    <a:lnTo>
                      <a:pt x="438" y="600"/>
                    </a:lnTo>
                    <a:lnTo>
                      <a:pt x="444" y="594"/>
                    </a:lnTo>
                    <a:lnTo>
                      <a:pt x="456" y="588"/>
                    </a:lnTo>
                    <a:lnTo>
                      <a:pt x="468" y="588"/>
                    </a:lnTo>
                    <a:lnTo>
                      <a:pt x="474" y="582"/>
                    </a:lnTo>
                    <a:lnTo>
                      <a:pt x="480" y="582"/>
                    </a:lnTo>
                    <a:lnTo>
                      <a:pt x="486" y="540"/>
                    </a:lnTo>
                    <a:lnTo>
                      <a:pt x="516" y="540"/>
                    </a:lnTo>
                    <a:lnTo>
                      <a:pt x="528" y="534"/>
                    </a:lnTo>
                    <a:lnTo>
                      <a:pt x="534" y="522"/>
                    </a:lnTo>
                    <a:lnTo>
                      <a:pt x="540" y="516"/>
                    </a:lnTo>
                    <a:lnTo>
                      <a:pt x="498" y="450"/>
                    </a:lnTo>
                    <a:lnTo>
                      <a:pt x="498" y="15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39" name="Kazakhs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2D589FA-227A-4569-8875-71D7E831154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875552" y="2531886"/>
                <a:ext cx="1114699" cy="522567"/>
              </a:xfrm>
              <a:custGeom>
                <a:avLst/>
                <a:gdLst>
                  <a:gd name="T0" fmla="*/ 2147483647 w 2514"/>
                  <a:gd name="T1" fmla="*/ 2147483647 h 1164"/>
                  <a:gd name="T2" fmla="*/ 2147483647 w 2514"/>
                  <a:gd name="T3" fmla="*/ 2147483647 h 1164"/>
                  <a:gd name="T4" fmla="*/ 2147483647 w 2514"/>
                  <a:gd name="T5" fmla="*/ 2147483647 h 1164"/>
                  <a:gd name="T6" fmla="*/ 2147483647 w 2514"/>
                  <a:gd name="T7" fmla="*/ 2147483647 h 1164"/>
                  <a:gd name="T8" fmla="*/ 2147483647 w 2514"/>
                  <a:gd name="T9" fmla="*/ 2147483647 h 1164"/>
                  <a:gd name="T10" fmla="*/ 2147483647 w 2514"/>
                  <a:gd name="T11" fmla="*/ 2147483647 h 1164"/>
                  <a:gd name="T12" fmla="*/ 2147483647 w 2514"/>
                  <a:gd name="T13" fmla="*/ 2147483647 h 1164"/>
                  <a:gd name="T14" fmla="*/ 2147483647 w 2514"/>
                  <a:gd name="T15" fmla="*/ 2147483647 h 1164"/>
                  <a:gd name="T16" fmla="*/ 2147483647 w 2514"/>
                  <a:gd name="T17" fmla="*/ 2147483647 h 1164"/>
                  <a:gd name="T18" fmla="*/ 2147483647 w 2514"/>
                  <a:gd name="T19" fmla="*/ 2147483647 h 1164"/>
                  <a:gd name="T20" fmla="*/ 2147483647 w 2514"/>
                  <a:gd name="T21" fmla="*/ 2147483647 h 1164"/>
                  <a:gd name="T22" fmla="*/ 2147483647 w 2514"/>
                  <a:gd name="T23" fmla="*/ 2147483647 h 1164"/>
                  <a:gd name="T24" fmla="*/ 2147483647 w 2514"/>
                  <a:gd name="T25" fmla="*/ 2147483647 h 1164"/>
                  <a:gd name="T26" fmla="*/ 2147483647 w 2514"/>
                  <a:gd name="T27" fmla="*/ 2147483647 h 1164"/>
                  <a:gd name="T28" fmla="*/ 2147483647 w 2514"/>
                  <a:gd name="T29" fmla="*/ 2147483647 h 1164"/>
                  <a:gd name="T30" fmla="*/ 2147483647 w 2514"/>
                  <a:gd name="T31" fmla="*/ 2147483647 h 1164"/>
                  <a:gd name="T32" fmla="*/ 2147483647 w 2514"/>
                  <a:gd name="T33" fmla="*/ 2147483647 h 1164"/>
                  <a:gd name="T34" fmla="*/ 2147483647 w 2514"/>
                  <a:gd name="T35" fmla="*/ 2147483647 h 1164"/>
                  <a:gd name="T36" fmla="*/ 2147483647 w 2514"/>
                  <a:gd name="T37" fmla="*/ 2147483647 h 1164"/>
                  <a:gd name="T38" fmla="*/ 2147483647 w 2514"/>
                  <a:gd name="T39" fmla="*/ 2147483647 h 1164"/>
                  <a:gd name="T40" fmla="*/ 2147483647 w 2514"/>
                  <a:gd name="T41" fmla="*/ 2147483647 h 1164"/>
                  <a:gd name="T42" fmla="*/ 2147483647 w 2514"/>
                  <a:gd name="T43" fmla="*/ 2147483647 h 1164"/>
                  <a:gd name="T44" fmla="*/ 2147483647 w 2514"/>
                  <a:gd name="T45" fmla="*/ 2147483647 h 1164"/>
                  <a:gd name="T46" fmla="*/ 2147483647 w 2514"/>
                  <a:gd name="T47" fmla="*/ 2147483647 h 1164"/>
                  <a:gd name="T48" fmla="*/ 2147483647 w 2514"/>
                  <a:gd name="T49" fmla="*/ 2147483647 h 1164"/>
                  <a:gd name="T50" fmla="*/ 2147483647 w 2514"/>
                  <a:gd name="T51" fmla="*/ 2147483647 h 1164"/>
                  <a:gd name="T52" fmla="*/ 2147483647 w 2514"/>
                  <a:gd name="T53" fmla="*/ 2147483647 h 1164"/>
                  <a:gd name="T54" fmla="*/ 2147483647 w 2514"/>
                  <a:gd name="T55" fmla="*/ 2147483647 h 1164"/>
                  <a:gd name="T56" fmla="*/ 2147483647 w 2514"/>
                  <a:gd name="T57" fmla="*/ 2147483647 h 1164"/>
                  <a:gd name="T58" fmla="*/ 2147483647 w 2514"/>
                  <a:gd name="T59" fmla="*/ 2147483647 h 1164"/>
                  <a:gd name="T60" fmla="*/ 2147483647 w 2514"/>
                  <a:gd name="T61" fmla="*/ 2147483647 h 1164"/>
                  <a:gd name="T62" fmla="*/ 2147483647 w 2514"/>
                  <a:gd name="T63" fmla="*/ 2147483647 h 1164"/>
                  <a:gd name="T64" fmla="*/ 2147483647 w 2514"/>
                  <a:gd name="T65" fmla="*/ 2147483647 h 1164"/>
                  <a:gd name="T66" fmla="*/ 2147483647 w 2514"/>
                  <a:gd name="T67" fmla="*/ 2147483647 h 1164"/>
                  <a:gd name="T68" fmla="*/ 2147483647 w 2514"/>
                  <a:gd name="T69" fmla="*/ 2147483647 h 1164"/>
                  <a:gd name="T70" fmla="*/ 2147483647 w 2514"/>
                  <a:gd name="T71" fmla="*/ 2147483647 h 1164"/>
                  <a:gd name="T72" fmla="*/ 2147483647 w 2514"/>
                  <a:gd name="T73" fmla="*/ 2147483647 h 1164"/>
                  <a:gd name="T74" fmla="*/ 2147483647 w 2514"/>
                  <a:gd name="T75" fmla="*/ 2147483647 h 1164"/>
                  <a:gd name="T76" fmla="*/ 2147483647 w 2514"/>
                  <a:gd name="T77" fmla="*/ 2147483647 h 1164"/>
                  <a:gd name="T78" fmla="*/ 2147483647 w 2514"/>
                  <a:gd name="T79" fmla="*/ 2147483647 h 1164"/>
                  <a:gd name="T80" fmla="*/ 2147483647 w 2514"/>
                  <a:gd name="T81" fmla="*/ 2147483647 h 1164"/>
                  <a:gd name="T82" fmla="*/ 2147483647 w 2514"/>
                  <a:gd name="T83" fmla="*/ 2147483647 h 1164"/>
                  <a:gd name="T84" fmla="*/ 2147483647 w 2514"/>
                  <a:gd name="T85" fmla="*/ 2147483647 h 1164"/>
                  <a:gd name="T86" fmla="*/ 2147483647 w 2514"/>
                  <a:gd name="T87" fmla="*/ 2147483647 h 1164"/>
                  <a:gd name="T88" fmla="*/ 2147483647 w 2514"/>
                  <a:gd name="T89" fmla="*/ 2147483647 h 1164"/>
                  <a:gd name="T90" fmla="*/ 2147483647 w 2514"/>
                  <a:gd name="T91" fmla="*/ 2147483647 h 1164"/>
                  <a:gd name="T92" fmla="*/ 2147483647 w 2514"/>
                  <a:gd name="T93" fmla="*/ 2147483647 h 1164"/>
                  <a:gd name="T94" fmla="*/ 2147483647 w 2514"/>
                  <a:gd name="T95" fmla="*/ 2147483647 h 1164"/>
                  <a:gd name="T96" fmla="*/ 2147483647 w 2514"/>
                  <a:gd name="T97" fmla="*/ 2147483647 h 1164"/>
                  <a:gd name="T98" fmla="*/ 2147483647 w 2514"/>
                  <a:gd name="T99" fmla="*/ 2147483647 h 1164"/>
                  <a:gd name="T100" fmla="*/ 2147483647 w 2514"/>
                  <a:gd name="T101" fmla="*/ 2147483647 h 1164"/>
                  <a:gd name="T102" fmla="*/ 2147483647 w 2514"/>
                  <a:gd name="T103" fmla="*/ 2147483647 h 1164"/>
                  <a:gd name="T104" fmla="*/ 2147483647 w 2514"/>
                  <a:gd name="T105" fmla="*/ 2147483647 h 1164"/>
                  <a:gd name="T106" fmla="*/ 2147483647 w 2514"/>
                  <a:gd name="T107" fmla="*/ 2147483647 h 1164"/>
                  <a:gd name="T108" fmla="*/ 2147483647 w 2514"/>
                  <a:gd name="T109" fmla="*/ 2147483647 h 1164"/>
                  <a:gd name="T110" fmla="*/ 2147483647 w 2514"/>
                  <a:gd name="T111" fmla="*/ 2147483647 h 1164"/>
                  <a:gd name="T112" fmla="*/ 2147483647 w 2514"/>
                  <a:gd name="T113" fmla="*/ 2147483647 h 1164"/>
                  <a:gd name="T114" fmla="*/ 2147483647 w 2514"/>
                  <a:gd name="T115" fmla="*/ 2147483647 h 1164"/>
                  <a:gd name="T116" fmla="*/ 2147483647 w 2514"/>
                  <a:gd name="T117" fmla="*/ 2147483647 h 1164"/>
                  <a:gd name="T118" fmla="*/ 2147483647 w 2514"/>
                  <a:gd name="T119" fmla="*/ 2147483647 h 1164"/>
                  <a:gd name="T120" fmla="*/ 2147483647 w 2514"/>
                  <a:gd name="T121" fmla="*/ 2147483647 h 1164"/>
                  <a:gd name="T122" fmla="*/ 2147483647 w 2514"/>
                  <a:gd name="T123" fmla="*/ 2147483647 h 116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514"/>
                  <a:gd name="T187" fmla="*/ 0 h 1164"/>
                  <a:gd name="T188" fmla="*/ 2514 w 2514"/>
                  <a:gd name="T189" fmla="*/ 1164 h 116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514" h="1164">
                    <a:moveTo>
                      <a:pt x="852" y="756"/>
                    </a:moveTo>
                    <a:lnTo>
                      <a:pt x="840" y="744"/>
                    </a:lnTo>
                    <a:lnTo>
                      <a:pt x="822" y="768"/>
                    </a:lnTo>
                    <a:lnTo>
                      <a:pt x="816" y="780"/>
                    </a:lnTo>
                    <a:lnTo>
                      <a:pt x="870" y="804"/>
                    </a:lnTo>
                    <a:lnTo>
                      <a:pt x="870" y="786"/>
                    </a:lnTo>
                    <a:lnTo>
                      <a:pt x="864" y="780"/>
                    </a:lnTo>
                    <a:lnTo>
                      <a:pt x="858" y="768"/>
                    </a:lnTo>
                    <a:lnTo>
                      <a:pt x="858" y="762"/>
                    </a:lnTo>
                    <a:lnTo>
                      <a:pt x="852" y="756"/>
                    </a:lnTo>
                    <a:close/>
                    <a:moveTo>
                      <a:pt x="2484" y="492"/>
                    </a:moveTo>
                    <a:lnTo>
                      <a:pt x="2484" y="486"/>
                    </a:lnTo>
                    <a:lnTo>
                      <a:pt x="2514" y="486"/>
                    </a:lnTo>
                    <a:lnTo>
                      <a:pt x="2478" y="444"/>
                    </a:lnTo>
                    <a:lnTo>
                      <a:pt x="2454" y="420"/>
                    </a:lnTo>
                    <a:lnTo>
                      <a:pt x="2442" y="456"/>
                    </a:lnTo>
                    <a:lnTo>
                      <a:pt x="2370" y="450"/>
                    </a:lnTo>
                    <a:lnTo>
                      <a:pt x="2370" y="444"/>
                    </a:lnTo>
                    <a:lnTo>
                      <a:pt x="2364" y="438"/>
                    </a:lnTo>
                    <a:lnTo>
                      <a:pt x="2358" y="426"/>
                    </a:lnTo>
                    <a:lnTo>
                      <a:pt x="2352" y="420"/>
                    </a:lnTo>
                    <a:lnTo>
                      <a:pt x="2346" y="408"/>
                    </a:lnTo>
                    <a:lnTo>
                      <a:pt x="2346" y="402"/>
                    </a:lnTo>
                    <a:lnTo>
                      <a:pt x="2340" y="402"/>
                    </a:lnTo>
                    <a:lnTo>
                      <a:pt x="2328" y="396"/>
                    </a:lnTo>
                    <a:lnTo>
                      <a:pt x="2316" y="396"/>
                    </a:lnTo>
                    <a:lnTo>
                      <a:pt x="2304" y="390"/>
                    </a:lnTo>
                    <a:lnTo>
                      <a:pt x="2292" y="390"/>
                    </a:lnTo>
                    <a:lnTo>
                      <a:pt x="2286" y="378"/>
                    </a:lnTo>
                    <a:lnTo>
                      <a:pt x="2274" y="372"/>
                    </a:lnTo>
                    <a:lnTo>
                      <a:pt x="2250" y="348"/>
                    </a:lnTo>
                    <a:lnTo>
                      <a:pt x="2226" y="336"/>
                    </a:lnTo>
                    <a:lnTo>
                      <a:pt x="2208" y="336"/>
                    </a:lnTo>
                    <a:lnTo>
                      <a:pt x="2196" y="342"/>
                    </a:lnTo>
                    <a:lnTo>
                      <a:pt x="2178" y="348"/>
                    </a:lnTo>
                    <a:lnTo>
                      <a:pt x="2166" y="354"/>
                    </a:lnTo>
                    <a:lnTo>
                      <a:pt x="2160" y="366"/>
                    </a:lnTo>
                    <a:lnTo>
                      <a:pt x="2136" y="366"/>
                    </a:lnTo>
                    <a:lnTo>
                      <a:pt x="2124" y="360"/>
                    </a:lnTo>
                    <a:lnTo>
                      <a:pt x="2118" y="348"/>
                    </a:lnTo>
                    <a:lnTo>
                      <a:pt x="2106" y="342"/>
                    </a:lnTo>
                    <a:lnTo>
                      <a:pt x="2076" y="342"/>
                    </a:lnTo>
                    <a:lnTo>
                      <a:pt x="2076" y="336"/>
                    </a:lnTo>
                    <a:lnTo>
                      <a:pt x="2070" y="330"/>
                    </a:lnTo>
                    <a:lnTo>
                      <a:pt x="2070" y="318"/>
                    </a:lnTo>
                    <a:lnTo>
                      <a:pt x="2064" y="312"/>
                    </a:lnTo>
                    <a:lnTo>
                      <a:pt x="2052" y="312"/>
                    </a:lnTo>
                    <a:lnTo>
                      <a:pt x="2052" y="318"/>
                    </a:lnTo>
                    <a:lnTo>
                      <a:pt x="2046" y="324"/>
                    </a:lnTo>
                    <a:lnTo>
                      <a:pt x="2046" y="336"/>
                    </a:lnTo>
                    <a:lnTo>
                      <a:pt x="2034" y="348"/>
                    </a:lnTo>
                    <a:lnTo>
                      <a:pt x="2022" y="354"/>
                    </a:lnTo>
                    <a:lnTo>
                      <a:pt x="2010" y="354"/>
                    </a:lnTo>
                    <a:lnTo>
                      <a:pt x="1998" y="348"/>
                    </a:lnTo>
                    <a:lnTo>
                      <a:pt x="1986" y="336"/>
                    </a:lnTo>
                    <a:lnTo>
                      <a:pt x="1974" y="318"/>
                    </a:lnTo>
                    <a:lnTo>
                      <a:pt x="1938" y="282"/>
                    </a:lnTo>
                    <a:lnTo>
                      <a:pt x="1920" y="258"/>
                    </a:lnTo>
                    <a:lnTo>
                      <a:pt x="1848" y="198"/>
                    </a:lnTo>
                    <a:lnTo>
                      <a:pt x="1818" y="168"/>
                    </a:lnTo>
                    <a:lnTo>
                      <a:pt x="1800" y="156"/>
                    </a:lnTo>
                    <a:lnTo>
                      <a:pt x="1788" y="150"/>
                    </a:lnTo>
                    <a:lnTo>
                      <a:pt x="1758" y="132"/>
                    </a:lnTo>
                    <a:lnTo>
                      <a:pt x="1728" y="120"/>
                    </a:lnTo>
                    <a:lnTo>
                      <a:pt x="1692" y="102"/>
                    </a:lnTo>
                    <a:lnTo>
                      <a:pt x="1698" y="102"/>
                    </a:lnTo>
                    <a:lnTo>
                      <a:pt x="1710" y="90"/>
                    </a:lnTo>
                    <a:lnTo>
                      <a:pt x="1710" y="72"/>
                    </a:lnTo>
                    <a:lnTo>
                      <a:pt x="1704" y="66"/>
                    </a:lnTo>
                    <a:lnTo>
                      <a:pt x="1698" y="66"/>
                    </a:lnTo>
                    <a:lnTo>
                      <a:pt x="1680" y="84"/>
                    </a:lnTo>
                    <a:lnTo>
                      <a:pt x="1644" y="96"/>
                    </a:lnTo>
                    <a:lnTo>
                      <a:pt x="1632" y="114"/>
                    </a:lnTo>
                    <a:lnTo>
                      <a:pt x="1620" y="114"/>
                    </a:lnTo>
                    <a:lnTo>
                      <a:pt x="1608" y="120"/>
                    </a:lnTo>
                    <a:lnTo>
                      <a:pt x="1602" y="126"/>
                    </a:lnTo>
                    <a:lnTo>
                      <a:pt x="1602" y="144"/>
                    </a:lnTo>
                    <a:lnTo>
                      <a:pt x="1590" y="156"/>
                    </a:lnTo>
                    <a:lnTo>
                      <a:pt x="1578" y="150"/>
                    </a:lnTo>
                    <a:lnTo>
                      <a:pt x="1572" y="144"/>
                    </a:lnTo>
                    <a:lnTo>
                      <a:pt x="1560" y="138"/>
                    </a:lnTo>
                    <a:lnTo>
                      <a:pt x="1554" y="132"/>
                    </a:lnTo>
                    <a:lnTo>
                      <a:pt x="1548" y="132"/>
                    </a:lnTo>
                    <a:lnTo>
                      <a:pt x="1542" y="138"/>
                    </a:lnTo>
                    <a:lnTo>
                      <a:pt x="1536" y="138"/>
                    </a:lnTo>
                    <a:lnTo>
                      <a:pt x="1530" y="144"/>
                    </a:lnTo>
                    <a:lnTo>
                      <a:pt x="1524" y="144"/>
                    </a:lnTo>
                    <a:lnTo>
                      <a:pt x="1524" y="138"/>
                    </a:lnTo>
                    <a:lnTo>
                      <a:pt x="1530" y="132"/>
                    </a:lnTo>
                    <a:lnTo>
                      <a:pt x="1530" y="108"/>
                    </a:lnTo>
                    <a:lnTo>
                      <a:pt x="1518" y="102"/>
                    </a:lnTo>
                    <a:lnTo>
                      <a:pt x="1512" y="102"/>
                    </a:lnTo>
                    <a:lnTo>
                      <a:pt x="1506" y="108"/>
                    </a:lnTo>
                    <a:lnTo>
                      <a:pt x="1482" y="96"/>
                    </a:lnTo>
                    <a:lnTo>
                      <a:pt x="1458" y="108"/>
                    </a:lnTo>
                    <a:lnTo>
                      <a:pt x="1434" y="72"/>
                    </a:lnTo>
                    <a:lnTo>
                      <a:pt x="1422" y="90"/>
                    </a:lnTo>
                    <a:lnTo>
                      <a:pt x="1404" y="90"/>
                    </a:lnTo>
                    <a:lnTo>
                      <a:pt x="1392" y="96"/>
                    </a:lnTo>
                    <a:lnTo>
                      <a:pt x="1374" y="96"/>
                    </a:lnTo>
                    <a:lnTo>
                      <a:pt x="1368" y="90"/>
                    </a:lnTo>
                    <a:lnTo>
                      <a:pt x="1368" y="48"/>
                    </a:lnTo>
                    <a:lnTo>
                      <a:pt x="1362" y="42"/>
                    </a:lnTo>
                    <a:lnTo>
                      <a:pt x="1350" y="42"/>
                    </a:lnTo>
                    <a:lnTo>
                      <a:pt x="1344" y="36"/>
                    </a:lnTo>
                    <a:lnTo>
                      <a:pt x="1338" y="24"/>
                    </a:lnTo>
                    <a:lnTo>
                      <a:pt x="1320" y="6"/>
                    </a:lnTo>
                    <a:lnTo>
                      <a:pt x="1314" y="6"/>
                    </a:lnTo>
                    <a:lnTo>
                      <a:pt x="1302" y="18"/>
                    </a:lnTo>
                    <a:lnTo>
                      <a:pt x="1290" y="18"/>
                    </a:lnTo>
                    <a:lnTo>
                      <a:pt x="1278" y="6"/>
                    </a:lnTo>
                    <a:lnTo>
                      <a:pt x="1260" y="6"/>
                    </a:lnTo>
                    <a:lnTo>
                      <a:pt x="1242" y="0"/>
                    </a:lnTo>
                    <a:lnTo>
                      <a:pt x="1218" y="0"/>
                    </a:lnTo>
                    <a:lnTo>
                      <a:pt x="1200" y="6"/>
                    </a:lnTo>
                    <a:lnTo>
                      <a:pt x="1188" y="12"/>
                    </a:lnTo>
                    <a:lnTo>
                      <a:pt x="1176" y="24"/>
                    </a:lnTo>
                    <a:lnTo>
                      <a:pt x="1176" y="36"/>
                    </a:lnTo>
                    <a:lnTo>
                      <a:pt x="1164" y="36"/>
                    </a:lnTo>
                    <a:lnTo>
                      <a:pt x="1110" y="54"/>
                    </a:lnTo>
                    <a:lnTo>
                      <a:pt x="1020" y="54"/>
                    </a:lnTo>
                    <a:lnTo>
                      <a:pt x="1014" y="60"/>
                    </a:lnTo>
                    <a:lnTo>
                      <a:pt x="1014" y="78"/>
                    </a:lnTo>
                    <a:lnTo>
                      <a:pt x="948" y="78"/>
                    </a:lnTo>
                    <a:lnTo>
                      <a:pt x="942" y="96"/>
                    </a:lnTo>
                    <a:lnTo>
                      <a:pt x="888" y="96"/>
                    </a:lnTo>
                    <a:lnTo>
                      <a:pt x="828" y="102"/>
                    </a:lnTo>
                    <a:lnTo>
                      <a:pt x="792" y="114"/>
                    </a:lnTo>
                    <a:lnTo>
                      <a:pt x="780" y="126"/>
                    </a:lnTo>
                    <a:lnTo>
                      <a:pt x="780" y="132"/>
                    </a:lnTo>
                    <a:lnTo>
                      <a:pt x="786" y="138"/>
                    </a:lnTo>
                    <a:lnTo>
                      <a:pt x="786" y="144"/>
                    </a:lnTo>
                    <a:lnTo>
                      <a:pt x="810" y="144"/>
                    </a:lnTo>
                    <a:lnTo>
                      <a:pt x="798" y="162"/>
                    </a:lnTo>
                    <a:lnTo>
                      <a:pt x="810" y="162"/>
                    </a:lnTo>
                    <a:lnTo>
                      <a:pt x="834" y="174"/>
                    </a:lnTo>
                    <a:lnTo>
                      <a:pt x="846" y="174"/>
                    </a:lnTo>
                    <a:lnTo>
                      <a:pt x="858" y="186"/>
                    </a:lnTo>
                    <a:lnTo>
                      <a:pt x="804" y="186"/>
                    </a:lnTo>
                    <a:lnTo>
                      <a:pt x="792" y="198"/>
                    </a:lnTo>
                    <a:lnTo>
                      <a:pt x="798" y="204"/>
                    </a:lnTo>
                    <a:lnTo>
                      <a:pt x="804" y="216"/>
                    </a:lnTo>
                    <a:lnTo>
                      <a:pt x="810" y="222"/>
                    </a:lnTo>
                    <a:lnTo>
                      <a:pt x="810" y="234"/>
                    </a:lnTo>
                    <a:lnTo>
                      <a:pt x="798" y="246"/>
                    </a:lnTo>
                    <a:lnTo>
                      <a:pt x="786" y="246"/>
                    </a:lnTo>
                    <a:lnTo>
                      <a:pt x="774" y="252"/>
                    </a:lnTo>
                    <a:lnTo>
                      <a:pt x="762" y="252"/>
                    </a:lnTo>
                    <a:lnTo>
                      <a:pt x="792" y="282"/>
                    </a:lnTo>
                    <a:lnTo>
                      <a:pt x="816" y="282"/>
                    </a:lnTo>
                    <a:lnTo>
                      <a:pt x="834" y="288"/>
                    </a:lnTo>
                    <a:lnTo>
                      <a:pt x="846" y="294"/>
                    </a:lnTo>
                    <a:lnTo>
                      <a:pt x="870" y="318"/>
                    </a:lnTo>
                    <a:lnTo>
                      <a:pt x="876" y="336"/>
                    </a:lnTo>
                    <a:lnTo>
                      <a:pt x="876" y="348"/>
                    </a:lnTo>
                    <a:lnTo>
                      <a:pt x="870" y="360"/>
                    </a:lnTo>
                    <a:lnTo>
                      <a:pt x="864" y="366"/>
                    </a:lnTo>
                    <a:lnTo>
                      <a:pt x="828" y="366"/>
                    </a:lnTo>
                    <a:lnTo>
                      <a:pt x="816" y="360"/>
                    </a:lnTo>
                    <a:lnTo>
                      <a:pt x="810" y="354"/>
                    </a:lnTo>
                    <a:lnTo>
                      <a:pt x="798" y="354"/>
                    </a:lnTo>
                    <a:lnTo>
                      <a:pt x="792" y="348"/>
                    </a:lnTo>
                    <a:lnTo>
                      <a:pt x="780" y="372"/>
                    </a:lnTo>
                    <a:lnTo>
                      <a:pt x="768" y="372"/>
                    </a:lnTo>
                    <a:lnTo>
                      <a:pt x="756" y="366"/>
                    </a:lnTo>
                    <a:lnTo>
                      <a:pt x="732" y="366"/>
                    </a:lnTo>
                    <a:lnTo>
                      <a:pt x="708" y="354"/>
                    </a:lnTo>
                    <a:lnTo>
                      <a:pt x="702" y="342"/>
                    </a:lnTo>
                    <a:lnTo>
                      <a:pt x="690" y="336"/>
                    </a:lnTo>
                    <a:lnTo>
                      <a:pt x="684" y="330"/>
                    </a:lnTo>
                    <a:lnTo>
                      <a:pt x="672" y="330"/>
                    </a:lnTo>
                    <a:lnTo>
                      <a:pt x="666" y="336"/>
                    </a:lnTo>
                    <a:lnTo>
                      <a:pt x="654" y="342"/>
                    </a:lnTo>
                    <a:lnTo>
                      <a:pt x="636" y="348"/>
                    </a:lnTo>
                    <a:lnTo>
                      <a:pt x="624" y="348"/>
                    </a:lnTo>
                    <a:lnTo>
                      <a:pt x="588" y="330"/>
                    </a:lnTo>
                    <a:lnTo>
                      <a:pt x="582" y="330"/>
                    </a:lnTo>
                    <a:lnTo>
                      <a:pt x="570" y="336"/>
                    </a:lnTo>
                    <a:lnTo>
                      <a:pt x="558" y="348"/>
                    </a:lnTo>
                    <a:lnTo>
                      <a:pt x="546" y="354"/>
                    </a:lnTo>
                    <a:lnTo>
                      <a:pt x="540" y="366"/>
                    </a:lnTo>
                    <a:lnTo>
                      <a:pt x="534" y="372"/>
                    </a:lnTo>
                    <a:lnTo>
                      <a:pt x="462" y="336"/>
                    </a:lnTo>
                    <a:lnTo>
                      <a:pt x="450" y="336"/>
                    </a:lnTo>
                    <a:lnTo>
                      <a:pt x="450" y="342"/>
                    </a:lnTo>
                    <a:lnTo>
                      <a:pt x="462" y="354"/>
                    </a:lnTo>
                    <a:lnTo>
                      <a:pt x="462" y="372"/>
                    </a:lnTo>
                    <a:lnTo>
                      <a:pt x="450" y="372"/>
                    </a:lnTo>
                    <a:lnTo>
                      <a:pt x="438" y="360"/>
                    </a:lnTo>
                    <a:lnTo>
                      <a:pt x="438" y="354"/>
                    </a:lnTo>
                    <a:lnTo>
                      <a:pt x="426" y="324"/>
                    </a:lnTo>
                    <a:lnTo>
                      <a:pt x="390" y="324"/>
                    </a:lnTo>
                    <a:lnTo>
                      <a:pt x="384" y="312"/>
                    </a:lnTo>
                    <a:lnTo>
                      <a:pt x="384" y="306"/>
                    </a:lnTo>
                    <a:lnTo>
                      <a:pt x="378" y="300"/>
                    </a:lnTo>
                    <a:lnTo>
                      <a:pt x="318" y="300"/>
                    </a:lnTo>
                    <a:lnTo>
                      <a:pt x="312" y="288"/>
                    </a:lnTo>
                    <a:lnTo>
                      <a:pt x="306" y="282"/>
                    </a:lnTo>
                    <a:lnTo>
                      <a:pt x="288" y="282"/>
                    </a:lnTo>
                    <a:lnTo>
                      <a:pt x="276" y="288"/>
                    </a:lnTo>
                    <a:lnTo>
                      <a:pt x="264" y="300"/>
                    </a:lnTo>
                    <a:lnTo>
                      <a:pt x="234" y="300"/>
                    </a:lnTo>
                    <a:lnTo>
                      <a:pt x="228" y="294"/>
                    </a:lnTo>
                    <a:lnTo>
                      <a:pt x="228" y="288"/>
                    </a:lnTo>
                    <a:lnTo>
                      <a:pt x="222" y="288"/>
                    </a:lnTo>
                    <a:lnTo>
                      <a:pt x="210" y="282"/>
                    </a:lnTo>
                    <a:lnTo>
                      <a:pt x="180" y="282"/>
                    </a:lnTo>
                    <a:lnTo>
                      <a:pt x="180" y="288"/>
                    </a:lnTo>
                    <a:lnTo>
                      <a:pt x="186" y="294"/>
                    </a:lnTo>
                    <a:lnTo>
                      <a:pt x="186" y="312"/>
                    </a:lnTo>
                    <a:lnTo>
                      <a:pt x="174" y="324"/>
                    </a:lnTo>
                    <a:lnTo>
                      <a:pt x="162" y="330"/>
                    </a:lnTo>
                    <a:lnTo>
                      <a:pt x="150" y="330"/>
                    </a:lnTo>
                    <a:lnTo>
                      <a:pt x="138" y="336"/>
                    </a:lnTo>
                    <a:lnTo>
                      <a:pt x="132" y="336"/>
                    </a:lnTo>
                    <a:lnTo>
                      <a:pt x="132" y="360"/>
                    </a:lnTo>
                    <a:lnTo>
                      <a:pt x="102" y="372"/>
                    </a:lnTo>
                    <a:lnTo>
                      <a:pt x="114" y="384"/>
                    </a:lnTo>
                    <a:lnTo>
                      <a:pt x="120" y="396"/>
                    </a:lnTo>
                    <a:lnTo>
                      <a:pt x="114" y="402"/>
                    </a:lnTo>
                    <a:lnTo>
                      <a:pt x="108" y="414"/>
                    </a:lnTo>
                    <a:lnTo>
                      <a:pt x="102" y="420"/>
                    </a:lnTo>
                    <a:lnTo>
                      <a:pt x="90" y="420"/>
                    </a:lnTo>
                    <a:lnTo>
                      <a:pt x="78" y="414"/>
                    </a:lnTo>
                    <a:lnTo>
                      <a:pt x="72" y="402"/>
                    </a:lnTo>
                    <a:lnTo>
                      <a:pt x="60" y="396"/>
                    </a:lnTo>
                    <a:lnTo>
                      <a:pt x="48" y="384"/>
                    </a:lnTo>
                    <a:lnTo>
                      <a:pt x="36" y="378"/>
                    </a:lnTo>
                    <a:lnTo>
                      <a:pt x="24" y="378"/>
                    </a:lnTo>
                    <a:lnTo>
                      <a:pt x="18" y="384"/>
                    </a:lnTo>
                    <a:lnTo>
                      <a:pt x="18" y="396"/>
                    </a:lnTo>
                    <a:lnTo>
                      <a:pt x="24" y="402"/>
                    </a:lnTo>
                    <a:lnTo>
                      <a:pt x="24" y="426"/>
                    </a:lnTo>
                    <a:lnTo>
                      <a:pt x="0" y="426"/>
                    </a:lnTo>
                    <a:lnTo>
                      <a:pt x="6" y="462"/>
                    </a:lnTo>
                    <a:lnTo>
                      <a:pt x="12" y="468"/>
                    </a:lnTo>
                    <a:lnTo>
                      <a:pt x="12" y="492"/>
                    </a:lnTo>
                    <a:lnTo>
                      <a:pt x="0" y="516"/>
                    </a:lnTo>
                    <a:lnTo>
                      <a:pt x="0" y="546"/>
                    </a:lnTo>
                    <a:lnTo>
                      <a:pt x="6" y="546"/>
                    </a:lnTo>
                    <a:lnTo>
                      <a:pt x="12" y="552"/>
                    </a:lnTo>
                    <a:lnTo>
                      <a:pt x="36" y="552"/>
                    </a:lnTo>
                    <a:lnTo>
                      <a:pt x="42" y="558"/>
                    </a:lnTo>
                    <a:lnTo>
                      <a:pt x="42" y="588"/>
                    </a:lnTo>
                    <a:lnTo>
                      <a:pt x="48" y="594"/>
                    </a:lnTo>
                    <a:lnTo>
                      <a:pt x="90" y="594"/>
                    </a:lnTo>
                    <a:lnTo>
                      <a:pt x="102" y="588"/>
                    </a:lnTo>
                    <a:lnTo>
                      <a:pt x="114" y="588"/>
                    </a:lnTo>
                    <a:lnTo>
                      <a:pt x="162" y="636"/>
                    </a:lnTo>
                    <a:lnTo>
                      <a:pt x="168" y="648"/>
                    </a:lnTo>
                    <a:lnTo>
                      <a:pt x="180" y="660"/>
                    </a:lnTo>
                    <a:lnTo>
                      <a:pt x="180" y="672"/>
                    </a:lnTo>
                    <a:lnTo>
                      <a:pt x="144" y="672"/>
                    </a:lnTo>
                    <a:lnTo>
                      <a:pt x="144" y="678"/>
                    </a:lnTo>
                    <a:lnTo>
                      <a:pt x="156" y="690"/>
                    </a:lnTo>
                    <a:lnTo>
                      <a:pt x="174" y="696"/>
                    </a:lnTo>
                    <a:lnTo>
                      <a:pt x="186" y="696"/>
                    </a:lnTo>
                    <a:lnTo>
                      <a:pt x="192" y="702"/>
                    </a:lnTo>
                    <a:lnTo>
                      <a:pt x="198" y="702"/>
                    </a:lnTo>
                    <a:lnTo>
                      <a:pt x="204" y="690"/>
                    </a:lnTo>
                    <a:lnTo>
                      <a:pt x="222" y="690"/>
                    </a:lnTo>
                    <a:lnTo>
                      <a:pt x="228" y="684"/>
                    </a:lnTo>
                    <a:lnTo>
                      <a:pt x="246" y="672"/>
                    </a:lnTo>
                    <a:lnTo>
                      <a:pt x="306" y="648"/>
                    </a:lnTo>
                    <a:lnTo>
                      <a:pt x="324" y="642"/>
                    </a:lnTo>
                    <a:lnTo>
                      <a:pt x="336" y="648"/>
                    </a:lnTo>
                    <a:lnTo>
                      <a:pt x="342" y="654"/>
                    </a:lnTo>
                    <a:lnTo>
                      <a:pt x="360" y="666"/>
                    </a:lnTo>
                    <a:lnTo>
                      <a:pt x="366" y="672"/>
                    </a:lnTo>
                    <a:lnTo>
                      <a:pt x="384" y="672"/>
                    </a:lnTo>
                    <a:lnTo>
                      <a:pt x="390" y="666"/>
                    </a:lnTo>
                    <a:lnTo>
                      <a:pt x="402" y="666"/>
                    </a:lnTo>
                    <a:lnTo>
                      <a:pt x="408" y="660"/>
                    </a:lnTo>
                    <a:lnTo>
                      <a:pt x="414" y="666"/>
                    </a:lnTo>
                    <a:lnTo>
                      <a:pt x="426" y="672"/>
                    </a:lnTo>
                    <a:lnTo>
                      <a:pt x="450" y="696"/>
                    </a:lnTo>
                    <a:lnTo>
                      <a:pt x="450" y="726"/>
                    </a:lnTo>
                    <a:lnTo>
                      <a:pt x="444" y="732"/>
                    </a:lnTo>
                    <a:lnTo>
                      <a:pt x="444" y="738"/>
                    </a:lnTo>
                    <a:lnTo>
                      <a:pt x="438" y="744"/>
                    </a:lnTo>
                    <a:lnTo>
                      <a:pt x="438" y="750"/>
                    </a:lnTo>
                    <a:lnTo>
                      <a:pt x="444" y="756"/>
                    </a:lnTo>
                    <a:lnTo>
                      <a:pt x="450" y="768"/>
                    </a:lnTo>
                    <a:lnTo>
                      <a:pt x="462" y="774"/>
                    </a:lnTo>
                    <a:lnTo>
                      <a:pt x="474" y="786"/>
                    </a:lnTo>
                    <a:lnTo>
                      <a:pt x="486" y="786"/>
                    </a:lnTo>
                    <a:lnTo>
                      <a:pt x="504" y="768"/>
                    </a:lnTo>
                    <a:lnTo>
                      <a:pt x="516" y="762"/>
                    </a:lnTo>
                    <a:lnTo>
                      <a:pt x="528" y="762"/>
                    </a:lnTo>
                    <a:lnTo>
                      <a:pt x="528" y="792"/>
                    </a:lnTo>
                    <a:lnTo>
                      <a:pt x="546" y="810"/>
                    </a:lnTo>
                    <a:lnTo>
                      <a:pt x="510" y="816"/>
                    </a:lnTo>
                    <a:lnTo>
                      <a:pt x="510" y="828"/>
                    </a:lnTo>
                    <a:lnTo>
                      <a:pt x="504" y="834"/>
                    </a:lnTo>
                    <a:lnTo>
                      <a:pt x="498" y="834"/>
                    </a:lnTo>
                    <a:lnTo>
                      <a:pt x="486" y="822"/>
                    </a:lnTo>
                    <a:lnTo>
                      <a:pt x="486" y="816"/>
                    </a:lnTo>
                    <a:lnTo>
                      <a:pt x="498" y="804"/>
                    </a:lnTo>
                    <a:lnTo>
                      <a:pt x="504" y="804"/>
                    </a:lnTo>
                    <a:lnTo>
                      <a:pt x="510" y="798"/>
                    </a:lnTo>
                    <a:lnTo>
                      <a:pt x="480" y="798"/>
                    </a:lnTo>
                    <a:lnTo>
                      <a:pt x="462" y="792"/>
                    </a:lnTo>
                    <a:lnTo>
                      <a:pt x="450" y="792"/>
                    </a:lnTo>
                    <a:lnTo>
                      <a:pt x="432" y="786"/>
                    </a:lnTo>
                    <a:lnTo>
                      <a:pt x="408" y="786"/>
                    </a:lnTo>
                    <a:lnTo>
                      <a:pt x="390" y="780"/>
                    </a:lnTo>
                    <a:lnTo>
                      <a:pt x="372" y="780"/>
                    </a:lnTo>
                    <a:lnTo>
                      <a:pt x="360" y="774"/>
                    </a:lnTo>
                    <a:lnTo>
                      <a:pt x="348" y="774"/>
                    </a:lnTo>
                    <a:lnTo>
                      <a:pt x="360" y="804"/>
                    </a:lnTo>
                    <a:lnTo>
                      <a:pt x="342" y="804"/>
                    </a:lnTo>
                    <a:lnTo>
                      <a:pt x="330" y="816"/>
                    </a:lnTo>
                    <a:lnTo>
                      <a:pt x="330" y="822"/>
                    </a:lnTo>
                    <a:lnTo>
                      <a:pt x="336" y="828"/>
                    </a:lnTo>
                    <a:lnTo>
                      <a:pt x="348" y="834"/>
                    </a:lnTo>
                    <a:lnTo>
                      <a:pt x="354" y="840"/>
                    </a:lnTo>
                    <a:lnTo>
                      <a:pt x="366" y="840"/>
                    </a:lnTo>
                    <a:lnTo>
                      <a:pt x="372" y="846"/>
                    </a:lnTo>
                    <a:lnTo>
                      <a:pt x="372" y="852"/>
                    </a:lnTo>
                    <a:lnTo>
                      <a:pt x="360" y="852"/>
                    </a:lnTo>
                    <a:lnTo>
                      <a:pt x="348" y="846"/>
                    </a:lnTo>
                    <a:lnTo>
                      <a:pt x="336" y="846"/>
                    </a:lnTo>
                    <a:lnTo>
                      <a:pt x="324" y="840"/>
                    </a:lnTo>
                    <a:lnTo>
                      <a:pt x="306" y="834"/>
                    </a:lnTo>
                    <a:lnTo>
                      <a:pt x="300" y="834"/>
                    </a:lnTo>
                    <a:lnTo>
                      <a:pt x="294" y="840"/>
                    </a:lnTo>
                    <a:lnTo>
                      <a:pt x="294" y="846"/>
                    </a:lnTo>
                    <a:lnTo>
                      <a:pt x="306" y="858"/>
                    </a:lnTo>
                    <a:lnTo>
                      <a:pt x="318" y="864"/>
                    </a:lnTo>
                    <a:lnTo>
                      <a:pt x="324" y="870"/>
                    </a:lnTo>
                    <a:lnTo>
                      <a:pt x="336" y="870"/>
                    </a:lnTo>
                    <a:lnTo>
                      <a:pt x="336" y="882"/>
                    </a:lnTo>
                    <a:lnTo>
                      <a:pt x="342" y="894"/>
                    </a:lnTo>
                    <a:lnTo>
                      <a:pt x="366" y="918"/>
                    </a:lnTo>
                    <a:lnTo>
                      <a:pt x="372" y="930"/>
                    </a:lnTo>
                    <a:lnTo>
                      <a:pt x="372" y="954"/>
                    </a:lnTo>
                    <a:lnTo>
                      <a:pt x="408" y="960"/>
                    </a:lnTo>
                    <a:lnTo>
                      <a:pt x="414" y="978"/>
                    </a:lnTo>
                    <a:lnTo>
                      <a:pt x="444" y="978"/>
                    </a:lnTo>
                    <a:lnTo>
                      <a:pt x="480" y="996"/>
                    </a:lnTo>
                    <a:lnTo>
                      <a:pt x="486" y="1002"/>
                    </a:lnTo>
                    <a:lnTo>
                      <a:pt x="486" y="1014"/>
                    </a:lnTo>
                    <a:lnTo>
                      <a:pt x="480" y="1020"/>
                    </a:lnTo>
                    <a:lnTo>
                      <a:pt x="468" y="1026"/>
                    </a:lnTo>
                    <a:lnTo>
                      <a:pt x="462" y="1038"/>
                    </a:lnTo>
                    <a:lnTo>
                      <a:pt x="462" y="1056"/>
                    </a:lnTo>
                    <a:lnTo>
                      <a:pt x="468" y="1062"/>
                    </a:lnTo>
                    <a:lnTo>
                      <a:pt x="492" y="1062"/>
                    </a:lnTo>
                    <a:lnTo>
                      <a:pt x="498" y="1056"/>
                    </a:lnTo>
                    <a:lnTo>
                      <a:pt x="504" y="1038"/>
                    </a:lnTo>
                    <a:lnTo>
                      <a:pt x="510" y="1026"/>
                    </a:lnTo>
                    <a:lnTo>
                      <a:pt x="516" y="1020"/>
                    </a:lnTo>
                    <a:lnTo>
                      <a:pt x="528" y="1020"/>
                    </a:lnTo>
                    <a:lnTo>
                      <a:pt x="546" y="1026"/>
                    </a:lnTo>
                    <a:lnTo>
                      <a:pt x="546" y="1020"/>
                    </a:lnTo>
                    <a:lnTo>
                      <a:pt x="552" y="1014"/>
                    </a:lnTo>
                    <a:lnTo>
                      <a:pt x="570" y="1014"/>
                    </a:lnTo>
                    <a:lnTo>
                      <a:pt x="594" y="1026"/>
                    </a:lnTo>
                    <a:lnTo>
                      <a:pt x="606" y="1026"/>
                    </a:lnTo>
                    <a:lnTo>
                      <a:pt x="618" y="1038"/>
                    </a:lnTo>
                    <a:lnTo>
                      <a:pt x="630" y="1044"/>
                    </a:lnTo>
                    <a:lnTo>
                      <a:pt x="636" y="1056"/>
                    </a:lnTo>
                    <a:lnTo>
                      <a:pt x="642" y="1062"/>
                    </a:lnTo>
                    <a:lnTo>
                      <a:pt x="648" y="1074"/>
                    </a:lnTo>
                    <a:lnTo>
                      <a:pt x="672" y="1098"/>
                    </a:lnTo>
                    <a:lnTo>
                      <a:pt x="684" y="1104"/>
                    </a:lnTo>
                    <a:lnTo>
                      <a:pt x="690" y="1110"/>
                    </a:lnTo>
                    <a:lnTo>
                      <a:pt x="696" y="1104"/>
                    </a:lnTo>
                    <a:lnTo>
                      <a:pt x="696" y="1098"/>
                    </a:lnTo>
                    <a:lnTo>
                      <a:pt x="702" y="1092"/>
                    </a:lnTo>
                    <a:lnTo>
                      <a:pt x="654" y="810"/>
                    </a:lnTo>
                    <a:lnTo>
                      <a:pt x="798" y="768"/>
                    </a:lnTo>
                    <a:lnTo>
                      <a:pt x="804" y="774"/>
                    </a:lnTo>
                    <a:lnTo>
                      <a:pt x="804" y="762"/>
                    </a:lnTo>
                    <a:lnTo>
                      <a:pt x="810" y="756"/>
                    </a:lnTo>
                    <a:lnTo>
                      <a:pt x="810" y="750"/>
                    </a:lnTo>
                    <a:lnTo>
                      <a:pt x="816" y="738"/>
                    </a:lnTo>
                    <a:lnTo>
                      <a:pt x="816" y="732"/>
                    </a:lnTo>
                    <a:lnTo>
                      <a:pt x="822" y="726"/>
                    </a:lnTo>
                    <a:lnTo>
                      <a:pt x="846" y="726"/>
                    </a:lnTo>
                    <a:lnTo>
                      <a:pt x="852" y="750"/>
                    </a:lnTo>
                    <a:lnTo>
                      <a:pt x="864" y="744"/>
                    </a:lnTo>
                    <a:lnTo>
                      <a:pt x="870" y="744"/>
                    </a:lnTo>
                    <a:lnTo>
                      <a:pt x="876" y="738"/>
                    </a:lnTo>
                    <a:lnTo>
                      <a:pt x="876" y="732"/>
                    </a:lnTo>
                    <a:lnTo>
                      <a:pt x="852" y="708"/>
                    </a:lnTo>
                    <a:lnTo>
                      <a:pt x="870" y="708"/>
                    </a:lnTo>
                    <a:lnTo>
                      <a:pt x="882" y="720"/>
                    </a:lnTo>
                    <a:lnTo>
                      <a:pt x="936" y="720"/>
                    </a:lnTo>
                    <a:lnTo>
                      <a:pt x="924" y="708"/>
                    </a:lnTo>
                    <a:lnTo>
                      <a:pt x="918" y="708"/>
                    </a:lnTo>
                    <a:lnTo>
                      <a:pt x="906" y="696"/>
                    </a:lnTo>
                    <a:lnTo>
                      <a:pt x="882" y="696"/>
                    </a:lnTo>
                    <a:lnTo>
                      <a:pt x="876" y="690"/>
                    </a:lnTo>
                    <a:lnTo>
                      <a:pt x="876" y="684"/>
                    </a:lnTo>
                    <a:lnTo>
                      <a:pt x="882" y="678"/>
                    </a:lnTo>
                    <a:lnTo>
                      <a:pt x="906" y="678"/>
                    </a:lnTo>
                    <a:lnTo>
                      <a:pt x="924" y="666"/>
                    </a:lnTo>
                    <a:lnTo>
                      <a:pt x="930" y="672"/>
                    </a:lnTo>
                    <a:lnTo>
                      <a:pt x="936" y="684"/>
                    </a:lnTo>
                    <a:lnTo>
                      <a:pt x="942" y="690"/>
                    </a:lnTo>
                    <a:lnTo>
                      <a:pt x="948" y="690"/>
                    </a:lnTo>
                    <a:lnTo>
                      <a:pt x="954" y="684"/>
                    </a:lnTo>
                    <a:lnTo>
                      <a:pt x="960" y="690"/>
                    </a:lnTo>
                    <a:lnTo>
                      <a:pt x="966" y="702"/>
                    </a:lnTo>
                    <a:lnTo>
                      <a:pt x="966" y="708"/>
                    </a:lnTo>
                    <a:lnTo>
                      <a:pt x="960" y="714"/>
                    </a:lnTo>
                    <a:lnTo>
                      <a:pt x="954" y="714"/>
                    </a:lnTo>
                    <a:lnTo>
                      <a:pt x="942" y="720"/>
                    </a:lnTo>
                    <a:lnTo>
                      <a:pt x="924" y="738"/>
                    </a:lnTo>
                    <a:lnTo>
                      <a:pt x="888" y="738"/>
                    </a:lnTo>
                    <a:lnTo>
                      <a:pt x="882" y="744"/>
                    </a:lnTo>
                    <a:lnTo>
                      <a:pt x="882" y="756"/>
                    </a:lnTo>
                    <a:lnTo>
                      <a:pt x="888" y="762"/>
                    </a:lnTo>
                    <a:lnTo>
                      <a:pt x="900" y="762"/>
                    </a:lnTo>
                    <a:lnTo>
                      <a:pt x="906" y="768"/>
                    </a:lnTo>
                    <a:lnTo>
                      <a:pt x="918" y="768"/>
                    </a:lnTo>
                    <a:lnTo>
                      <a:pt x="918" y="786"/>
                    </a:lnTo>
                    <a:lnTo>
                      <a:pt x="912" y="798"/>
                    </a:lnTo>
                    <a:lnTo>
                      <a:pt x="912" y="816"/>
                    </a:lnTo>
                    <a:lnTo>
                      <a:pt x="918" y="822"/>
                    </a:lnTo>
                    <a:lnTo>
                      <a:pt x="984" y="858"/>
                    </a:lnTo>
                    <a:lnTo>
                      <a:pt x="1062" y="930"/>
                    </a:lnTo>
                    <a:lnTo>
                      <a:pt x="1068" y="930"/>
                    </a:lnTo>
                    <a:lnTo>
                      <a:pt x="1074" y="924"/>
                    </a:lnTo>
                    <a:lnTo>
                      <a:pt x="1110" y="924"/>
                    </a:lnTo>
                    <a:lnTo>
                      <a:pt x="1128" y="918"/>
                    </a:lnTo>
                    <a:lnTo>
                      <a:pt x="1188" y="918"/>
                    </a:lnTo>
                    <a:lnTo>
                      <a:pt x="1206" y="924"/>
                    </a:lnTo>
                    <a:lnTo>
                      <a:pt x="1224" y="924"/>
                    </a:lnTo>
                    <a:lnTo>
                      <a:pt x="1230" y="918"/>
                    </a:lnTo>
                    <a:lnTo>
                      <a:pt x="1254" y="906"/>
                    </a:lnTo>
                    <a:lnTo>
                      <a:pt x="1266" y="906"/>
                    </a:lnTo>
                    <a:lnTo>
                      <a:pt x="1272" y="918"/>
                    </a:lnTo>
                    <a:lnTo>
                      <a:pt x="1290" y="936"/>
                    </a:lnTo>
                    <a:lnTo>
                      <a:pt x="1296" y="954"/>
                    </a:lnTo>
                    <a:lnTo>
                      <a:pt x="1308" y="960"/>
                    </a:lnTo>
                    <a:lnTo>
                      <a:pt x="1314" y="972"/>
                    </a:lnTo>
                    <a:lnTo>
                      <a:pt x="1344" y="972"/>
                    </a:lnTo>
                    <a:lnTo>
                      <a:pt x="1344" y="984"/>
                    </a:lnTo>
                    <a:lnTo>
                      <a:pt x="1350" y="1002"/>
                    </a:lnTo>
                    <a:lnTo>
                      <a:pt x="1350" y="1044"/>
                    </a:lnTo>
                    <a:lnTo>
                      <a:pt x="1356" y="1050"/>
                    </a:lnTo>
                    <a:lnTo>
                      <a:pt x="1362" y="1050"/>
                    </a:lnTo>
                    <a:lnTo>
                      <a:pt x="1368" y="1044"/>
                    </a:lnTo>
                    <a:lnTo>
                      <a:pt x="1380" y="1044"/>
                    </a:lnTo>
                    <a:lnTo>
                      <a:pt x="1386" y="1050"/>
                    </a:lnTo>
                    <a:lnTo>
                      <a:pt x="1416" y="1110"/>
                    </a:lnTo>
                    <a:lnTo>
                      <a:pt x="1494" y="1110"/>
                    </a:lnTo>
                    <a:lnTo>
                      <a:pt x="1512" y="1116"/>
                    </a:lnTo>
                    <a:lnTo>
                      <a:pt x="1512" y="1134"/>
                    </a:lnTo>
                    <a:lnTo>
                      <a:pt x="1506" y="1140"/>
                    </a:lnTo>
                    <a:lnTo>
                      <a:pt x="1506" y="1152"/>
                    </a:lnTo>
                    <a:lnTo>
                      <a:pt x="1512" y="1152"/>
                    </a:lnTo>
                    <a:lnTo>
                      <a:pt x="1524" y="1158"/>
                    </a:lnTo>
                    <a:lnTo>
                      <a:pt x="1536" y="1158"/>
                    </a:lnTo>
                    <a:lnTo>
                      <a:pt x="1542" y="1164"/>
                    </a:lnTo>
                    <a:lnTo>
                      <a:pt x="1542" y="1152"/>
                    </a:lnTo>
                    <a:lnTo>
                      <a:pt x="1536" y="1146"/>
                    </a:lnTo>
                    <a:lnTo>
                      <a:pt x="1536" y="1134"/>
                    </a:lnTo>
                    <a:lnTo>
                      <a:pt x="1548" y="1122"/>
                    </a:lnTo>
                    <a:lnTo>
                      <a:pt x="1560" y="1116"/>
                    </a:lnTo>
                    <a:lnTo>
                      <a:pt x="1566" y="1110"/>
                    </a:lnTo>
                    <a:lnTo>
                      <a:pt x="1572" y="1110"/>
                    </a:lnTo>
                    <a:lnTo>
                      <a:pt x="1572" y="1092"/>
                    </a:lnTo>
                    <a:lnTo>
                      <a:pt x="1584" y="1080"/>
                    </a:lnTo>
                    <a:lnTo>
                      <a:pt x="1596" y="1074"/>
                    </a:lnTo>
                    <a:lnTo>
                      <a:pt x="1608" y="1074"/>
                    </a:lnTo>
                    <a:lnTo>
                      <a:pt x="1614" y="1068"/>
                    </a:lnTo>
                    <a:lnTo>
                      <a:pt x="1620" y="1068"/>
                    </a:lnTo>
                    <a:lnTo>
                      <a:pt x="1632" y="1044"/>
                    </a:lnTo>
                    <a:lnTo>
                      <a:pt x="1656" y="1044"/>
                    </a:lnTo>
                    <a:lnTo>
                      <a:pt x="1686" y="1026"/>
                    </a:lnTo>
                    <a:lnTo>
                      <a:pt x="1662" y="1026"/>
                    </a:lnTo>
                    <a:lnTo>
                      <a:pt x="1662" y="1008"/>
                    </a:lnTo>
                    <a:lnTo>
                      <a:pt x="1668" y="996"/>
                    </a:lnTo>
                    <a:lnTo>
                      <a:pt x="1686" y="978"/>
                    </a:lnTo>
                    <a:lnTo>
                      <a:pt x="1716" y="978"/>
                    </a:lnTo>
                    <a:lnTo>
                      <a:pt x="1728" y="984"/>
                    </a:lnTo>
                    <a:lnTo>
                      <a:pt x="1746" y="990"/>
                    </a:lnTo>
                    <a:lnTo>
                      <a:pt x="1782" y="1008"/>
                    </a:lnTo>
                    <a:lnTo>
                      <a:pt x="1812" y="1008"/>
                    </a:lnTo>
                    <a:lnTo>
                      <a:pt x="1830" y="1014"/>
                    </a:lnTo>
                    <a:lnTo>
                      <a:pt x="1830" y="1002"/>
                    </a:lnTo>
                    <a:lnTo>
                      <a:pt x="1824" y="990"/>
                    </a:lnTo>
                    <a:lnTo>
                      <a:pt x="1824" y="960"/>
                    </a:lnTo>
                    <a:lnTo>
                      <a:pt x="1830" y="954"/>
                    </a:lnTo>
                    <a:lnTo>
                      <a:pt x="1872" y="954"/>
                    </a:lnTo>
                    <a:lnTo>
                      <a:pt x="1884" y="960"/>
                    </a:lnTo>
                    <a:lnTo>
                      <a:pt x="1890" y="972"/>
                    </a:lnTo>
                    <a:lnTo>
                      <a:pt x="1914" y="972"/>
                    </a:lnTo>
                    <a:lnTo>
                      <a:pt x="1926" y="978"/>
                    </a:lnTo>
                    <a:lnTo>
                      <a:pt x="1944" y="978"/>
                    </a:lnTo>
                    <a:lnTo>
                      <a:pt x="1962" y="972"/>
                    </a:lnTo>
                    <a:lnTo>
                      <a:pt x="2082" y="972"/>
                    </a:lnTo>
                    <a:lnTo>
                      <a:pt x="2094" y="978"/>
                    </a:lnTo>
                    <a:lnTo>
                      <a:pt x="2106" y="978"/>
                    </a:lnTo>
                    <a:lnTo>
                      <a:pt x="2154" y="972"/>
                    </a:lnTo>
                    <a:lnTo>
                      <a:pt x="2166" y="984"/>
                    </a:lnTo>
                    <a:lnTo>
                      <a:pt x="2184" y="984"/>
                    </a:lnTo>
                    <a:lnTo>
                      <a:pt x="2208" y="1014"/>
                    </a:lnTo>
                    <a:lnTo>
                      <a:pt x="2250" y="1014"/>
                    </a:lnTo>
                    <a:lnTo>
                      <a:pt x="2268" y="1020"/>
                    </a:lnTo>
                    <a:lnTo>
                      <a:pt x="2262" y="1014"/>
                    </a:lnTo>
                    <a:lnTo>
                      <a:pt x="2262" y="1002"/>
                    </a:lnTo>
                    <a:lnTo>
                      <a:pt x="2256" y="996"/>
                    </a:lnTo>
                    <a:lnTo>
                      <a:pt x="2256" y="984"/>
                    </a:lnTo>
                    <a:lnTo>
                      <a:pt x="2280" y="984"/>
                    </a:lnTo>
                    <a:lnTo>
                      <a:pt x="2262" y="966"/>
                    </a:lnTo>
                    <a:lnTo>
                      <a:pt x="2262" y="960"/>
                    </a:lnTo>
                    <a:lnTo>
                      <a:pt x="2268" y="954"/>
                    </a:lnTo>
                    <a:lnTo>
                      <a:pt x="2286" y="954"/>
                    </a:lnTo>
                    <a:lnTo>
                      <a:pt x="2286" y="942"/>
                    </a:lnTo>
                    <a:lnTo>
                      <a:pt x="2274" y="936"/>
                    </a:lnTo>
                    <a:lnTo>
                      <a:pt x="2268" y="924"/>
                    </a:lnTo>
                    <a:lnTo>
                      <a:pt x="2226" y="882"/>
                    </a:lnTo>
                    <a:lnTo>
                      <a:pt x="2214" y="858"/>
                    </a:lnTo>
                    <a:lnTo>
                      <a:pt x="2214" y="828"/>
                    </a:lnTo>
                    <a:lnTo>
                      <a:pt x="2196" y="828"/>
                    </a:lnTo>
                    <a:lnTo>
                      <a:pt x="2184" y="822"/>
                    </a:lnTo>
                    <a:lnTo>
                      <a:pt x="2178" y="816"/>
                    </a:lnTo>
                    <a:lnTo>
                      <a:pt x="2178" y="810"/>
                    </a:lnTo>
                    <a:lnTo>
                      <a:pt x="2184" y="804"/>
                    </a:lnTo>
                    <a:lnTo>
                      <a:pt x="2196" y="798"/>
                    </a:lnTo>
                    <a:lnTo>
                      <a:pt x="2208" y="798"/>
                    </a:lnTo>
                    <a:lnTo>
                      <a:pt x="2220" y="792"/>
                    </a:lnTo>
                    <a:lnTo>
                      <a:pt x="2232" y="792"/>
                    </a:lnTo>
                    <a:lnTo>
                      <a:pt x="2268" y="774"/>
                    </a:lnTo>
                    <a:lnTo>
                      <a:pt x="2280" y="774"/>
                    </a:lnTo>
                    <a:lnTo>
                      <a:pt x="2286" y="780"/>
                    </a:lnTo>
                    <a:lnTo>
                      <a:pt x="2292" y="792"/>
                    </a:lnTo>
                    <a:lnTo>
                      <a:pt x="2298" y="798"/>
                    </a:lnTo>
                    <a:lnTo>
                      <a:pt x="2316" y="786"/>
                    </a:lnTo>
                    <a:lnTo>
                      <a:pt x="2328" y="798"/>
                    </a:lnTo>
                    <a:lnTo>
                      <a:pt x="2334" y="798"/>
                    </a:lnTo>
                    <a:lnTo>
                      <a:pt x="2340" y="792"/>
                    </a:lnTo>
                    <a:lnTo>
                      <a:pt x="2340" y="780"/>
                    </a:lnTo>
                    <a:lnTo>
                      <a:pt x="2334" y="774"/>
                    </a:lnTo>
                    <a:lnTo>
                      <a:pt x="2328" y="774"/>
                    </a:lnTo>
                    <a:lnTo>
                      <a:pt x="2322" y="768"/>
                    </a:lnTo>
                    <a:lnTo>
                      <a:pt x="2316" y="768"/>
                    </a:lnTo>
                    <a:lnTo>
                      <a:pt x="2316" y="630"/>
                    </a:lnTo>
                    <a:lnTo>
                      <a:pt x="2328" y="630"/>
                    </a:lnTo>
                    <a:lnTo>
                      <a:pt x="2340" y="636"/>
                    </a:lnTo>
                    <a:lnTo>
                      <a:pt x="2352" y="636"/>
                    </a:lnTo>
                    <a:lnTo>
                      <a:pt x="2376" y="648"/>
                    </a:lnTo>
                    <a:lnTo>
                      <a:pt x="2424" y="648"/>
                    </a:lnTo>
                    <a:lnTo>
                      <a:pt x="2436" y="660"/>
                    </a:lnTo>
                    <a:lnTo>
                      <a:pt x="2454" y="642"/>
                    </a:lnTo>
                    <a:lnTo>
                      <a:pt x="2472" y="642"/>
                    </a:lnTo>
                    <a:lnTo>
                      <a:pt x="2478" y="636"/>
                    </a:lnTo>
                    <a:lnTo>
                      <a:pt x="2478" y="618"/>
                    </a:lnTo>
                    <a:lnTo>
                      <a:pt x="2466" y="594"/>
                    </a:lnTo>
                    <a:lnTo>
                      <a:pt x="2454" y="582"/>
                    </a:lnTo>
                    <a:lnTo>
                      <a:pt x="2442" y="558"/>
                    </a:lnTo>
                    <a:lnTo>
                      <a:pt x="2442" y="540"/>
                    </a:lnTo>
                    <a:lnTo>
                      <a:pt x="2454" y="528"/>
                    </a:lnTo>
                    <a:lnTo>
                      <a:pt x="2496" y="528"/>
                    </a:lnTo>
                    <a:lnTo>
                      <a:pt x="2502" y="522"/>
                    </a:lnTo>
                    <a:lnTo>
                      <a:pt x="2502" y="510"/>
                    </a:lnTo>
                    <a:lnTo>
                      <a:pt x="2484" y="492"/>
                    </a:lnTo>
                    <a:close/>
                    <a:moveTo>
                      <a:pt x="2082" y="696"/>
                    </a:moveTo>
                    <a:lnTo>
                      <a:pt x="2046" y="696"/>
                    </a:lnTo>
                    <a:lnTo>
                      <a:pt x="2046" y="702"/>
                    </a:lnTo>
                    <a:lnTo>
                      <a:pt x="2040" y="708"/>
                    </a:lnTo>
                    <a:lnTo>
                      <a:pt x="2028" y="708"/>
                    </a:lnTo>
                    <a:lnTo>
                      <a:pt x="2022" y="702"/>
                    </a:lnTo>
                    <a:lnTo>
                      <a:pt x="2010" y="696"/>
                    </a:lnTo>
                    <a:lnTo>
                      <a:pt x="1980" y="702"/>
                    </a:lnTo>
                    <a:lnTo>
                      <a:pt x="1950" y="696"/>
                    </a:lnTo>
                    <a:lnTo>
                      <a:pt x="1932" y="696"/>
                    </a:lnTo>
                    <a:lnTo>
                      <a:pt x="1908" y="690"/>
                    </a:lnTo>
                    <a:lnTo>
                      <a:pt x="1860" y="690"/>
                    </a:lnTo>
                    <a:lnTo>
                      <a:pt x="1854" y="684"/>
                    </a:lnTo>
                    <a:lnTo>
                      <a:pt x="1854" y="678"/>
                    </a:lnTo>
                    <a:lnTo>
                      <a:pt x="1836" y="696"/>
                    </a:lnTo>
                    <a:lnTo>
                      <a:pt x="1830" y="696"/>
                    </a:lnTo>
                    <a:lnTo>
                      <a:pt x="1824" y="708"/>
                    </a:lnTo>
                    <a:lnTo>
                      <a:pt x="1824" y="714"/>
                    </a:lnTo>
                    <a:lnTo>
                      <a:pt x="1818" y="726"/>
                    </a:lnTo>
                    <a:lnTo>
                      <a:pt x="1812" y="732"/>
                    </a:lnTo>
                    <a:lnTo>
                      <a:pt x="1794" y="732"/>
                    </a:lnTo>
                    <a:lnTo>
                      <a:pt x="1800" y="762"/>
                    </a:lnTo>
                    <a:lnTo>
                      <a:pt x="1788" y="768"/>
                    </a:lnTo>
                    <a:lnTo>
                      <a:pt x="1806" y="786"/>
                    </a:lnTo>
                    <a:lnTo>
                      <a:pt x="1800" y="810"/>
                    </a:lnTo>
                    <a:lnTo>
                      <a:pt x="1794" y="810"/>
                    </a:lnTo>
                    <a:lnTo>
                      <a:pt x="1788" y="798"/>
                    </a:lnTo>
                    <a:lnTo>
                      <a:pt x="1776" y="792"/>
                    </a:lnTo>
                    <a:lnTo>
                      <a:pt x="1770" y="780"/>
                    </a:lnTo>
                    <a:lnTo>
                      <a:pt x="1758" y="774"/>
                    </a:lnTo>
                    <a:lnTo>
                      <a:pt x="1752" y="762"/>
                    </a:lnTo>
                    <a:lnTo>
                      <a:pt x="1752" y="750"/>
                    </a:lnTo>
                    <a:lnTo>
                      <a:pt x="1746" y="732"/>
                    </a:lnTo>
                    <a:lnTo>
                      <a:pt x="1746" y="720"/>
                    </a:lnTo>
                    <a:lnTo>
                      <a:pt x="1764" y="702"/>
                    </a:lnTo>
                    <a:lnTo>
                      <a:pt x="1776" y="702"/>
                    </a:lnTo>
                    <a:lnTo>
                      <a:pt x="1782" y="696"/>
                    </a:lnTo>
                    <a:lnTo>
                      <a:pt x="1788" y="684"/>
                    </a:lnTo>
                    <a:lnTo>
                      <a:pt x="1788" y="678"/>
                    </a:lnTo>
                    <a:lnTo>
                      <a:pt x="1800" y="666"/>
                    </a:lnTo>
                    <a:lnTo>
                      <a:pt x="1818" y="666"/>
                    </a:lnTo>
                    <a:lnTo>
                      <a:pt x="1830" y="672"/>
                    </a:lnTo>
                    <a:lnTo>
                      <a:pt x="1848" y="672"/>
                    </a:lnTo>
                    <a:lnTo>
                      <a:pt x="1854" y="666"/>
                    </a:lnTo>
                    <a:lnTo>
                      <a:pt x="1896" y="666"/>
                    </a:lnTo>
                    <a:lnTo>
                      <a:pt x="1908" y="672"/>
                    </a:lnTo>
                    <a:lnTo>
                      <a:pt x="1914" y="678"/>
                    </a:lnTo>
                    <a:lnTo>
                      <a:pt x="1932" y="678"/>
                    </a:lnTo>
                    <a:lnTo>
                      <a:pt x="1944" y="684"/>
                    </a:lnTo>
                    <a:lnTo>
                      <a:pt x="1974" y="684"/>
                    </a:lnTo>
                    <a:lnTo>
                      <a:pt x="1986" y="672"/>
                    </a:lnTo>
                    <a:lnTo>
                      <a:pt x="2028" y="672"/>
                    </a:lnTo>
                    <a:lnTo>
                      <a:pt x="2034" y="678"/>
                    </a:lnTo>
                    <a:lnTo>
                      <a:pt x="2046" y="678"/>
                    </a:lnTo>
                    <a:lnTo>
                      <a:pt x="2052" y="672"/>
                    </a:lnTo>
                    <a:lnTo>
                      <a:pt x="2064" y="666"/>
                    </a:lnTo>
                    <a:lnTo>
                      <a:pt x="2088" y="666"/>
                    </a:lnTo>
                    <a:lnTo>
                      <a:pt x="2088" y="684"/>
                    </a:lnTo>
                    <a:lnTo>
                      <a:pt x="2082" y="690"/>
                    </a:lnTo>
                    <a:lnTo>
                      <a:pt x="2082" y="69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0" name="Jord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86FED29-273D-48F4-B1AF-88A7D0097A3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22211" y="3316618"/>
                <a:ext cx="124049" cy="150571"/>
              </a:xfrm>
              <a:custGeom>
                <a:avLst/>
                <a:gdLst>
                  <a:gd name="T0" fmla="*/ 2147483647 w 282"/>
                  <a:gd name="T1" fmla="*/ 2147483647 h 336"/>
                  <a:gd name="T2" fmla="*/ 2147483647 w 282"/>
                  <a:gd name="T3" fmla="*/ 2147483647 h 336"/>
                  <a:gd name="T4" fmla="*/ 2147483647 w 282"/>
                  <a:gd name="T5" fmla="*/ 0 h 336"/>
                  <a:gd name="T6" fmla="*/ 2147483647 w 282"/>
                  <a:gd name="T7" fmla="*/ 2147483647 h 336"/>
                  <a:gd name="T8" fmla="*/ 2147483647 w 282"/>
                  <a:gd name="T9" fmla="*/ 2147483647 h 336"/>
                  <a:gd name="T10" fmla="*/ 2147483647 w 282"/>
                  <a:gd name="T11" fmla="*/ 2147483647 h 336"/>
                  <a:gd name="T12" fmla="*/ 2147483647 w 282"/>
                  <a:gd name="T13" fmla="*/ 2147483647 h 336"/>
                  <a:gd name="T14" fmla="*/ 2147483647 w 282"/>
                  <a:gd name="T15" fmla="*/ 2147483647 h 336"/>
                  <a:gd name="T16" fmla="*/ 2147483647 w 282"/>
                  <a:gd name="T17" fmla="*/ 2147483647 h 336"/>
                  <a:gd name="T18" fmla="*/ 2147483647 w 282"/>
                  <a:gd name="T19" fmla="*/ 2147483647 h 336"/>
                  <a:gd name="T20" fmla="*/ 2147483647 w 282"/>
                  <a:gd name="T21" fmla="*/ 2147483647 h 336"/>
                  <a:gd name="T22" fmla="*/ 2147483647 w 282"/>
                  <a:gd name="T23" fmla="*/ 2147483647 h 336"/>
                  <a:gd name="T24" fmla="*/ 2147483647 w 282"/>
                  <a:gd name="T25" fmla="*/ 2147483647 h 336"/>
                  <a:gd name="T26" fmla="*/ 2147483647 w 282"/>
                  <a:gd name="T27" fmla="*/ 2147483647 h 336"/>
                  <a:gd name="T28" fmla="*/ 2147483647 w 282"/>
                  <a:gd name="T29" fmla="*/ 2147483647 h 336"/>
                  <a:gd name="T30" fmla="*/ 2147483647 w 282"/>
                  <a:gd name="T31" fmla="*/ 2147483647 h 336"/>
                  <a:gd name="T32" fmla="*/ 2147483647 w 282"/>
                  <a:gd name="T33" fmla="*/ 2147483647 h 336"/>
                  <a:gd name="T34" fmla="*/ 2147483647 w 282"/>
                  <a:gd name="T35" fmla="*/ 2147483647 h 336"/>
                  <a:gd name="T36" fmla="*/ 2147483647 w 282"/>
                  <a:gd name="T37" fmla="*/ 2147483647 h 336"/>
                  <a:gd name="T38" fmla="*/ 2147483647 w 282"/>
                  <a:gd name="T39" fmla="*/ 2147483647 h 336"/>
                  <a:gd name="T40" fmla="*/ 2147483647 w 282"/>
                  <a:gd name="T41" fmla="*/ 2147483647 h 336"/>
                  <a:gd name="T42" fmla="*/ 2147483647 w 282"/>
                  <a:gd name="T43" fmla="*/ 2147483647 h 336"/>
                  <a:gd name="T44" fmla="*/ 2147483647 w 282"/>
                  <a:gd name="T45" fmla="*/ 2147483647 h 336"/>
                  <a:gd name="T46" fmla="*/ 0 w 282"/>
                  <a:gd name="T47" fmla="*/ 2147483647 h 336"/>
                  <a:gd name="T48" fmla="*/ 0 w 282"/>
                  <a:gd name="T49" fmla="*/ 2147483647 h 336"/>
                  <a:gd name="T50" fmla="*/ 2147483647 w 282"/>
                  <a:gd name="T51" fmla="*/ 2147483647 h 336"/>
                  <a:gd name="T52" fmla="*/ 2147483647 w 282"/>
                  <a:gd name="T53" fmla="*/ 2147483647 h 336"/>
                  <a:gd name="T54" fmla="*/ 2147483647 w 282"/>
                  <a:gd name="T55" fmla="*/ 2147483647 h 336"/>
                  <a:gd name="T56" fmla="*/ 2147483647 w 282"/>
                  <a:gd name="T57" fmla="*/ 2147483647 h 336"/>
                  <a:gd name="T58" fmla="*/ 2147483647 w 282"/>
                  <a:gd name="T59" fmla="*/ 2147483647 h 336"/>
                  <a:gd name="T60" fmla="*/ 2147483647 w 282"/>
                  <a:gd name="T61" fmla="*/ 2147483647 h 336"/>
                  <a:gd name="T62" fmla="*/ 2147483647 w 282"/>
                  <a:gd name="T63" fmla="*/ 2147483647 h 336"/>
                  <a:gd name="T64" fmla="*/ 2147483647 w 282"/>
                  <a:gd name="T65" fmla="*/ 2147483647 h 336"/>
                  <a:gd name="T66" fmla="*/ 2147483647 w 282"/>
                  <a:gd name="T67" fmla="*/ 2147483647 h 336"/>
                  <a:gd name="T68" fmla="*/ 2147483647 w 282"/>
                  <a:gd name="T69" fmla="*/ 2147483647 h 336"/>
                  <a:gd name="T70" fmla="*/ 2147483647 w 282"/>
                  <a:gd name="T71" fmla="*/ 2147483647 h 336"/>
                  <a:gd name="T72" fmla="*/ 2147483647 w 282"/>
                  <a:gd name="T73" fmla="*/ 2147483647 h 336"/>
                  <a:gd name="T74" fmla="*/ 2147483647 w 282"/>
                  <a:gd name="T75" fmla="*/ 2147483647 h 336"/>
                  <a:gd name="T76" fmla="*/ 2147483647 w 282"/>
                  <a:gd name="T77" fmla="*/ 2147483647 h 336"/>
                  <a:gd name="T78" fmla="*/ 2147483647 w 282"/>
                  <a:gd name="T79" fmla="*/ 2147483647 h 336"/>
                  <a:gd name="T80" fmla="*/ 2147483647 w 282"/>
                  <a:gd name="T81" fmla="*/ 2147483647 h 336"/>
                  <a:gd name="T82" fmla="*/ 2147483647 w 282"/>
                  <a:gd name="T83" fmla="*/ 2147483647 h 336"/>
                  <a:gd name="T84" fmla="*/ 2147483647 w 282"/>
                  <a:gd name="T85" fmla="*/ 2147483647 h 336"/>
                  <a:gd name="T86" fmla="*/ 2147483647 w 282"/>
                  <a:gd name="T87" fmla="*/ 2147483647 h 336"/>
                  <a:gd name="T88" fmla="*/ 2147483647 w 282"/>
                  <a:gd name="T89" fmla="*/ 2147483647 h 336"/>
                  <a:gd name="T90" fmla="*/ 2147483647 w 282"/>
                  <a:gd name="T91" fmla="*/ 2147483647 h 336"/>
                  <a:gd name="T92" fmla="*/ 2147483647 w 282"/>
                  <a:gd name="T93" fmla="*/ 2147483647 h 336"/>
                  <a:gd name="T94" fmla="*/ 2147483647 w 282"/>
                  <a:gd name="T95" fmla="*/ 2147483647 h 336"/>
                  <a:gd name="T96" fmla="*/ 2147483647 w 282"/>
                  <a:gd name="T97" fmla="*/ 2147483647 h 336"/>
                  <a:gd name="T98" fmla="*/ 2147483647 w 282"/>
                  <a:gd name="T99" fmla="*/ 2147483647 h 336"/>
                  <a:gd name="T100" fmla="*/ 2147483647 w 282"/>
                  <a:gd name="T101" fmla="*/ 2147483647 h 336"/>
                  <a:gd name="T102" fmla="*/ 2147483647 w 282"/>
                  <a:gd name="T103" fmla="*/ 2147483647 h 336"/>
                  <a:gd name="T104" fmla="*/ 2147483647 w 282"/>
                  <a:gd name="T105" fmla="*/ 2147483647 h 336"/>
                  <a:gd name="T106" fmla="*/ 2147483647 w 282"/>
                  <a:gd name="T107" fmla="*/ 2147483647 h 336"/>
                  <a:gd name="T108" fmla="*/ 2147483647 w 282"/>
                  <a:gd name="T109" fmla="*/ 2147483647 h 336"/>
                  <a:gd name="T110" fmla="*/ 2147483647 w 282"/>
                  <a:gd name="T111" fmla="*/ 2147483647 h 336"/>
                  <a:gd name="T112" fmla="*/ 2147483647 w 282"/>
                  <a:gd name="T113" fmla="*/ 2147483647 h 336"/>
                  <a:gd name="T114" fmla="*/ 2147483647 w 282"/>
                  <a:gd name="T115" fmla="*/ 2147483647 h 336"/>
                  <a:gd name="T116" fmla="*/ 2147483647 w 282"/>
                  <a:gd name="T117" fmla="*/ 2147483647 h 336"/>
                  <a:gd name="T118" fmla="*/ 2147483647 w 282"/>
                  <a:gd name="T119" fmla="*/ 2147483647 h 336"/>
                  <a:gd name="T120" fmla="*/ 2147483647 w 282"/>
                  <a:gd name="T121" fmla="*/ 2147483647 h 336"/>
                  <a:gd name="T122" fmla="*/ 2147483647 w 282"/>
                  <a:gd name="T123" fmla="*/ 2147483647 h 3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82"/>
                  <a:gd name="T187" fmla="*/ 0 h 336"/>
                  <a:gd name="T188" fmla="*/ 282 w 282"/>
                  <a:gd name="T189" fmla="*/ 336 h 3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82" h="336">
                    <a:moveTo>
                      <a:pt x="258" y="60"/>
                    </a:moveTo>
                    <a:lnTo>
                      <a:pt x="258" y="42"/>
                    </a:lnTo>
                    <a:lnTo>
                      <a:pt x="234" y="0"/>
                    </a:lnTo>
                    <a:lnTo>
                      <a:pt x="222" y="6"/>
                    </a:lnTo>
                    <a:lnTo>
                      <a:pt x="198" y="30"/>
                    </a:lnTo>
                    <a:lnTo>
                      <a:pt x="138" y="78"/>
                    </a:lnTo>
                    <a:lnTo>
                      <a:pt x="114" y="84"/>
                    </a:lnTo>
                    <a:lnTo>
                      <a:pt x="96" y="84"/>
                    </a:lnTo>
                    <a:lnTo>
                      <a:pt x="84" y="78"/>
                    </a:lnTo>
                    <a:lnTo>
                      <a:pt x="72" y="66"/>
                    </a:lnTo>
                    <a:lnTo>
                      <a:pt x="36" y="48"/>
                    </a:lnTo>
                    <a:lnTo>
                      <a:pt x="30" y="48"/>
                    </a:lnTo>
                    <a:lnTo>
                      <a:pt x="24" y="66"/>
                    </a:lnTo>
                    <a:lnTo>
                      <a:pt x="30" y="138"/>
                    </a:lnTo>
                    <a:lnTo>
                      <a:pt x="18" y="150"/>
                    </a:lnTo>
                    <a:lnTo>
                      <a:pt x="18" y="162"/>
                    </a:lnTo>
                    <a:lnTo>
                      <a:pt x="30" y="174"/>
                    </a:lnTo>
                    <a:lnTo>
                      <a:pt x="30" y="186"/>
                    </a:lnTo>
                    <a:lnTo>
                      <a:pt x="24" y="198"/>
                    </a:lnTo>
                    <a:lnTo>
                      <a:pt x="18" y="204"/>
                    </a:lnTo>
                    <a:lnTo>
                      <a:pt x="12" y="216"/>
                    </a:lnTo>
                    <a:lnTo>
                      <a:pt x="6" y="222"/>
                    </a:lnTo>
                    <a:lnTo>
                      <a:pt x="6" y="282"/>
                    </a:lnTo>
                    <a:lnTo>
                      <a:pt x="0" y="294"/>
                    </a:lnTo>
                    <a:lnTo>
                      <a:pt x="0" y="312"/>
                    </a:lnTo>
                    <a:lnTo>
                      <a:pt x="6" y="324"/>
                    </a:lnTo>
                    <a:lnTo>
                      <a:pt x="24" y="324"/>
                    </a:lnTo>
                    <a:lnTo>
                      <a:pt x="48" y="336"/>
                    </a:lnTo>
                    <a:lnTo>
                      <a:pt x="84" y="336"/>
                    </a:lnTo>
                    <a:lnTo>
                      <a:pt x="96" y="324"/>
                    </a:lnTo>
                    <a:lnTo>
                      <a:pt x="108" y="300"/>
                    </a:lnTo>
                    <a:lnTo>
                      <a:pt x="108" y="288"/>
                    </a:lnTo>
                    <a:lnTo>
                      <a:pt x="120" y="276"/>
                    </a:lnTo>
                    <a:lnTo>
                      <a:pt x="126" y="276"/>
                    </a:lnTo>
                    <a:lnTo>
                      <a:pt x="138" y="270"/>
                    </a:lnTo>
                    <a:lnTo>
                      <a:pt x="150" y="270"/>
                    </a:lnTo>
                    <a:lnTo>
                      <a:pt x="162" y="264"/>
                    </a:lnTo>
                    <a:lnTo>
                      <a:pt x="168" y="258"/>
                    </a:lnTo>
                    <a:lnTo>
                      <a:pt x="174" y="246"/>
                    </a:lnTo>
                    <a:lnTo>
                      <a:pt x="180" y="240"/>
                    </a:lnTo>
                    <a:lnTo>
                      <a:pt x="180" y="228"/>
                    </a:lnTo>
                    <a:lnTo>
                      <a:pt x="186" y="222"/>
                    </a:lnTo>
                    <a:lnTo>
                      <a:pt x="186" y="210"/>
                    </a:lnTo>
                    <a:lnTo>
                      <a:pt x="180" y="204"/>
                    </a:lnTo>
                    <a:lnTo>
                      <a:pt x="168" y="180"/>
                    </a:lnTo>
                    <a:lnTo>
                      <a:pt x="144" y="156"/>
                    </a:lnTo>
                    <a:lnTo>
                      <a:pt x="132" y="156"/>
                    </a:lnTo>
                    <a:lnTo>
                      <a:pt x="120" y="150"/>
                    </a:lnTo>
                    <a:lnTo>
                      <a:pt x="96" y="150"/>
                    </a:lnTo>
                    <a:lnTo>
                      <a:pt x="96" y="144"/>
                    </a:lnTo>
                    <a:lnTo>
                      <a:pt x="108" y="144"/>
                    </a:lnTo>
                    <a:lnTo>
                      <a:pt x="120" y="138"/>
                    </a:lnTo>
                    <a:lnTo>
                      <a:pt x="186" y="138"/>
                    </a:lnTo>
                    <a:lnTo>
                      <a:pt x="198" y="114"/>
                    </a:lnTo>
                    <a:lnTo>
                      <a:pt x="240" y="114"/>
                    </a:lnTo>
                    <a:lnTo>
                      <a:pt x="252" y="108"/>
                    </a:lnTo>
                    <a:lnTo>
                      <a:pt x="258" y="102"/>
                    </a:lnTo>
                    <a:lnTo>
                      <a:pt x="264" y="102"/>
                    </a:lnTo>
                    <a:lnTo>
                      <a:pt x="276" y="96"/>
                    </a:lnTo>
                    <a:lnTo>
                      <a:pt x="282" y="90"/>
                    </a:lnTo>
                    <a:lnTo>
                      <a:pt x="282" y="78"/>
                    </a:lnTo>
                    <a:lnTo>
                      <a:pt x="258" y="60"/>
                    </a:lnTo>
                    <a:close/>
                  </a:path>
                </a:pathLst>
              </a:custGeom>
              <a:noFill/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1" name="Iraq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85AD556-41EA-4F74-9213-1363CFE2DE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25294" y="3171363"/>
                <a:ext cx="304007" cy="295825"/>
              </a:xfrm>
              <a:custGeom>
                <a:avLst/>
                <a:gdLst>
                  <a:gd name="T0" fmla="*/ 2147483647 w 684"/>
                  <a:gd name="T1" fmla="*/ 2147483647 h 660"/>
                  <a:gd name="T2" fmla="*/ 2147483647 w 684"/>
                  <a:gd name="T3" fmla="*/ 2147483647 h 660"/>
                  <a:gd name="T4" fmla="*/ 2147483647 w 684"/>
                  <a:gd name="T5" fmla="*/ 2147483647 h 660"/>
                  <a:gd name="T6" fmla="*/ 2147483647 w 684"/>
                  <a:gd name="T7" fmla="*/ 2147483647 h 660"/>
                  <a:gd name="T8" fmla="*/ 2147483647 w 684"/>
                  <a:gd name="T9" fmla="*/ 2147483647 h 660"/>
                  <a:gd name="T10" fmla="*/ 2147483647 w 684"/>
                  <a:gd name="T11" fmla="*/ 2147483647 h 660"/>
                  <a:gd name="T12" fmla="*/ 2147483647 w 684"/>
                  <a:gd name="T13" fmla="*/ 2147483647 h 660"/>
                  <a:gd name="T14" fmla="*/ 2147483647 w 684"/>
                  <a:gd name="T15" fmla="*/ 2147483647 h 660"/>
                  <a:gd name="T16" fmla="*/ 2147483647 w 684"/>
                  <a:gd name="T17" fmla="*/ 2147483647 h 660"/>
                  <a:gd name="T18" fmla="*/ 2147483647 w 684"/>
                  <a:gd name="T19" fmla="*/ 2147483647 h 660"/>
                  <a:gd name="T20" fmla="*/ 2147483647 w 684"/>
                  <a:gd name="T21" fmla="*/ 2147483647 h 660"/>
                  <a:gd name="T22" fmla="*/ 2147483647 w 684"/>
                  <a:gd name="T23" fmla="*/ 2147483647 h 660"/>
                  <a:gd name="T24" fmla="*/ 2147483647 w 684"/>
                  <a:gd name="T25" fmla="*/ 2147483647 h 660"/>
                  <a:gd name="T26" fmla="*/ 2147483647 w 684"/>
                  <a:gd name="T27" fmla="*/ 2147483647 h 660"/>
                  <a:gd name="T28" fmla="*/ 2147483647 w 684"/>
                  <a:gd name="T29" fmla="*/ 2147483647 h 660"/>
                  <a:gd name="T30" fmla="*/ 2147483647 w 684"/>
                  <a:gd name="T31" fmla="*/ 2147483647 h 660"/>
                  <a:gd name="T32" fmla="*/ 2147483647 w 684"/>
                  <a:gd name="T33" fmla="*/ 2147483647 h 660"/>
                  <a:gd name="T34" fmla="*/ 2147483647 w 684"/>
                  <a:gd name="T35" fmla="*/ 2147483647 h 660"/>
                  <a:gd name="T36" fmla="*/ 2147483647 w 684"/>
                  <a:gd name="T37" fmla="*/ 2147483647 h 660"/>
                  <a:gd name="T38" fmla="*/ 2147483647 w 684"/>
                  <a:gd name="T39" fmla="*/ 2147483647 h 660"/>
                  <a:gd name="T40" fmla="*/ 2147483647 w 684"/>
                  <a:gd name="T41" fmla="*/ 2147483647 h 660"/>
                  <a:gd name="T42" fmla="*/ 2147483647 w 684"/>
                  <a:gd name="T43" fmla="*/ 2147483647 h 660"/>
                  <a:gd name="T44" fmla="*/ 2147483647 w 684"/>
                  <a:gd name="T45" fmla="*/ 2147483647 h 660"/>
                  <a:gd name="T46" fmla="*/ 2147483647 w 684"/>
                  <a:gd name="T47" fmla="*/ 2147483647 h 660"/>
                  <a:gd name="T48" fmla="*/ 2147483647 w 684"/>
                  <a:gd name="T49" fmla="*/ 2147483647 h 660"/>
                  <a:gd name="T50" fmla="*/ 2147483647 w 684"/>
                  <a:gd name="T51" fmla="*/ 2147483647 h 660"/>
                  <a:gd name="T52" fmla="*/ 2147483647 w 684"/>
                  <a:gd name="T53" fmla="*/ 0 h 660"/>
                  <a:gd name="T54" fmla="*/ 2147483647 w 684"/>
                  <a:gd name="T55" fmla="*/ 2147483647 h 660"/>
                  <a:gd name="T56" fmla="*/ 2147483647 w 684"/>
                  <a:gd name="T57" fmla="*/ 2147483647 h 660"/>
                  <a:gd name="T58" fmla="*/ 2147483647 w 684"/>
                  <a:gd name="T59" fmla="*/ 0 h 660"/>
                  <a:gd name="T60" fmla="*/ 2147483647 w 684"/>
                  <a:gd name="T61" fmla="*/ 2147483647 h 660"/>
                  <a:gd name="T62" fmla="*/ 2147483647 w 684"/>
                  <a:gd name="T63" fmla="*/ 2147483647 h 660"/>
                  <a:gd name="T64" fmla="*/ 2147483647 w 684"/>
                  <a:gd name="T65" fmla="*/ 2147483647 h 660"/>
                  <a:gd name="T66" fmla="*/ 2147483647 w 684"/>
                  <a:gd name="T67" fmla="*/ 2147483647 h 660"/>
                  <a:gd name="T68" fmla="*/ 2147483647 w 684"/>
                  <a:gd name="T69" fmla="*/ 2147483647 h 660"/>
                  <a:gd name="T70" fmla="*/ 2147483647 w 684"/>
                  <a:gd name="T71" fmla="*/ 2147483647 h 660"/>
                  <a:gd name="T72" fmla="*/ 2147483647 w 684"/>
                  <a:gd name="T73" fmla="*/ 2147483647 h 660"/>
                  <a:gd name="T74" fmla="*/ 2147483647 w 684"/>
                  <a:gd name="T75" fmla="*/ 2147483647 h 660"/>
                  <a:gd name="T76" fmla="*/ 2147483647 w 684"/>
                  <a:gd name="T77" fmla="*/ 2147483647 h 660"/>
                  <a:gd name="T78" fmla="*/ 2147483647 w 684"/>
                  <a:gd name="T79" fmla="*/ 2147483647 h 660"/>
                  <a:gd name="T80" fmla="*/ 2147483647 w 684"/>
                  <a:gd name="T81" fmla="*/ 2147483647 h 660"/>
                  <a:gd name="T82" fmla="*/ 2147483647 w 684"/>
                  <a:gd name="T83" fmla="*/ 2147483647 h 660"/>
                  <a:gd name="T84" fmla="*/ 2147483647 w 684"/>
                  <a:gd name="T85" fmla="*/ 2147483647 h 660"/>
                  <a:gd name="T86" fmla="*/ 0 w 684"/>
                  <a:gd name="T87" fmla="*/ 2147483647 h 660"/>
                  <a:gd name="T88" fmla="*/ 2147483647 w 684"/>
                  <a:gd name="T89" fmla="*/ 2147483647 h 660"/>
                  <a:gd name="T90" fmla="*/ 2147483647 w 684"/>
                  <a:gd name="T91" fmla="*/ 2147483647 h 660"/>
                  <a:gd name="T92" fmla="*/ 2147483647 w 684"/>
                  <a:gd name="T93" fmla="*/ 2147483647 h 660"/>
                  <a:gd name="T94" fmla="*/ 2147483647 w 684"/>
                  <a:gd name="T95" fmla="*/ 2147483647 h 660"/>
                  <a:gd name="T96" fmla="*/ 2147483647 w 684"/>
                  <a:gd name="T97" fmla="*/ 2147483647 h 660"/>
                  <a:gd name="T98" fmla="*/ 2147483647 w 684"/>
                  <a:gd name="T99" fmla="*/ 2147483647 h 660"/>
                  <a:gd name="T100" fmla="*/ 2147483647 w 684"/>
                  <a:gd name="T101" fmla="*/ 2147483647 h 660"/>
                  <a:gd name="T102" fmla="*/ 2147483647 w 684"/>
                  <a:gd name="T103" fmla="*/ 2147483647 h 660"/>
                  <a:gd name="T104" fmla="*/ 2147483647 w 684"/>
                  <a:gd name="T105" fmla="*/ 2147483647 h 660"/>
                  <a:gd name="T106" fmla="*/ 2147483647 w 684"/>
                  <a:gd name="T107" fmla="*/ 2147483647 h 660"/>
                  <a:gd name="T108" fmla="*/ 2147483647 w 684"/>
                  <a:gd name="T109" fmla="*/ 2147483647 h 660"/>
                  <a:gd name="T110" fmla="*/ 2147483647 w 684"/>
                  <a:gd name="T111" fmla="*/ 2147483647 h 660"/>
                  <a:gd name="T112" fmla="*/ 2147483647 w 684"/>
                  <a:gd name="T113" fmla="*/ 2147483647 h 660"/>
                  <a:gd name="T114" fmla="*/ 2147483647 w 684"/>
                  <a:gd name="T115" fmla="*/ 2147483647 h 66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84"/>
                  <a:gd name="T175" fmla="*/ 0 h 660"/>
                  <a:gd name="T176" fmla="*/ 684 w 684"/>
                  <a:gd name="T177" fmla="*/ 660 h 66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84" h="660">
                    <a:moveTo>
                      <a:pt x="678" y="564"/>
                    </a:moveTo>
                    <a:lnTo>
                      <a:pt x="666" y="552"/>
                    </a:lnTo>
                    <a:lnTo>
                      <a:pt x="654" y="546"/>
                    </a:lnTo>
                    <a:lnTo>
                      <a:pt x="648" y="516"/>
                    </a:lnTo>
                    <a:lnTo>
                      <a:pt x="642" y="516"/>
                    </a:lnTo>
                    <a:lnTo>
                      <a:pt x="636" y="510"/>
                    </a:lnTo>
                    <a:lnTo>
                      <a:pt x="624" y="504"/>
                    </a:lnTo>
                    <a:lnTo>
                      <a:pt x="618" y="498"/>
                    </a:lnTo>
                    <a:lnTo>
                      <a:pt x="618" y="462"/>
                    </a:lnTo>
                    <a:lnTo>
                      <a:pt x="624" y="450"/>
                    </a:lnTo>
                    <a:lnTo>
                      <a:pt x="624" y="438"/>
                    </a:lnTo>
                    <a:lnTo>
                      <a:pt x="594" y="402"/>
                    </a:lnTo>
                    <a:lnTo>
                      <a:pt x="588" y="390"/>
                    </a:lnTo>
                    <a:lnTo>
                      <a:pt x="582" y="384"/>
                    </a:lnTo>
                    <a:lnTo>
                      <a:pt x="564" y="384"/>
                    </a:lnTo>
                    <a:lnTo>
                      <a:pt x="546" y="366"/>
                    </a:lnTo>
                    <a:lnTo>
                      <a:pt x="534" y="360"/>
                    </a:lnTo>
                    <a:lnTo>
                      <a:pt x="528" y="354"/>
                    </a:lnTo>
                    <a:lnTo>
                      <a:pt x="504" y="354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2" y="306"/>
                    </a:lnTo>
                    <a:lnTo>
                      <a:pt x="468" y="294"/>
                    </a:lnTo>
                    <a:lnTo>
                      <a:pt x="456" y="282"/>
                    </a:lnTo>
                    <a:lnTo>
                      <a:pt x="444" y="276"/>
                    </a:lnTo>
                    <a:lnTo>
                      <a:pt x="438" y="270"/>
                    </a:lnTo>
                    <a:lnTo>
                      <a:pt x="438" y="264"/>
                    </a:lnTo>
                    <a:lnTo>
                      <a:pt x="444" y="252"/>
                    </a:lnTo>
                    <a:lnTo>
                      <a:pt x="450" y="246"/>
                    </a:lnTo>
                    <a:lnTo>
                      <a:pt x="438" y="234"/>
                    </a:lnTo>
                    <a:lnTo>
                      <a:pt x="438" y="228"/>
                    </a:lnTo>
                    <a:lnTo>
                      <a:pt x="450" y="216"/>
                    </a:lnTo>
                    <a:lnTo>
                      <a:pt x="462" y="216"/>
                    </a:lnTo>
                    <a:lnTo>
                      <a:pt x="462" y="186"/>
                    </a:lnTo>
                    <a:lnTo>
                      <a:pt x="468" y="186"/>
                    </a:lnTo>
                    <a:lnTo>
                      <a:pt x="480" y="174"/>
                    </a:lnTo>
                    <a:lnTo>
                      <a:pt x="480" y="168"/>
                    </a:lnTo>
                    <a:lnTo>
                      <a:pt x="474" y="156"/>
                    </a:lnTo>
                    <a:lnTo>
                      <a:pt x="462" y="144"/>
                    </a:lnTo>
                    <a:lnTo>
                      <a:pt x="462" y="138"/>
                    </a:lnTo>
                    <a:lnTo>
                      <a:pt x="480" y="120"/>
                    </a:lnTo>
                    <a:lnTo>
                      <a:pt x="480" y="114"/>
                    </a:lnTo>
                    <a:lnTo>
                      <a:pt x="468" y="114"/>
                    </a:lnTo>
                    <a:lnTo>
                      <a:pt x="456" y="120"/>
                    </a:lnTo>
                    <a:lnTo>
                      <a:pt x="450" y="126"/>
                    </a:lnTo>
                    <a:lnTo>
                      <a:pt x="438" y="108"/>
                    </a:lnTo>
                    <a:lnTo>
                      <a:pt x="414" y="102"/>
                    </a:lnTo>
                    <a:lnTo>
                      <a:pt x="414" y="84"/>
                    </a:lnTo>
                    <a:lnTo>
                      <a:pt x="402" y="72"/>
                    </a:lnTo>
                    <a:lnTo>
                      <a:pt x="378" y="24"/>
                    </a:lnTo>
                    <a:lnTo>
                      <a:pt x="378" y="12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330" y="0"/>
                    </a:lnTo>
                    <a:lnTo>
                      <a:pt x="306" y="0"/>
                    </a:lnTo>
                    <a:lnTo>
                      <a:pt x="306" y="6"/>
                    </a:lnTo>
                    <a:lnTo>
                      <a:pt x="300" y="12"/>
                    </a:lnTo>
                    <a:lnTo>
                      <a:pt x="288" y="12"/>
                    </a:lnTo>
                    <a:lnTo>
                      <a:pt x="276" y="0"/>
                    </a:lnTo>
                    <a:lnTo>
                      <a:pt x="234" y="0"/>
                    </a:lnTo>
                    <a:lnTo>
                      <a:pt x="234" y="12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204" y="36"/>
                    </a:lnTo>
                    <a:lnTo>
                      <a:pt x="198" y="48"/>
                    </a:lnTo>
                    <a:lnTo>
                      <a:pt x="192" y="54"/>
                    </a:lnTo>
                    <a:lnTo>
                      <a:pt x="180" y="54"/>
                    </a:lnTo>
                    <a:lnTo>
                      <a:pt x="168" y="60"/>
                    </a:lnTo>
                    <a:lnTo>
                      <a:pt x="156" y="60"/>
                    </a:lnTo>
                    <a:lnTo>
                      <a:pt x="150" y="66"/>
                    </a:lnTo>
                    <a:lnTo>
                      <a:pt x="144" y="78"/>
                    </a:lnTo>
                    <a:lnTo>
                      <a:pt x="144" y="90"/>
                    </a:lnTo>
                    <a:lnTo>
                      <a:pt x="150" y="102"/>
                    </a:lnTo>
                    <a:lnTo>
                      <a:pt x="156" y="108"/>
                    </a:lnTo>
                    <a:lnTo>
                      <a:pt x="156" y="120"/>
                    </a:lnTo>
                    <a:lnTo>
                      <a:pt x="162" y="132"/>
                    </a:lnTo>
                    <a:lnTo>
                      <a:pt x="162" y="162"/>
                    </a:lnTo>
                    <a:lnTo>
                      <a:pt x="156" y="174"/>
                    </a:lnTo>
                    <a:lnTo>
                      <a:pt x="150" y="192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68" y="222"/>
                    </a:lnTo>
                    <a:lnTo>
                      <a:pt x="162" y="228"/>
                    </a:lnTo>
                    <a:lnTo>
                      <a:pt x="138" y="240"/>
                    </a:lnTo>
                    <a:lnTo>
                      <a:pt x="78" y="264"/>
                    </a:lnTo>
                    <a:lnTo>
                      <a:pt x="66" y="270"/>
                    </a:lnTo>
                    <a:lnTo>
                      <a:pt x="6" y="318"/>
                    </a:lnTo>
                    <a:lnTo>
                      <a:pt x="0" y="318"/>
                    </a:lnTo>
                    <a:lnTo>
                      <a:pt x="0" y="324"/>
                    </a:lnTo>
                    <a:lnTo>
                      <a:pt x="24" y="366"/>
                    </a:lnTo>
                    <a:lnTo>
                      <a:pt x="24" y="384"/>
                    </a:lnTo>
                    <a:lnTo>
                      <a:pt x="48" y="402"/>
                    </a:lnTo>
                    <a:lnTo>
                      <a:pt x="48" y="414"/>
                    </a:lnTo>
                    <a:lnTo>
                      <a:pt x="60" y="426"/>
                    </a:lnTo>
                    <a:lnTo>
                      <a:pt x="126" y="426"/>
                    </a:lnTo>
                    <a:lnTo>
                      <a:pt x="156" y="456"/>
                    </a:lnTo>
                    <a:lnTo>
                      <a:pt x="168" y="462"/>
                    </a:lnTo>
                    <a:lnTo>
                      <a:pt x="180" y="474"/>
                    </a:lnTo>
                    <a:lnTo>
                      <a:pt x="228" y="498"/>
                    </a:lnTo>
                    <a:lnTo>
                      <a:pt x="234" y="504"/>
                    </a:lnTo>
                    <a:lnTo>
                      <a:pt x="246" y="510"/>
                    </a:lnTo>
                    <a:lnTo>
                      <a:pt x="438" y="654"/>
                    </a:lnTo>
                    <a:lnTo>
                      <a:pt x="522" y="654"/>
                    </a:lnTo>
                    <a:lnTo>
                      <a:pt x="570" y="660"/>
                    </a:lnTo>
                    <a:lnTo>
                      <a:pt x="564" y="660"/>
                    </a:lnTo>
                    <a:lnTo>
                      <a:pt x="570" y="654"/>
                    </a:lnTo>
                    <a:lnTo>
                      <a:pt x="588" y="618"/>
                    </a:lnTo>
                    <a:lnTo>
                      <a:pt x="588" y="606"/>
                    </a:lnTo>
                    <a:lnTo>
                      <a:pt x="594" y="600"/>
                    </a:lnTo>
                    <a:lnTo>
                      <a:pt x="600" y="588"/>
                    </a:lnTo>
                    <a:lnTo>
                      <a:pt x="648" y="588"/>
                    </a:lnTo>
                    <a:lnTo>
                      <a:pt x="654" y="594"/>
                    </a:lnTo>
                    <a:lnTo>
                      <a:pt x="678" y="582"/>
                    </a:lnTo>
                    <a:lnTo>
                      <a:pt x="684" y="576"/>
                    </a:lnTo>
                    <a:lnTo>
                      <a:pt x="678" y="570"/>
                    </a:lnTo>
                    <a:lnTo>
                      <a:pt x="678" y="56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2" name="Guinea-Bissau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CF48F33-3F7C-42A1-9817-6F2B5D450E0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39270" y="4058844"/>
                <a:ext cx="82117" cy="70857"/>
              </a:xfrm>
              <a:custGeom>
                <a:avLst/>
                <a:gdLst>
                  <a:gd name="T0" fmla="*/ 2147483647 w 186"/>
                  <a:gd name="T1" fmla="*/ 2147483647 h 156"/>
                  <a:gd name="T2" fmla="*/ 2147483647 w 186"/>
                  <a:gd name="T3" fmla="*/ 2147483647 h 156"/>
                  <a:gd name="T4" fmla="*/ 2147483647 w 186"/>
                  <a:gd name="T5" fmla="*/ 2147483647 h 156"/>
                  <a:gd name="T6" fmla="*/ 2147483647 w 186"/>
                  <a:gd name="T7" fmla="*/ 2147483647 h 156"/>
                  <a:gd name="T8" fmla="*/ 2147483647 w 186"/>
                  <a:gd name="T9" fmla="*/ 2147483647 h 156"/>
                  <a:gd name="T10" fmla="*/ 2147483647 w 186"/>
                  <a:gd name="T11" fmla="*/ 2147483647 h 156"/>
                  <a:gd name="T12" fmla="*/ 2147483647 w 186"/>
                  <a:gd name="T13" fmla="*/ 2147483647 h 156"/>
                  <a:gd name="T14" fmla="*/ 2147483647 w 186"/>
                  <a:gd name="T15" fmla="*/ 2147483647 h 156"/>
                  <a:gd name="T16" fmla="*/ 2147483647 w 186"/>
                  <a:gd name="T17" fmla="*/ 2147483647 h 156"/>
                  <a:gd name="T18" fmla="*/ 2147483647 w 186"/>
                  <a:gd name="T19" fmla="*/ 2147483647 h 156"/>
                  <a:gd name="T20" fmla="*/ 2147483647 w 186"/>
                  <a:gd name="T21" fmla="*/ 2147483647 h 156"/>
                  <a:gd name="T22" fmla="*/ 2147483647 w 186"/>
                  <a:gd name="T23" fmla="*/ 2147483647 h 156"/>
                  <a:gd name="T24" fmla="*/ 2147483647 w 186"/>
                  <a:gd name="T25" fmla="*/ 2147483647 h 156"/>
                  <a:gd name="T26" fmla="*/ 2147483647 w 186"/>
                  <a:gd name="T27" fmla="*/ 2147483647 h 156"/>
                  <a:gd name="T28" fmla="*/ 2147483647 w 186"/>
                  <a:gd name="T29" fmla="*/ 0 h 156"/>
                  <a:gd name="T30" fmla="*/ 2147483647 w 186"/>
                  <a:gd name="T31" fmla="*/ 2147483647 h 156"/>
                  <a:gd name="T32" fmla="*/ 2147483647 w 186"/>
                  <a:gd name="T33" fmla="*/ 2147483647 h 156"/>
                  <a:gd name="T34" fmla="*/ 2147483647 w 186"/>
                  <a:gd name="T35" fmla="*/ 2147483647 h 156"/>
                  <a:gd name="T36" fmla="*/ 0 w 186"/>
                  <a:gd name="T37" fmla="*/ 2147483647 h 156"/>
                  <a:gd name="T38" fmla="*/ 2147483647 w 186"/>
                  <a:gd name="T39" fmla="*/ 2147483647 h 156"/>
                  <a:gd name="T40" fmla="*/ 2147483647 w 186"/>
                  <a:gd name="T41" fmla="*/ 2147483647 h 156"/>
                  <a:gd name="T42" fmla="*/ 2147483647 w 186"/>
                  <a:gd name="T43" fmla="*/ 2147483647 h 156"/>
                  <a:gd name="T44" fmla="*/ 2147483647 w 186"/>
                  <a:gd name="T45" fmla="*/ 2147483647 h 156"/>
                  <a:gd name="T46" fmla="*/ 2147483647 w 186"/>
                  <a:gd name="T47" fmla="*/ 2147483647 h 156"/>
                  <a:gd name="T48" fmla="*/ 2147483647 w 186"/>
                  <a:gd name="T49" fmla="*/ 2147483647 h 156"/>
                  <a:gd name="T50" fmla="*/ 2147483647 w 186"/>
                  <a:gd name="T51" fmla="*/ 2147483647 h 156"/>
                  <a:gd name="T52" fmla="*/ 2147483647 w 186"/>
                  <a:gd name="T53" fmla="*/ 2147483647 h 156"/>
                  <a:gd name="T54" fmla="*/ 2147483647 w 186"/>
                  <a:gd name="T55" fmla="*/ 2147483647 h 156"/>
                  <a:gd name="T56" fmla="*/ 2147483647 w 186"/>
                  <a:gd name="T57" fmla="*/ 2147483647 h 156"/>
                  <a:gd name="T58" fmla="*/ 2147483647 w 186"/>
                  <a:gd name="T59" fmla="*/ 2147483647 h 156"/>
                  <a:gd name="T60" fmla="*/ 2147483647 w 186"/>
                  <a:gd name="T61" fmla="*/ 2147483647 h 156"/>
                  <a:gd name="T62" fmla="*/ 2147483647 w 186"/>
                  <a:gd name="T63" fmla="*/ 2147483647 h 156"/>
                  <a:gd name="T64" fmla="*/ 2147483647 w 186"/>
                  <a:gd name="T65" fmla="*/ 2147483647 h 156"/>
                  <a:gd name="T66" fmla="*/ 2147483647 w 186"/>
                  <a:gd name="T67" fmla="*/ 2147483647 h 156"/>
                  <a:gd name="T68" fmla="*/ 2147483647 w 186"/>
                  <a:gd name="T69" fmla="*/ 2147483647 h 156"/>
                  <a:gd name="T70" fmla="*/ 2147483647 w 186"/>
                  <a:gd name="T71" fmla="*/ 2147483647 h 156"/>
                  <a:gd name="T72" fmla="*/ 2147483647 w 186"/>
                  <a:gd name="T73" fmla="*/ 2147483647 h 1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86"/>
                  <a:gd name="T112" fmla="*/ 0 h 156"/>
                  <a:gd name="T113" fmla="*/ 186 w 186"/>
                  <a:gd name="T114" fmla="*/ 156 h 15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86" h="156">
                    <a:moveTo>
                      <a:pt x="126" y="102"/>
                    </a:moveTo>
                    <a:lnTo>
                      <a:pt x="132" y="96"/>
                    </a:lnTo>
                    <a:lnTo>
                      <a:pt x="144" y="90"/>
                    </a:lnTo>
                    <a:lnTo>
                      <a:pt x="174" y="90"/>
                    </a:lnTo>
                    <a:lnTo>
                      <a:pt x="180" y="84"/>
                    </a:lnTo>
                    <a:lnTo>
                      <a:pt x="186" y="72"/>
                    </a:lnTo>
                    <a:lnTo>
                      <a:pt x="186" y="66"/>
                    </a:lnTo>
                    <a:lnTo>
                      <a:pt x="180" y="60"/>
                    </a:lnTo>
                    <a:lnTo>
                      <a:pt x="168" y="54"/>
                    </a:lnTo>
                    <a:lnTo>
                      <a:pt x="162" y="48"/>
                    </a:lnTo>
                    <a:lnTo>
                      <a:pt x="162" y="36"/>
                    </a:lnTo>
                    <a:lnTo>
                      <a:pt x="168" y="30"/>
                    </a:lnTo>
                    <a:lnTo>
                      <a:pt x="186" y="30"/>
                    </a:lnTo>
                    <a:lnTo>
                      <a:pt x="186" y="6"/>
                    </a:lnTo>
                    <a:lnTo>
                      <a:pt x="84" y="0"/>
                    </a:lnTo>
                    <a:lnTo>
                      <a:pt x="54" y="24"/>
                    </a:lnTo>
                    <a:lnTo>
                      <a:pt x="18" y="24"/>
                    </a:lnTo>
                    <a:lnTo>
                      <a:pt x="6" y="36"/>
                    </a:lnTo>
                    <a:lnTo>
                      <a:pt x="0" y="72"/>
                    </a:lnTo>
                    <a:lnTo>
                      <a:pt x="6" y="78"/>
                    </a:lnTo>
                    <a:lnTo>
                      <a:pt x="18" y="78"/>
                    </a:lnTo>
                    <a:lnTo>
                      <a:pt x="42" y="66"/>
                    </a:lnTo>
                    <a:lnTo>
                      <a:pt x="66" y="66"/>
                    </a:lnTo>
                    <a:lnTo>
                      <a:pt x="90" y="60"/>
                    </a:lnTo>
                    <a:lnTo>
                      <a:pt x="90" y="84"/>
                    </a:lnTo>
                    <a:lnTo>
                      <a:pt x="78" y="78"/>
                    </a:lnTo>
                    <a:lnTo>
                      <a:pt x="72" y="78"/>
                    </a:lnTo>
                    <a:lnTo>
                      <a:pt x="66" y="72"/>
                    </a:lnTo>
                    <a:lnTo>
                      <a:pt x="54" y="72"/>
                    </a:lnTo>
                    <a:lnTo>
                      <a:pt x="54" y="96"/>
                    </a:lnTo>
                    <a:lnTo>
                      <a:pt x="60" y="102"/>
                    </a:lnTo>
                    <a:lnTo>
                      <a:pt x="90" y="96"/>
                    </a:lnTo>
                    <a:lnTo>
                      <a:pt x="54" y="114"/>
                    </a:lnTo>
                    <a:lnTo>
                      <a:pt x="84" y="156"/>
                    </a:lnTo>
                    <a:lnTo>
                      <a:pt x="90" y="132"/>
                    </a:lnTo>
                    <a:lnTo>
                      <a:pt x="108" y="102"/>
                    </a:lnTo>
                    <a:lnTo>
                      <a:pt x="126" y="10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3" name="Guine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25C8B42-0556-459D-AE41-908E3584B8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79453" y="4062383"/>
                <a:ext cx="230627" cy="198399"/>
              </a:xfrm>
              <a:custGeom>
                <a:avLst/>
                <a:gdLst>
                  <a:gd name="T0" fmla="*/ 2147483647 w 522"/>
                  <a:gd name="T1" fmla="*/ 2147483647 h 444"/>
                  <a:gd name="T2" fmla="*/ 2147483647 w 522"/>
                  <a:gd name="T3" fmla="*/ 2147483647 h 444"/>
                  <a:gd name="T4" fmla="*/ 2147483647 w 522"/>
                  <a:gd name="T5" fmla="*/ 2147483647 h 444"/>
                  <a:gd name="T6" fmla="*/ 2147483647 w 522"/>
                  <a:gd name="T7" fmla="*/ 2147483647 h 444"/>
                  <a:gd name="T8" fmla="*/ 2147483647 w 522"/>
                  <a:gd name="T9" fmla="*/ 2147483647 h 444"/>
                  <a:gd name="T10" fmla="*/ 2147483647 w 522"/>
                  <a:gd name="T11" fmla="*/ 2147483647 h 444"/>
                  <a:gd name="T12" fmla="*/ 2147483647 w 522"/>
                  <a:gd name="T13" fmla="*/ 2147483647 h 444"/>
                  <a:gd name="T14" fmla="*/ 2147483647 w 522"/>
                  <a:gd name="T15" fmla="*/ 2147483647 h 444"/>
                  <a:gd name="T16" fmla="*/ 2147483647 w 522"/>
                  <a:gd name="T17" fmla="*/ 2147483647 h 444"/>
                  <a:gd name="T18" fmla="*/ 2147483647 w 522"/>
                  <a:gd name="T19" fmla="*/ 2147483647 h 444"/>
                  <a:gd name="T20" fmla="*/ 2147483647 w 522"/>
                  <a:gd name="T21" fmla="*/ 2147483647 h 444"/>
                  <a:gd name="T22" fmla="*/ 2147483647 w 522"/>
                  <a:gd name="T23" fmla="*/ 2147483647 h 444"/>
                  <a:gd name="T24" fmla="*/ 2147483647 w 522"/>
                  <a:gd name="T25" fmla="*/ 2147483647 h 444"/>
                  <a:gd name="T26" fmla="*/ 2147483647 w 522"/>
                  <a:gd name="T27" fmla="*/ 2147483647 h 444"/>
                  <a:gd name="T28" fmla="*/ 2147483647 w 522"/>
                  <a:gd name="T29" fmla="*/ 2147483647 h 444"/>
                  <a:gd name="T30" fmla="*/ 2147483647 w 522"/>
                  <a:gd name="T31" fmla="*/ 2147483647 h 444"/>
                  <a:gd name="T32" fmla="*/ 2147483647 w 522"/>
                  <a:gd name="T33" fmla="*/ 2147483647 h 444"/>
                  <a:gd name="T34" fmla="*/ 2147483647 w 522"/>
                  <a:gd name="T35" fmla="*/ 2147483647 h 444"/>
                  <a:gd name="T36" fmla="*/ 2147483647 w 522"/>
                  <a:gd name="T37" fmla="*/ 2147483647 h 444"/>
                  <a:gd name="T38" fmla="*/ 2147483647 w 522"/>
                  <a:gd name="T39" fmla="*/ 2147483647 h 444"/>
                  <a:gd name="T40" fmla="*/ 2147483647 w 522"/>
                  <a:gd name="T41" fmla="*/ 2147483647 h 444"/>
                  <a:gd name="T42" fmla="*/ 2147483647 w 522"/>
                  <a:gd name="T43" fmla="*/ 2147483647 h 444"/>
                  <a:gd name="T44" fmla="*/ 2147483647 w 522"/>
                  <a:gd name="T45" fmla="*/ 2147483647 h 444"/>
                  <a:gd name="T46" fmla="*/ 2147483647 w 522"/>
                  <a:gd name="T47" fmla="*/ 2147483647 h 444"/>
                  <a:gd name="T48" fmla="*/ 2147483647 w 522"/>
                  <a:gd name="T49" fmla="*/ 2147483647 h 444"/>
                  <a:gd name="T50" fmla="*/ 2147483647 w 522"/>
                  <a:gd name="T51" fmla="*/ 2147483647 h 444"/>
                  <a:gd name="T52" fmla="*/ 2147483647 w 522"/>
                  <a:gd name="T53" fmla="*/ 2147483647 h 444"/>
                  <a:gd name="T54" fmla="*/ 2147483647 w 522"/>
                  <a:gd name="T55" fmla="*/ 2147483647 h 444"/>
                  <a:gd name="T56" fmla="*/ 2147483647 w 522"/>
                  <a:gd name="T57" fmla="*/ 2147483647 h 444"/>
                  <a:gd name="T58" fmla="*/ 2147483647 w 522"/>
                  <a:gd name="T59" fmla="*/ 2147483647 h 444"/>
                  <a:gd name="T60" fmla="*/ 2147483647 w 522"/>
                  <a:gd name="T61" fmla="*/ 2147483647 h 444"/>
                  <a:gd name="T62" fmla="*/ 2147483647 w 522"/>
                  <a:gd name="T63" fmla="*/ 2147483647 h 444"/>
                  <a:gd name="T64" fmla="*/ 2147483647 w 522"/>
                  <a:gd name="T65" fmla="*/ 2147483647 h 444"/>
                  <a:gd name="T66" fmla="*/ 2147483647 w 522"/>
                  <a:gd name="T67" fmla="*/ 2147483647 h 444"/>
                  <a:gd name="T68" fmla="*/ 2147483647 w 522"/>
                  <a:gd name="T69" fmla="*/ 2147483647 h 444"/>
                  <a:gd name="T70" fmla="*/ 2147483647 w 522"/>
                  <a:gd name="T71" fmla="*/ 2147483647 h 444"/>
                  <a:gd name="T72" fmla="*/ 2147483647 w 522"/>
                  <a:gd name="T73" fmla="*/ 2147483647 h 444"/>
                  <a:gd name="T74" fmla="*/ 2147483647 w 522"/>
                  <a:gd name="T75" fmla="*/ 2147483647 h 444"/>
                  <a:gd name="T76" fmla="*/ 2147483647 w 522"/>
                  <a:gd name="T77" fmla="*/ 2147483647 h 444"/>
                  <a:gd name="T78" fmla="*/ 2147483647 w 522"/>
                  <a:gd name="T79" fmla="*/ 2147483647 h 444"/>
                  <a:gd name="T80" fmla="*/ 2147483647 w 522"/>
                  <a:gd name="T81" fmla="*/ 2147483647 h 444"/>
                  <a:gd name="T82" fmla="*/ 2147483647 w 522"/>
                  <a:gd name="T83" fmla="*/ 2147483647 h 444"/>
                  <a:gd name="T84" fmla="*/ 2147483647 w 522"/>
                  <a:gd name="T85" fmla="*/ 2147483647 h 444"/>
                  <a:gd name="T86" fmla="*/ 2147483647 w 522"/>
                  <a:gd name="T87" fmla="*/ 2147483647 h 444"/>
                  <a:gd name="T88" fmla="*/ 2147483647 w 522"/>
                  <a:gd name="T89" fmla="*/ 2147483647 h 444"/>
                  <a:gd name="T90" fmla="*/ 2147483647 w 522"/>
                  <a:gd name="T91" fmla="*/ 2147483647 h 444"/>
                  <a:gd name="T92" fmla="*/ 2147483647 w 522"/>
                  <a:gd name="T93" fmla="*/ 2147483647 h 44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522"/>
                  <a:gd name="T142" fmla="*/ 0 h 444"/>
                  <a:gd name="T143" fmla="*/ 522 w 522"/>
                  <a:gd name="T144" fmla="*/ 444 h 44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522" h="444">
                    <a:moveTo>
                      <a:pt x="96" y="0"/>
                    </a:moveTo>
                    <a:lnTo>
                      <a:pt x="96" y="24"/>
                    </a:lnTo>
                    <a:lnTo>
                      <a:pt x="78" y="24"/>
                    </a:lnTo>
                    <a:lnTo>
                      <a:pt x="72" y="30"/>
                    </a:lnTo>
                    <a:lnTo>
                      <a:pt x="72" y="42"/>
                    </a:lnTo>
                    <a:lnTo>
                      <a:pt x="78" y="48"/>
                    </a:lnTo>
                    <a:lnTo>
                      <a:pt x="90" y="54"/>
                    </a:lnTo>
                    <a:lnTo>
                      <a:pt x="96" y="60"/>
                    </a:lnTo>
                    <a:lnTo>
                      <a:pt x="96" y="66"/>
                    </a:lnTo>
                    <a:lnTo>
                      <a:pt x="90" y="78"/>
                    </a:lnTo>
                    <a:lnTo>
                      <a:pt x="84" y="84"/>
                    </a:lnTo>
                    <a:lnTo>
                      <a:pt x="54" y="84"/>
                    </a:lnTo>
                    <a:lnTo>
                      <a:pt x="42" y="90"/>
                    </a:lnTo>
                    <a:lnTo>
                      <a:pt x="36" y="96"/>
                    </a:lnTo>
                    <a:lnTo>
                      <a:pt x="18" y="96"/>
                    </a:lnTo>
                    <a:lnTo>
                      <a:pt x="0" y="126"/>
                    </a:lnTo>
                    <a:lnTo>
                      <a:pt x="0" y="132"/>
                    </a:lnTo>
                    <a:lnTo>
                      <a:pt x="18" y="150"/>
                    </a:lnTo>
                    <a:lnTo>
                      <a:pt x="30" y="150"/>
                    </a:lnTo>
                    <a:lnTo>
                      <a:pt x="30" y="162"/>
                    </a:lnTo>
                    <a:lnTo>
                      <a:pt x="24" y="168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54" y="204"/>
                    </a:lnTo>
                    <a:lnTo>
                      <a:pt x="72" y="204"/>
                    </a:lnTo>
                    <a:lnTo>
                      <a:pt x="72" y="228"/>
                    </a:lnTo>
                    <a:lnTo>
                      <a:pt x="84" y="228"/>
                    </a:lnTo>
                    <a:lnTo>
                      <a:pt x="90" y="222"/>
                    </a:lnTo>
                    <a:lnTo>
                      <a:pt x="90" y="234"/>
                    </a:lnTo>
                    <a:lnTo>
                      <a:pt x="96" y="246"/>
                    </a:lnTo>
                    <a:lnTo>
                      <a:pt x="96" y="258"/>
                    </a:lnTo>
                    <a:lnTo>
                      <a:pt x="114" y="276"/>
                    </a:lnTo>
                    <a:lnTo>
                      <a:pt x="126" y="282"/>
                    </a:lnTo>
                    <a:lnTo>
                      <a:pt x="132" y="288"/>
                    </a:lnTo>
                    <a:lnTo>
                      <a:pt x="138" y="282"/>
                    </a:lnTo>
                    <a:lnTo>
                      <a:pt x="150" y="276"/>
                    </a:lnTo>
                    <a:lnTo>
                      <a:pt x="156" y="264"/>
                    </a:lnTo>
                    <a:lnTo>
                      <a:pt x="168" y="252"/>
                    </a:lnTo>
                    <a:lnTo>
                      <a:pt x="174" y="240"/>
                    </a:lnTo>
                    <a:lnTo>
                      <a:pt x="180" y="234"/>
                    </a:lnTo>
                    <a:lnTo>
                      <a:pt x="180" y="228"/>
                    </a:lnTo>
                    <a:lnTo>
                      <a:pt x="216" y="228"/>
                    </a:lnTo>
                    <a:lnTo>
                      <a:pt x="222" y="210"/>
                    </a:lnTo>
                    <a:lnTo>
                      <a:pt x="258" y="210"/>
                    </a:lnTo>
                    <a:lnTo>
                      <a:pt x="300" y="270"/>
                    </a:lnTo>
                    <a:lnTo>
                      <a:pt x="300" y="288"/>
                    </a:lnTo>
                    <a:lnTo>
                      <a:pt x="312" y="300"/>
                    </a:lnTo>
                    <a:lnTo>
                      <a:pt x="312" y="318"/>
                    </a:lnTo>
                    <a:lnTo>
                      <a:pt x="306" y="330"/>
                    </a:lnTo>
                    <a:lnTo>
                      <a:pt x="300" y="336"/>
                    </a:lnTo>
                    <a:lnTo>
                      <a:pt x="294" y="354"/>
                    </a:lnTo>
                    <a:lnTo>
                      <a:pt x="324" y="342"/>
                    </a:lnTo>
                    <a:lnTo>
                      <a:pt x="348" y="348"/>
                    </a:lnTo>
                    <a:lnTo>
                      <a:pt x="348" y="336"/>
                    </a:lnTo>
                    <a:lnTo>
                      <a:pt x="354" y="330"/>
                    </a:lnTo>
                    <a:lnTo>
                      <a:pt x="360" y="330"/>
                    </a:lnTo>
                    <a:lnTo>
                      <a:pt x="372" y="336"/>
                    </a:lnTo>
                    <a:lnTo>
                      <a:pt x="384" y="348"/>
                    </a:lnTo>
                    <a:lnTo>
                      <a:pt x="390" y="366"/>
                    </a:lnTo>
                    <a:lnTo>
                      <a:pt x="390" y="426"/>
                    </a:lnTo>
                    <a:lnTo>
                      <a:pt x="402" y="426"/>
                    </a:lnTo>
                    <a:lnTo>
                      <a:pt x="402" y="432"/>
                    </a:lnTo>
                    <a:lnTo>
                      <a:pt x="414" y="444"/>
                    </a:lnTo>
                    <a:lnTo>
                      <a:pt x="420" y="444"/>
                    </a:lnTo>
                    <a:lnTo>
                      <a:pt x="432" y="432"/>
                    </a:lnTo>
                    <a:lnTo>
                      <a:pt x="432" y="420"/>
                    </a:lnTo>
                    <a:lnTo>
                      <a:pt x="438" y="408"/>
                    </a:lnTo>
                    <a:lnTo>
                      <a:pt x="444" y="402"/>
                    </a:lnTo>
                    <a:lnTo>
                      <a:pt x="456" y="402"/>
                    </a:lnTo>
                    <a:lnTo>
                      <a:pt x="468" y="408"/>
                    </a:lnTo>
                    <a:lnTo>
                      <a:pt x="474" y="414"/>
                    </a:lnTo>
                    <a:lnTo>
                      <a:pt x="480" y="414"/>
                    </a:lnTo>
                    <a:lnTo>
                      <a:pt x="486" y="408"/>
                    </a:lnTo>
                    <a:lnTo>
                      <a:pt x="486" y="390"/>
                    </a:lnTo>
                    <a:lnTo>
                      <a:pt x="480" y="384"/>
                    </a:lnTo>
                    <a:lnTo>
                      <a:pt x="480" y="378"/>
                    </a:lnTo>
                    <a:lnTo>
                      <a:pt x="498" y="378"/>
                    </a:lnTo>
                    <a:lnTo>
                      <a:pt x="492" y="366"/>
                    </a:lnTo>
                    <a:lnTo>
                      <a:pt x="480" y="360"/>
                    </a:lnTo>
                    <a:lnTo>
                      <a:pt x="474" y="348"/>
                    </a:lnTo>
                    <a:lnTo>
                      <a:pt x="474" y="336"/>
                    </a:lnTo>
                    <a:lnTo>
                      <a:pt x="492" y="336"/>
                    </a:lnTo>
                    <a:lnTo>
                      <a:pt x="498" y="342"/>
                    </a:lnTo>
                    <a:lnTo>
                      <a:pt x="510" y="342"/>
                    </a:lnTo>
                    <a:lnTo>
                      <a:pt x="516" y="348"/>
                    </a:lnTo>
                    <a:lnTo>
                      <a:pt x="516" y="342"/>
                    </a:lnTo>
                    <a:lnTo>
                      <a:pt x="522" y="336"/>
                    </a:lnTo>
                    <a:lnTo>
                      <a:pt x="522" y="324"/>
                    </a:lnTo>
                    <a:lnTo>
                      <a:pt x="516" y="324"/>
                    </a:lnTo>
                    <a:lnTo>
                      <a:pt x="504" y="318"/>
                    </a:lnTo>
                    <a:lnTo>
                      <a:pt x="498" y="318"/>
                    </a:lnTo>
                    <a:lnTo>
                      <a:pt x="498" y="306"/>
                    </a:lnTo>
                    <a:lnTo>
                      <a:pt x="504" y="294"/>
                    </a:lnTo>
                    <a:lnTo>
                      <a:pt x="510" y="288"/>
                    </a:lnTo>
                    <a:lnTo>
                      <a:pt x="492" y="282"/>
                    </a:lnTo>
                    <a:lnTo>
                      <a:pt x="504" y="264"/>
                    </a:lnTo>
                    <a:lnTo>
                      <a:pt x="486" y="258"/>
                    </a:lnTo>
                    <a:lnTo>
                      <a:pt x="480" y="222"/>
                    </a:lnTo>
                    <a:lnTo>
                      <a:pt x="498" y="198"/>
                    </a:lnTo>
                    <a:lnTo>
                      <a:pt x="468" y="168"/>
                    </a:lnTo>
                    <a:lnTo>
                      <a:pt x="468" y="132"/>
                    </a:lnTo>
                    <a:lnTo>
                      <a:pt x="444" y="132"/>
                    </a:lnTo>
                    <a:lnTo>
                      <a:pt x="468" y="96"/>
                    </a:lnTo>
                    <a:lnTo>
                      <a:pt x="432" y="78"/>
                    </a:lnTo>
                    <a:lnTo>
                      <a:pt x="444" y="48"/>
                    </a:lnTo>
                    <a:lnTo>
                      <a:pt x="426" y="36"/>
                    </a:lnTo>
                    <a:lnTo>
                      <a:pt x="426" y="18"/>
                    </a:lnTo>
                    <a:lnTo>
                      <a:pt x="414" y="12"/>
                    </a:lnTo>
                    <a:lnTo>
                      <a:pt x="402" y="12"/>
                    </a:lnTo>
                    <a:lnTo>
                      <a:pt x="396" y="18"/>
                    </a:lnTo>
                    <a:lnTo>
                      <a:pt x="396" y="36"/>
                    </a:lnTo>
                    <a:lnTo>
                      <a:pt x="378" y="54"/>
                    </a:lnTo>
                    <a:lnTo>
                      <a:pt x="366" y="48"/>
                    </a:lnTo>
                    <a:lnTo>
                      <a:pt x="360" y="42"/>
                    </a:lnTo>
                    <a:lnTo>
                      <a:pt x="348" y="36"/>
                    </a:lnTo>
                    <a:lnTo>
                      <a:pt x="342" y="36"/>
                    </a:lnTo>
                    <a:lnTo>
                      <a:pt x="336" y="30"/>
                    </a:lnTo>
                    <a:lnTo>
                      <a:pt x="330" y="30"/>
                    </a:lnTo>
                    <a:lnTo>
                      <a:pt x="324" y="42"/>
                    </a:lnTo>
                    <a:lnTo>
                      <a:pt x="312" y="54"/>
                    </a:lnTo>
                    <a:lnTo>
                      <a:pt x="306" y="66"/>
                    </a:lnTo>
                    <a:lnTo>
                      <a:pt x="306" y="54"/>
                    </a:lnTo>
                    <a:lnTo>
                      <a:pt x="300" y="42"/>
                    </a:lnTo>
                    <a:lnTo>
                      <a:pt x="288" y="30"/>
                    </a:lnTo>
                    <a:lnTo>
                      <a:pt x="276" y="42"/>
                    </a:lnTo>
                    <a:lnTo>
                      <a:pt x="270" y="54"/>
                    </a:lnTo>
                    <a:lnTo>
                      <a:pt x="264" y="60"/>
                    </a:lnTo>
                    <a:lnTo>
                      <a:pt x="258" y="54"/>
                    </a:lnTo>
                    <a:lnTo>
                      <a:pt x="258" y="48"/>
                    </a:lnTo>
                    <a:lnTo>
                      <a:pt x="252" y="36"/>
                    </a:lnTo>
                    <a:lnTo>
                      <a:pt x="252" y="24"/>
                    </a:lnTo>
                    <a:lnTo>
                      <a:pt x="210" y="24"/>
                    </a:lnTo>
                    <a:lnTo>
                      <a:pt x="204" y="30"/>
                    </a:lnTo>
                    <a:lnTo>
                      <a:pt x="192" y="36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18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38" y="18"/>
                    </a:lnTo>
                    <a:lnTo>
                      <a:pt x="132" y="6"/>
                    </a:lnTo>
                    <a:lnTo>
                      <a:pt x="132" y="0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4" name="Green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63B106A-4585-4FFA-BC30-0769623D0D8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95385" y="1697550"/>
                <a:ext cx="1240494" cy="685537"/>
              </a:xfrm>
              <a:custGeom>
                <a:avLst/>
                <a:gdLst>
                  <a:gd name="T0" fmla="*/ 2147483647 w 732"/>
                  <a:gd name="T1" fmla="*/ 2147483647 h 398"/>
                  <a:gd name="T2" fmla="*/ 2147483647 w 732"/>
                  <a:gd name="T3" fmla="*/ 2147483647 h 398"/>
                  <a:gd name="T4" fmla="*/ 2147483647 w 732"/>
                  <a:gd name="T5" fmla="*/ 2147483647 h 398"/>
                  <a:gd name="T6" fmla="*/ 2147483647 w 732"/>
                  <a:gd name="T7" fmla="*/ 2147483647 h 398"/>
                  <a:gd name="T8" fmla="*/ 2147483647 w 732"/>
                  <a:gd name="T9" fmla="*/ 2147483647 h 398"/>
                  <a:gd name="T10" fmla="*/ 2147483647 w 732"/>
                  <a:gd name="T11" fmla="*/ 2147483647 h 398"/>
                  <a:gd name="T12" fmla="*/ 2147483647 w 732"/>
                  <a:gd name="T13" fmla="*/ 2147483647 h 398"/>
                  <a:gd name="T14" fmla="*/ 2147483647 w 732"/>
                  <a:gd name="T15" fmla="*/ 2147483647 h 398"/>
                  <a:gd name="T16" fmla="*/ 2147483647 w 732"/>
                  <a:gd name="T17" fmla="*/ 2147483647 h 398"/>
                  <a:gd name="T18" fmla="*/ 2147483647 w 732"/>
                  <a:gd name="T19" fmla="*/ 2147483647 h 398"/>
                  <a:gd name="T20" fmla="*/ 2147483647 w 732"/>
                  <a:gd name="T21" fmla="*/ 2147483647 h 398"/>
                  <a:gd name="T22" fmla="*/ 2147483647 w 732"/>
                  <a:gd name="T23" fmla="*/ 2147483647 h 398"/>
                  <a:gd name="T24" fmla="*/ 2147483647 w 732"/>
                  <a:gd name="T25" fmla="*/ 2147483647 h 398"/>
                  <a:gd name="T26" fmla="*/ 2147483647 w 732"/>
                  <a:gd name="T27" fmla="*/ 2147483647 h 398"/>
                  <a:gd name="T28" fmla="*/ 2147483647 w 732"/>
                  <a:gd name="T29" fmla="*/ 2147483647 h 398"/>
                  <a:gd name="T30" fmla="*/ 2147483647 w 732"/>
                  <a:gd name="T31" fmla="*/ 2147483647 h 398"/>
                  <a:gd name="T32" fmla="*/ 2147483647 w 732"/>
                  <a:gd name="T33" fmla="*/ 2147483647 h 398"/>
                  <a:gd name="T34" fmla="*/ 2147483647 w 732"/>
                  <a:gd name="T35" fmla="*/ 2147483647 h 398"/>
                  <a:gd name="T36" fmla="*/ 2147483647 w 732"/>
                  <a:gd name="T37" fmla="*/ 2147483647 h 398"/>
                  <a:gd name="T38" fmla="*/ 2147483647 w 732"/>
                  <a:gd name="T39" fmla="*/ 2147483647 h 398"/>
                  <a:gd name="T40" fmla="*/ 2147483647 w 732"/>
                  <a:gd name="T41" fmla="*/ 2147483647 h 398"/>
                  <a:gd name="T42" fmla="*/ 2147483647 w 732"/>
                  <a:gd name="T43" fmla="*/ 2147483647 h 398"/>
                  <a:gd name="T44" fmla="*/ 2147483647 w 732"/>
                  <a:gd name="T45" fmla="*/ 2147483647 h 398"/>
                  <a:gd name="T46" fmla="*/ 2147483647 w 732"/>
                  <a:gd name="T47" fmla="*/ 2147483647 h 398"/>
                  <a:gd name="T48" fmla="*/ 2147483647 w 732"/>
                  <a:gd name="T49" fmla="*/ 2147483647 h 398"/>
                  <a:gd name="T50" fmla="*/ 2147483647 w 732"/>
                  <a:gd name="T51" fmla="*/ 2147483647 h 398"/>
                  <a:gd name="T52" fmla="*/ 2147483647 w 732"/>
                  <a:gd name="T53" fmla="*/ 2147483647 h 398"/>
                  <a:gd name="T54" fmla="*/ 2147483647 w 732"/>
                  <a:gd name="T55" fmla="*/ 2147483647 h 398"/>
                  <a:gd name="T56" fmla="*/ 2147483647 w 732"/>
                  <a:gd name="T57" fmla="*/ 2147483647 h 398"/>
                  <a:gd name="T58" fmla="*/ 2147483647 w 732"/>
                  <a:gd name="T59" fmla="*/ 2147483647 h 398"/>
                  <a:gd name="T60" fmla="*/ 2147483647 w 732"/>
                  <a:gd name="T61" fmla="*/ 2147483647 h 398"/>
                  <a:gd name="T62" fmla="*/ 2147483647 w 732"/>
                  <a:gd name="T63" fmla="*/ 2147483647 h 398"/>
                  <a:gd name="T64" fmla="*/ 2147483647 w 732"/>
                  <a:gd name="T65" fmla="*/ 2147483647 h 398"/>
                  <a:gd name="T66" fmla="*/ 2147483647 w 732"/>
                  <a:gd name="T67" fmla="*/ 2147483647 h 398"/>
                  <a:gd name="T68" fmla="*/ 2147483647 w 732"/>
                  <a:gd name="T69" fmla="*/ 2147483647 h 398"/>
                  <a:gd name="T70" fmla="*/ 2147483647 w 732"/>
                  <a:gd name="T71" fmla="*/ 2147483647 h 398"/>
                  <a:gd name="T72" fmla="*/ 2147483647 w 732"/>
                  <a:gd name="T73" fmla="*/ 2147483647 h 398"/>
                  <a:gd name="T74" fmla="*/ 2147483647 w 732"/>
                  <a:gd name="T75" fmla="*/ 2147483647 h 398"/>
                  <a:gd name="T76" fmla="*/ 2147483647 w 732"/>
                  <a:gd name="T77" fmla="*/ 2147483647 h 398"/>
                  <a:gd name="T78" fmla="*/ 2147483647 w 732"/>
                  <a:gd name="T79" fmla="*/ 2147483647 h 398"/>
                  <a:gd name="T80" fmla="*/ 2147483647 w 732"/>
                  <a:gd name="T81" fmla="*/ 2147483647 h 398"/>
                  <a:gd name="T82" fmla="*/ 2147483647 w 732"/>
                  <a:gd name="T83" fmla="*/ 2147483647 h 398"/>
                  <a:gd name="T84" fmla="*/ 2147483647 w 732"/>
                  <a:gd name="T85" fmla="*/ 2147483647 h 398"/>
                  <a:gd name="T86" fmla="*/ 2147483647 w 732"/>
                  <a:gd name="T87" fmla="*/ 2147483647 h 398"/>
                  <a:gd name="T88" fmla="*/ 2147483647 w 732"/>
                  <a:gd name="T89" fmla="*/ 2147483647 h 398"/>
                  <a:gd name="T90" fmla="*/ 2147483647 w 732"/>
                  <a:gd name="T91" fmla="*/ 2147483647 h 398"/>
                  <a:gd name="T92" fmla="*/ 2147483647 w 732"/>
                  <a:gd name="T93" fmla="*/ 2147483647 h 398"/>
                  <a:gd name="T94" fmla="*/ 2147483647 w 732"/>
                  <a:gd name="T95" fmla="*/ 2147483647 h 398"/>
                  <a:gd name="T96" fmla="*/ 2147483647 w 732"/>
                  <a:gd name="T97" fmla="*/ 2147483647 h 398"/>
                  <a:gd name="T98" fmla="*/ 2147483647 w 732"/>
                  <a:gd name="T99" fmla="*/ 2147483647 h 398"/>
                  <a:gd name="T100" fmla="*/ 2147483647 w 732"/>
                  <a:gd name="T101" fmla="*/ 2147483647 h 398"/>
                  <a:gd name="T102" fmla="*/ 2147483647 w 732"/>
                  <a:gd name="T103" fmla="*/ 2147483647 h 398"/>
                  <a:gd name="T104" fmla="*/ 2147483647 w 732"/>
                  <a:gd name="T105" fmla="*/ 2147483647 h 398"/>
                  <a:gd name="T106" fmla="*/ 2147483647 w 732"/>
                  <a:gd name="T107" fmla="*/ 2147483647 h 398"/>
                  <a:gd name="T108" fmla="*/ 2147483647 w 732"/>
                  <a:gd name="T109" fmla="*/ 2147483647 h 398"/>
                  <a:gd name="T110" fmla="*/ 2147483647 w 732"/>
                  <a:gd name="T111" fmla="*/ 2147483647 h 398"/>
                  <a:gd name="T112" fmla="*/ 2147483647 w 732"/>
                  <a:gd name="T113" fmla="*/ 2147483647 h 398"/>
                  <a:gd name="T114" fmla="*/ 2147483647 w 732"/>
                  <a:gd name="T115" fmla="*/ 2147483647 h 398"/>
                  <a:gd name="T116" fmla="*/ 2147483647 w 732"/>
                  <a:gd name="T117" fmla="*/ 2147483647 h 398"/>
                  <a:gd name="T118" fmla="*/ 2147483647 w 732"/>
                  <a:gd name="T119" fmla="*/ 2147483647 h 398"/>
                  <a:gd name="T120" fmla="*/ 2147483647 w 732"/>
                  <a:gd name="T121" fmla="*/ 2147483647 h 398"/>
                  <a:gd name="T122" fmla="*/ 2147483647 w 732"/>
                  <a:gd name="T123" fmla="*/ 2147483647 h 3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32"/>
                  <a:gd name="T187" fmla="*/ 0 h 398"/>
                  <a:gd name="T188" fmla="*/ 732 w 732"/>
                  <a:gd name="T189" fmla="*/ 398 h 3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32" h="398">
                    <a:moveTo>
                      <a:pt x="730" y="24"/>
                    </a:moveTo>
                    <a:lnTo>
                      <a:pt x="728" y="24"/>
                    </a:lnTo>
                    <a:lnTo>
                      <a:pt x="723" y="24"/>
                    </a:lnTo>
                    <a:lnTo>
                      <a:pt x="718" y="22"/>
                    </a:lnTo>
                    <a:lnTo>
                      <a:pt x="678" y="22"/>
                    </a:lnTo>
                    <a:lnTo>
                      <a:pt x="678" y="24"/>
                    </a:lnTo>
                    <a:lnTo>
                      <a:pt x="670" y="26"/>
                    </a:lnTo>
                    <a:lnTo>
                      <a:pt x="659" y="26"/>
                    </a:lnTo>
                    <a:lnTo>
                      <a:pt x="651" y="24"/>
                    </a:lnTo>
                    <a:lnTo>
                      <a:pt x="637" y="24"/>
                    </a:lnTo>
                    <a:lnTo>
                      <a:pt x="623" y="29"/>
                    </a:lnTo>
                    <a:lnTo>
                      <a:pt x="616" y="34"/>
                    </a:lnTo>
                    <a:lnTo>
                      <a:pt x="611" y="34"/>
                    </a:lnTo>
                    <a:lnTo>
                      <a:pt x="606" y="34"/>
                    </a:lnTo>
                    <a:lnTo>
                      <a:pt x="604" y="36"/>
                    </a:lnTo>
                    <a:lnTo>
                      <a:pt x="602" y="36"/>
                    </a:lnTo>
                    <a:lnTo>
                      <a:pt x="597" y="38"/>
                    </a:lnTo>
                    <a:lnTo>
                      <a:pt x="592" y="38"/>
                    </a:lnTo>
                    <a:lnTo>
                      <a:pt x="599" y="34"/>
                    </a:lnTo>
                    <a:lnTo>
                      <a:pt x="609" y="31"/>
                    </a:lnTo>
                    <a:lnTo>
                      <a:pt x="621" y="26"/>
                    </a:lnTo>
                    <a:lnTo>
                      <a:pt x="623" y="24"/>
                    </a:lnTo>
                    <a:lnTo>
                      <a:pt x="618" y="19"/>
                    </a:lnTo>
                    <a:lnTo>
                      <a:pt x="606" y="19"/>
                    </a:lnTo>
                    <a:lnTo>
                      <a:pt x="604" y="22"/>
                    </a:lnTo>
                    <a:lnTo>
                      <a:pt x="602" y="22"/>
                    </a:lnTo>
                    <a:lnTo>
                      <a:pt x="597" y="24"/>
                    </a:lnTo>
                    <a:lnTo>
                      <a:pt x="594" y="24"/>
                    </a:lnTo>
                    <a:lnTo>
                      <a:pt x="566" y="26"/>
                    </a:lnTo>
                    <a:lnTo>
                      <a:pt x="566" y="29"/>
                    </a:lnTo>
                    <a:lnTo>
                      <a:pt x="563" y="29"/>
                    </a:lnTo>
                    <a:lnTo>
                      <a:pt x="566" y="26"/>
                    </a:lnTo>
                    <a:lnTo>
                      <a:pt x="568" y="26"/>
                    </a:lnTo>
                    <a:lnTo>
                      <a:pt x="573" y="26"/>
                    </a:lnTo>
                    <a:lnTo>
                      <a:pt x="578" y="24"/>
                    </a:lnTo>
                    <a:lnTo>
                      <a:pt x="580" y="24"/>
                    </a:lnTo>
                    <a:lnTo>
                      <a:pt x="582" y="24"/>
                    </a:lnTo>
                    <a:lnTo>
                      <a:pt x="585" y="22"/>
                    </a:lnTo>
                    <a:lnTo>
                      <a:pt x="578" y="19"/>
                    </a:lnTo>
                    <a:lnTo>
                      <a:pt x="552" y="19"/>
                    </a:lnTo>
                    <a:lnTo>
                      <a:pt x="542" y="22"/>
                    </a:lnTo>
                    <a:lnTo>
                      <a:pt x="525" y="19"/>
                    </a:lnTo>
                    <a:lnTo>
                      <a:pt x="523" y="19"/>
                    </a:lnTo>
                    <a:lnTo>
                      <a:pt x="523" y="22"/>
                    </a:lnTo>
                    <a:lnTo>
                      <a:pt x="518" y="22"/>
                    </a:lnTo>
                    <a:lnTo>
                      <a:pt x="514" y="24"/>
                    </a:lnTo>
                    <a:lnTo>
                      <a:pt x="511" y="24"/>
                    </a:lnTo>
                    <a:lnTo>
                      <a:pt x="509" y="24"/>
                    </a:lnTo>
                    <a:lnTo>
                      <a:pt x="506" y="24"/>
                    </a:lnTo>
                    <a:lnTo>
                      <a:pt x="509" y="22"/>
                    </a:lnTo>
                    <a:lnTo>
                      <a:pt x="518" y="19"/>
                    </a:lnTo>
                    <a:lnTo>
                      <a:pt x="530" y="19"/>
                    </a:lnTo>
                    <a:lnTo>
                      <a:pt x="563" y="19"/>
                    </a:lnTo>
                    <a:lnTo>
                      <a:pt x="580" y="17"/>
                    </a:lnTo>
                    <a:lnTo>
                      <a:pt x="625" y="17"/>
                    </a:lnTo>
                    <a:lnTo>
                      <a:pt x="632" y="14"/>
                    </a:lnTo>
                    <a:lnTo>
                      <a:pt x="628" y="12"/>
                    </a:lnTo>
                    <a:lnTo>
                      <a:pt x="618" y="10"/>
                    </a:lnTo>
                    <a:lnTo>
                      <a:pt x="592" y="10"/>
                    </a:lnTo>
                    <a:lnTo>
                      <a:pt x="594" y="10"/>
                    </a:lnTo>
                    <a:lnTo>
                      <a:pt x="597" y="7"/>
                    </a:lnTo>
                    <a:lnTo>
                      <a:pt x="594" y="5"/>
                    </a:lnTo>
                    <a:lnTo>
                      <a:pt x="585" y="5"/>
                    </a:lnTo>
                    <a:lnTo>
                      <a:pt x="582" y="7"/>
                    </a:lnTo>
                    <a:lnTo>
                      <a:pt x="568" y="7"/>
                    </a:lnTo>
                    <a:lnTo>
                      <a:pt x="566" y="5"/>
                    </a:lnTo>
                    <a:lnTo>
                      <a:pt x="571" y="5"/>
                    </a:lnTo>
                    <a:lnTo>
                      <a:pt x="573" y="5"/>
                    </a:lnTo>
                    <a:lnTo>
                      <a:pt x="578" y="5"/>
                    </a:lnTo>
                    <a:lnTo>
                      <a:pt x="578" y="2"/>
                    </a:lnTo>
                    <a:lnTo>
                      <a:pt x="575" y="2"/>
                    </a:lnTo>
                    <a:lnTo>
                      <a:pt x="571" y="0"/>
                    </a:lnTo>
                    <a:lnTo>
                      <a:pt x="537" y="0"/>
                    </a:lnTo>
                    <a:lnTo>
                      <a:pt x="528" y="2"/>
                    </a:lnTo>
                    <a:lnTo>
                      <a:pt x="518" y="2"/>
                    </a:lnTo>
                    <a:lnTo>
                      <a:pt x="509" y="0"/>
                    </a:lnTo>
                    <a:lnTo>
                      <a:pt x="483" y="0"/>
                    </a:lnTo>
                    <a:lnTo>
                      <a:pt x="478" y="2"/>
                    </a:lnTo>
                    <a:lnTo>
                      <a:pt x="454" y="2"/>
                    </a:lnTo>
                    <a:lnTo>
                      <a:pt x="452" y="0"/>
                    </a:lnTo>
                    <a:lnTo>
                      <a:pt x="447" y="0"/>
                    </a:lnTo>
                    <a:lnTo>
                      <a:pt x="445" y="2"/>
                    </a:lnTo>
                    <a:lnTo>
                      <a:pt x="442" y="2"/>
                    </a:lnTo>
                    <a:lnTo>
                      <a:pt x="442" y="5"/>
                    </a:lnTo>
                    <a:lnTo>
                      <a:pt x="445" y="5"/>
                    </a:lnTo>
                    <a:lnTo>
                      <a:pt x="447" y="5"/>
                    </a:lnTo>
                    <a:lnTo>
                      <a:pt x="442" y="7"/>
                    </a:lnTo>
                    <a:lnTo>
                      <a:pt x="428" y="7"/>
                    </a:lnTo>
                    <a:lnTo>
                      <a:pt x="409" y="5"/>
                    </a:lnTo>
                    <a:lnTo>
                      <a:pt x="378" y="5"/>
                    </a:lnTo>
                    <a:lnTo>
                      <a:pt x="373" y="5"/>
                    </a:lnTo>
                    <a:lnTo>
                      <a:pt x="371" y="5"/>
                    </a:lnTo>
                    <a:lnTo>
                      <a:pt x="368" y="7"/>
                    </a:lnTo>
                    <a:lnTo>
                      <a:pt x="366" y="7"/>
                    </a:lnTo>
                    <a:lnTo>
                      <a:pt x="366" y="10"/>
                    </a:lnTo>
                    <a:lnTo>
                      <a:pt x="368" y="10"/>
                    </a:lnTo>
                    <a:lnTo>
                      <a:pt x="378" y="10"/>
                    </a:lnTo>
                    <a:lnTo>
                      <a:pt x="387" y="10"/>
                    </a:lnTo>
                    <a:lnTo>
                      <a:pt x="399" y="12"/>
                    </a:lnTo>
                    <a:lnTo>
                      <a:pt x="404" y="12"/>
                    </a:lnTo>
                    <a:lnTo>
                      <a:pt x="426" y="14"/>
                    </a:lnTo>
                    <a:lnTo>
                      <a:pt x="399" y="14"/>
                    </a:lnTo>
                    <a:lnTo>
                      <a:pt x="395" y="14"/>
                    </a:lnTo>
                    <a:lnTo>
                      <a:pt x="392" y="14"/>
                    </a:lnTo>
                    <a:lnTo>
                      <a:pt x="387" y="12"/>
                    </a:lnTo>
                    <a:lnTo>
                      <a:pt x="378" y="12"/>
                    </a:lnTo>
                    <a:lnTo>
                      <a:pt x="380" y="14"/>
                    </a:lnTo>
                    <a:lnTo>
                      <a:pt x="383" y="14"/>
                    </a:lnTo>
                    <a:lnTo>
                      <a:pt x="385" y="14"/>
                    </a:lnTo>
                    <a:lnTo>
                      <a:pt x="376" y="14"/>
                    </a:lnTo>
                    <a:lnTo>
                      <a:pt x="373" y="17"/>
                    </a:lnTo>
                    <a:lnTo>
                      <a:pt x="373" y="19"/>
                    </a:lnTo>
                    <a:lnTo>
                      <a:pt x="371" y="22"/>
                    </a:lnTo>
                    <a:lnTo>
                      <a:pt x="371" y="24"/>
                    </a:lnTo>
                    <a:lnTo>
                      <a:pt x="368" y="24"/>
                    </a:lnTo>
                    <a:lnTo>
                      <a:pt x="366" y="24"/>
                    </a:lnTo>
                    <a:lnTo>
                      <a:pt x="364" y="24"/>
                    </a:lnTo>
                    <a:lnTo>
                      <a:pt x="359" y="24"/>
                    </a:lnTo>
                    <a:lnTo>
                      <a:pt x="357" y="22"/>
                    </a:lnTo>
                    <a:lnTo>
                      <a:pt x="345" y="19"/>
                    </a:lnTo>
                    <a:lnTo>
                      <a:pt x="330" y="14"/>
                    </a:lnTo>
                    <a:lnTo>
                      <a:pt x="309" y="14"/>
                    </a:lnTo>
                    <a:lnTo>
                      <a:pt x="309" y="24"/>
                    </a:lnTo>
                    <a:lnTo>
                      <a:pt x="297" y="24"/>
                    </a:lnTo>
                    <a:lnTo>
                      <a:pt x="292" y="22"/>
                    </a:lnTo>
                    <a:lnTo>
                      <a:pt x="288" y="22"/>
                    </a:lnTo>
                    <a:lnTo>
                      <a:pt x="285" y="19"/>
                    </a:lnTo>
                    <a:lnTo>
                      <a:pt x="278" y="19"/>
                    </a:lnTo>
                    <a:lnTo>
                      <a:pt x="273" y="22"/>
                    </a:lnTo>
                    <a:lnTo>
                      <a:pt x="273" y="24"/>
                    </a:lnTo>
                    <a:lnTo>
                      <a:pt x="269" y="24"/>
                    </a:lnTo>
                    <a:lnTo>
                      <a:pt x="271" y="19"/>
                    </a:lnTo>
                    <a:lnTo>
                      <a:pt x="269" y="17"/>
                    </a:lnTo>
                    <a:lnTo>
                      <a:pt x="238" y="17"/>
                    </a:lnTo>
                    <a:lnTo>
                      <a:pt x="228" y="19"/>
                    </a:lnTo>
                    <a:lnTo>
                      <a:pt x="209" y="19"/>
                    </a:lnTo>
                    <a:lnTo>
                      <a:pt x="214" y="22"/>
                    </a:lnTo>
                    <a:lnTo>
                      <a:pt x="223" y="26"/>
                    </a:lnTo>
                    <a:lnTo>
                      <a:pt x="226" y="29"/>
                    </a:lnTo>
                    <a:lnTo>
                      <a:pt x="223" y="29"/>
                    </a:lnTo>
                    <a:lnTo>
                      <a:pt x="223" y="26"/>
                    </a:lnTo>
                    <a:lnTo>
                      <a:pt x="214" y="24"/>
                    </a:lnTo>
                    <a:lnTo>
                      <a:pt x="207" y="24"/>
                    </a:lnTo>
                    <a:lnTo>
                      <a:pt x="202" y="22"/>
                    </a:lnTo>
                    <a:lnTo>
                      <a:pt x="197" y="22"/>
                    </a:lnTo>
                    <a:lnTo>
                      <a:pt x="192" y="19"/>
                    </a:lnTo>
                    <a:lnTo>
                      <a:pt x="190" y="19"/>
                    </a:lnTo>
                    <a:lnTo>
                      <a:pt x="188" y="22"/>
                    </a:lnTo>
                    <a:lnTo>
                      <a:pt x="185" y="24"/>
                    </a:lnTo>
                    <a:lnTo>
                      <a:pt x="183" y="26"/>
                    </a:lnTo>
                    <a:lnTo>
                      <a:pt x="178" y="29"/>
                    </a:lnTo>
                    <a:lnTo>
                      <a:pt x="176" y="29"/>
                    </a:lnTo>
                    <a:lnTo>
                      <a:pt x="171" y="31"/>
                    </a:lnTo>
                    <a:lnTo>
                      <a:pt x="150" y="31"/>
                    </a:lnTo>
                    <a:lnTo>
                      <a:pt x="143" y="34"/>
                    </a:lnTo>
                    <a:lnTo>
                      <a:pt x="133" y="36"/>
                    </a:lnTo>
                    <a:lnTo>
                      <a:pt x="124" y="38"/>
                    </a:lnTo>
                    <a:lnTo>
                      <a:pt x="119" y="38"/>
                    </a:lnTo>
                    <a:lnTo>
                      <a:pt x="102" y="41"/>
                    </a:lnTo>
                    <a:lnTo>
                      <a:pt x="97" y="43"/>
                    </a:lnTo>
                    <a:lnTo>
                      <a:pt x="100" y="46"/>
                    </a:lnTo>
                    <a:lnTo>
                      <a:pt x="105" y="48"/>
                    </a:lnTo>
                    <a:lnTo>
                      <a:pt x="126" y="48"/>
                    </a:lnTo>
                    <a:lnTo>
                      <a:pt x="116" y="50"/>
                    </a:lnTo>
                    <a:lnTo>
                      <a:pt x="112" y="55"/>
                    </a:lnTo>
                    <a:lnTo>
                      <a:pt x="109" y="55"/>
                    </a:lnTo>
                    <a:lnTo>
                      <a:pt x="93" y="60"/>
                    </a:lnTo>
                    <a:lnTo>
                      <a:pt x="88" y="60"/>
                    </a:lnTo>
                    <a:lnTo>
                      <a:pt x="66" y="60"/>
                    </a:lnTo>
                    <a:lnTo>
                      <a:pt x="57" y="62"/>
                    </a:lnTo>
                    <a:lnTo>
                      <a:pt x="47" y="65"/>
                    </a:lnTo>
                    <a:lnTo>
                      <a:pt x="45" y="67"/>
                    </a:lnTo>
                    <a:lnTo>
                      <a:pt x="40" y="67"/>
                    </a:lnTo>
                    <a:lnTo>
                      <a:pt x="38" y="65"/>
                    </a:lnTo>
                    <a:lnTo>
                      <a:pt x="31" y="70"/>
                    </a:lnTo>
                    <a:lnTo>
                      <a:pt x="9" y="70"/>
                    </a:lnTo>
                    <a:lnTo>
                      <a:pt x="7" y="70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9" y="79"/>
                    </a:lnTo>
                    <a:lnTo>
                      <a:pt x="12" y="82"/>
                    </a:lnTo>
                    <a:lnTo>
                      <a:pt x="14" y="84"/>
                    </a:lnTo>
                    <a:lnTo>
                      <a:pt x="24" y="79"/>
                    </a:lnTo>
                    <a:lnTo>
                      <a:pt x="24" y="84"/>
                    </a:lnTo>
                    <a:lnTo>
                      <a:pt x="28" y="86"/>
                    </a:lnTo>
                    <a:lnTo>
                      <a:pt x="33" y="86"/>
                    </a:lnTo>
                    <a:lnTo>
                      <a:pt x="36" y="84"/>
                    </a:lnTo>
                    <a:lnTo>
                      <a:pt x="38" y="84"/>
                    </a:lnTo>
                    <a:lnTo>
                      <a:pt x="40" y="82"/>
                    </a:lnTo>
                    <a:lnTo>
                      <a:pt x="40" y="84"/>
                    </a:lnTo>
                    <a:lnTo>
                      <a:pt x="43" y="86"/>
                    </a:lnTo>
                    <a:lnTo>
                      <a:pt x="45" y="86"/>
                    </a:lnTo>
                    <a:lnTo>
                      <a:pt x="47" y="84"/>
                    </a:lnTo>
                    <a:lnTo>
                      <a:pt x="52" y="84"/>
                    </a:lnTo>
                    <a:lnTo>
                      <a:pt x="57" y="84"/>
                    </a:lnTo>
                    <a:lnTo>
                      <a:pt x="59" y="82"/>
                    </a:lnTo>
                    <a:lnTo>
                      <a:pt x="64" y="82"/>
                    </a:lnTo>
                    <a:lnTo>
                      <a:pt x="64" y="84"/>
                    </a:lnTo>
                    <a:lnTo>
                      <a:pt x="64" y="86"/>
                    </a:lnTo>
                    <a:lnTo>
                      <a:pt x="62" y="86"/>
                    </a:lnTo>
                    <a:lnTo>
                      <a:pt x="57" y="91"/>
                    </a:lnTo>
                    <a:lnTo>
                      <a:pt x="55" y="91"/>
                    </a:lnTo>
                    <a:lnTo>
                      <a:pt x="52" y="89"/>
                    </a:lnTo>
                    <a:lnTo>
                      <a:pt x="40" y="89"/>
                    </a:lnTo>
                    <a:lnTo>
                      <a:pt x="36" y="91"/>
                    </a:lnTo>
                    <a:lnTo>
                      <a:pt x="33" y="91"/>
                    </a:lnTo>
                    <a:lnTo>
                      <a:pt x="21" y="89"/>
                    </a:lnTo>
                    <a:lnTo>
                      <a:pt x="19" y="89"/>
                    </a:lnTo>
                    <a:lnTo>
                      <a:pt x="14" y="86"/>
                    </a:lnTo>
                    <a:lnTo>
                      <a:pt x="7" y="86"/>
                    </a:lnTo>
                    <a:lnTo>
                      <a:pt x="2" y="89"/>
                    </a:lnTo>
                    <a:lnTo>
                      <a:pt x="2" y="93"/>
                    </a:lnTo>
                    <a:lnTo>
                      <a:pt x="2" y="96"/>
                    </a:lnTo>
                    <a:lnTo>
                      <a:pt x="7" y="98"/>
                    </a:lnTo>
                    <a:lnTo>
                      <a:pt x="19" y="98"/>
                    </a:lnTo>
                    <a:lnTo>
                      <a:pt x="17" y="101"/>
                    </a:lnTo>
                    <a:lnTo>
                      <a:pt x="14" y="101"/>
                    </a:lnTo>
                    <a:lnTo>
                      <a:pt x="9" y="101"/>
                    </a:lnTo>
                    <a:lnTo>
                      <a:pt x="12" y="103"/>
                    </a:lnTo>
                    <a:lnTo>
                      <a:pt x="19" y="105"/>
                    </a:lnTo>
                    <a:lnTo>
                      <a:pt x="21" y="105"/>
                    </a:lnTo>
                    <a:lnTo>
                      <a:pt x="24" y="108"/>
                    </a:lnTo>
                    <a:lnTo>
                      <a:pt x="33" y="108"/>
                    </a:lnTo>
                    <a:lnTo>
                      <a:pt x="33" y="105"/>
                    </a:lnTo>
                    <a:lnTo>
                      <a:pt x="36" y="105"/>
                    </a:lnTo>
                    <a:lnTo>
                      <a:pt x="38" y="105"/>
                    </a:lnTo>
                    <a:lnTo>
                      <a:pt x="43" y="108"/>
                    </a:lnTo>
                    <a:lnTo>
                      <a:pt x="52" y="105"/>
                    </a:lnTo>
                    <a:lnTo>
                      <a:pt x="52" y="108"/>
                    </a:lnTo>
                    <a:lnTo>
                      <a:pt x="57" y="108"/>
                    </a:lnTo>
                    <a:lnTo>
                      <a:pt x="62" y="105"/>
                    </a:lnTo>
                    <a:lnTo>
                      <a:pt x="64" y="105"/>
                    </a:lnTo>
                    <a:lnTo>
                      <a:pt x="69" y="103"/>
                    </a:lnTo>
                    <a:lnTo>
                      <a:pt x="76" y="105"/>
                    </a:lnTo>
                    <a:lnTo>
                      <a:pt x="81" y="105"/>
                    </a:lnTo>
                    <a:lnTo>
                      <a:pt x="83" y="105"/>
                    </a:lnTo>
                    <a:lnTo>
                      <a:pt x="85" y="103"/>
                    </a:lnTo>
                    <a:lnTo>
                      <a:pt x="88" y="103"/>
                    </a:lnTo>
                    <a:lnTo>
                      <a:pt x="93" y="105"/>
                    </a:lnTo>
                    <a:lnTo>
                      <a:pt x="97" y="105"/>
                    </a:lnTo>
                    <a:lnTo>
                      <a:pt x="112" y="105"/>
                    </a:lnTo>
                    <a:lnTo>
                      <a:pt x="121" y="110"/>
                    </a:lnTo>
                    <a:lnTo>
                      <a:pt x="124" y="110"/>
                    </a:lnTo>
                    <a:lnTo>
                      <a:pt x="128" y="115"/>
                    </a:lnTo>
                    <a:lnTo>
                      <a:pt x="135" y="115"/>
                    </a:lnTo>
                    <a:lnTo>
                      <a:pt x="133" y="117"/>
                    </a:lnTo>
                    <a:lnTo>
                      <a:pt x="133" y="120"/>
                    </a:lnTo>
                    <a:lnTo>
                      <a:pt x="133" y="125"/>
                    </a:lnTo>
                    <a:lnTo>
                      <a:pt x="138" y="125"/>
                    </a:lnTo>
                    <a:lnTo>
                      <a:pt x="140" y="125"/>
                    </a:lnTo>
                    <a:lnTo>
                      <a:pt x="145" y="127"/>
                    </a:lnTo>
                    <a:lnTo>
                      <a:pt x="147" y="129"/>
                    </a:lnTo>
                    <a:lnTo>
                      <a:pt x="143" y="134"/>
                    </a:lnTo>
                    <a:lnTo>
                      <a:pt x="145" y="141"/>
                    </a:lnTo>
                    <a:lnTo>
                      <a:pt x="152" y="144"/>
                    </a:lnTo>
                    <a:lnTo>
                      <a:pt x="145" y="149"/>
                    </a:lnTo>
                    <a:lnTo>
                      <a:pt x="150" y="151"/>
                    </a:lnTo>
                    <a:lnTo>
                      <a:pt x="147" y="151"/>
                    </a:lnTo>
                    <a:lnTo>
                      <a:pt x="145" y="153"/>
                    </a:lnTo>
                    <a:lnTo>
                      <a:pt x="145" y="156"/>
                    </a:lnTo>
                    <a:lnTo>
                      <a:pt x="150" y="161"/>
                    </a:lnTo>
                    <a:lnTo>
                      <a:pt x="152" y="161"/>
                    </a:lnTo>
                    <a:lnTo>
                      <a:pt x="152" y="163"/>
                    </a:lnTo>
                    <a:lnTo>
                      <a:pt x="147" y="165"/>
                    </a:lnTo>
                    <a:lnTo>
                      <a:pt x="145" y="168"/>
                    </a:lnTo>
                    <a:lnTo>
                      <a:pt x="143" y="168"/>
                    </a:lnTo>
                    <a:lnTo>
                      <a:pt x="147" y="170"/>
                    </a:lnTo>
                    <a:lnTo>
                      <a:pt x="143" y="170"/>
                    </a:lnTo>
                    <a:lnTo>
                      <a:pt x="140" y="170"/>
                    </a:lnTo>
                    <a:lnTo>
                      <a:pt x="138" y="170"/>
                    </a:lnTo>
                    <a:lnTo>
                      <a:pt x="133" y="173"/>
                    </a:lnTo>
                    <a:lnTo>
                      <a:pt x="131" y="173"/>
                    </a:lnTo>
                    <a:lnTo>
                      <a:pt x="131" y="175"/>
                    </a:lnTo>
                    <a:lnTo>
                      <a:pt x="143" y="175"/>
                    </a:lnTo>
                    <a:lnTo>
                      <a:pt x="138" y="180"/>
                    </a:lnTo>
                    <a:lnTo>
                      <a:pt x="126" y="180"/>
                    </a:lnTo>
                    <a:lnTo>
                      <a:pt x="124" y="180"/>
                    </a:lnTo>
                    <a:lnTo>
                      <a:pt x="124" y="182"/>
                    </a:lnTo>
                    <a:lnTo>
                      <a:pt x="133" y="189"/>
                    </a:lnTo>
                    <a:lnTo>
                      <a:pt x="138" y="189"/>
                    </a:lnTo>
                    <a:lnTo>
                      <a:pt x="145" y="184"/>
                    </a:lnTo>
                    <a:lnTo>
                      <a:pt x="147" y="184"/>
                    </a:lnTo>
                    <a:lnTo>
                      <a:pt x="152" y="184"/>
                    </a:lnTo>
                    <a:lnTo>
                      <a:pt x="154" y="182"/>
                    </a:lnTo>
                    <a:lnTo>
                      <a:pt x="157" y="182"/>
                    </a:lnTo>
                    <a:lnTo>
                      <a:pt x="157" y="180"/>
                    </a:lnTo>
                    <a:lnTo>
                      <a:pt x="157" y="175"/>
                    </a:lnTo>
                    <a:lnTo>
                      <a:pt x="159" y="173"/>
                    </a:lnTo>
                    <a:lnTo>
                      <a:pt x="159" y="180"/>
                    </a:lnTo>
                    <a:lnTo>
                      <a:pt x="166" y="175"/>
                    </a:lnTo>
                    <a:lnTo>
                      <a:pt x="164" y="177"/>
                    </a:lnTo>
                    <a:lnTo>
                      <a:pt x="164" y="180"/>
                    </a:lnTo>
                    <a:lnTo>
                      <a:pt x="166" y="180"/>
                    </a:lnTo>
                    <a:lnTo>
                      <a:pt x="169" y="182"/>
                    </a:lnTo>
                    <a:lnTo>
                      <a:pt x="176" y="182"/>
                    </a:lnTo>
                    <a:lnTo>
                      <a:pt x="171" y="187"/>
                    </a:lnTo>
                    <a:lnTo>
                      <a:pt x="171" y="189"/>
                    </a:lnTo>
                    <a:lnTo>
                      <a:pt x="173" y="192"/>
                    </a:lnTo>
                    <a:lnTo>
                      <a:pt x="176" y="194"/>
                    </a:lnTo>
                    <a:lnTo>
                      <a:pt x="178" y="196"/>
                    </a:lnTo>
                    <a:lnTo>
                      <a:pt x="181" y="199"/>
                    </a:lnTo>
                    <a:lnTo>
                      <a:pt x="178" y="201"/>
                    </a:lnTo>
                    <a:lnTo>
                      <a:pt x="173" y="201"/>
                    </a:lnTo>
                    <a:lnTo>
                      <a:pt x="173" y="204"/>
                    </a:lnTo>
                    <a:lnTo>
                      <a:pt x="166" y="204"/>
                    </a:lnTo>
                    <a:lnTo>
                      <a:pt x="164" y="201"/>
                    </a:lnTo>
                    <a:lnTo>
                      <a:pt x="162" y="201"/>
                    </a:lnTo>
                    <a:lnTo>
                      <a:pt x="159" y="201"/>
                    </a:lnTo>
                    <a:lnTo>
                      <a:pt x="157" y="199"/>
                    </a:lnTo>
                    <a:lnTo>
                      <a:pt x="143" y="199"/>
                    </a:lnTo>
                    <a:lnTo>
                      <a:pt x="140" y="196"/>
                    </a:lnTo>
                    <a:lnTo>
                      <a:pt x="138" y="194"/>
                    </a:lnTo>
                    <a:lnTo>
                      <a:pt x="131" y="194"/>
                    </a:lnTo>
                    <a:lnTo>
                      <a:pt x="128" y="199"/>
                    </a:lnTo>
                    <a:lnTo>
                      <a:pt x="128" y="201"/>
                    </a:lnTo>
                    <a:lnTo>
                      <a:pt x="133" y="201"/>
                    </a:lnTo>
                    <a:lnTo>
                      <a:pt x="133" y="204"/>
                    </a:lnTo>
                    <a:lnTo>
                      <a:pt x="140" y="204"/>
                    </a:lnTo>
                    <a:lnTo>
                      <a:pt x="143" y="206"/>
                    </a:lnTo>
                    <a:lnTo>
                      <a:pt x="145" y="206"/>
                    </a:lnTo>
                    <a:lnTo>
                      <a:pt x="147" y="206"/>
                    </a:lnTo>
                    <a:lnTo>
                      <a:pt x="152" y="211"/>
                    </a:lnTo>
                    <a:lnTo>
                      <a:pt x="162" y="211"/>
                    </a:lnTo>
                    <a:lnTo>
                      <a:pt x="164" y="211"/>
                    </a:lnTo>
                    <a:lnTo>
                      <a:pt x="166" y="211"/>
                    </a:lnTo>
                    <a:lnTo>
                      <a:pt x="173" y="213"/>
                    </a:lnTo>
                    <a:lnTo>
                      <a:pt x="178" y="208"/>
                    </a:lnTo>
                    <a:lnTo>
                      <a:pt x="178" y="216"/>
                    </a:lnTo>
                    <a:lnTo>
                      <a:pt x="176" y="213"/>
                    </a:lnTo>
                    <a:lnTo>
                      <a:pt x="173" y="213"/>
                    </a:lnTo>
                    <a:lnTo>
                      <a:pt x="171" y="213"/>
                    </a:lnTo>
                    <a:lnTo>
                      <a:pt x="171" y="216"/>
                    </a:lnTo>
                    <a:lnTo>
                      <a:pt x="173" y="220"/>
                    </a:lnTo>
                    <a:lnTo>
                      <a:pt x="169" y="220"/>
                    </a:lnTo>
                    <a:lnTo>
                      <a:pt x="166" y="220"/>
                    </a:lnTo>
                    <a:lnTo>
                      <a:pt x="164" y="220"/>
                    </a:lnTo>
                    <a:lnTo>
                      <a:pt x="164" y="223"/>
                    </a:lnTo>
                    <a:lnTo>
                      <a:pt x="164" y="225"/>
                    </a:lnTo>
                    <a:lnTo>
                      <a:pt x="173" y="225"/>
                    </a:lnTo>
                    <a:lnTo>
                      <a:pt x="171" y="225"/>
                    </a:lnTo>
                    <a:lnTo>
                      <a:pt x="171" y="228"/>
                    </a:lnTo>
                    <a:lnTo>
                      <a:pt x="169" y="230"/>
                    </a:lnTo>
                    <a:lnTo>
                      <a:pt x="162" y="225"/>
                    </a:lnTo>
                    <a:lnTo>
                      <a:pt x="159" y="225"/>
                    </a:lnTo>
                    <a:lnTo>
                      <a:pt x="159" y="228"/>
                    </a:lnTo>
                    <a:lnTo>
                      <a:pt x="159" y="230"/>
                    </a:lnTo>
                    <a:lnTo>
                      <a:pt x="162" y="232"/>
                    </a:lnTo>
                    <a:lnTo>
                      <a:pt x="157" y="232"/>
                    </a:lnTo>
                    <a:lnTo>
                      <a:pt x="157" y="237"/>
                    </a:lnTo>
                    <a:lnTo>
                      <a:pt x="154" y="237"/>
                    </a:lnTo>
                    <a:lnTo>
                      <a:pt x="152" y="240"/>
                    </a:lnTo>
                    <a:lnTo>
                      <a:pt x="152" y="242"/>
                    </a:lnTo>
                    <a:lnTo>
                      <a:pt x="157" y="247"/>
                    </a:lnTo>
                    <a:lnTo>
                      <a:pt x="159" y="247"/>
                    </a:lnTo>
                    <a:lnTo>
                      <a:pt x="159" y="252"/>
                    </a:lnTo>
                    <a:lnTo>
                      <a:pt x="157" y="252"/>
                    </a:lnTo>
                    <a:lnTo>
                      <a:pt x="154" y="252"/>
                    </a:lnTo>
                    <a:lnTo>
                      <a:pt x="152" y="249"/>
                    </a:lnTo>
                    <a:lnTo>
                      <a:pt x="150" y="244"/>
                    </a:lnTo>
                    <a:lnTo>
                      <a:pt x="147" y="242"/>
                    </a:lnTo>
                    <a:lnTo>
                      <a:pt x="147" y="240"/>
                    </a:lnTo>
                    <a:lnTo>
                      <a:pt x="145" y="237"/>
                    </a:lnTo>
                    <a:lnTo>
                      <a:pt x="143" y="235"/>
                    </a:lnTo>
                    <a:lnTo>
                      <a:pt x="140" y="235"/>
                    </a:lnTo>
                    <a:lnTo>
                      <a:pt x="135" y="235"/>
                    </a:lnTo>
                    <a:lnTo>
                      <a:pt x="133" y="235"/>
                    </a:lnTo>
                    <a:lnTo>
                      <a:pt x="128" y="240"/>
                    </a:lnTo>
                    <a:lnTo>
                      <a:pt x="128" y="242"/>
                    </a:lnTo>
                    <a:lnTo>
                      <a:pt x="133" y="244"/>
                    </a:lnTo>
                    <a:lnTo>
                      <a:pt x="138" y="244"/>
                    </a:lnTo>
                    <a:lnTo>
                      <a:pt x="140" y="247"/>
                    </a:lnTo>
                    <a:lnTo>
                      <a:pt x="135" y="249"/>
                    </a:lnTo>
                    <a:lnTo>
                      <a:pt x="131" y="249"/>
                    </a:lnTo>
                    <a:lnTo>
                      <a:pt x="128" y="247"/>
                    </a:lnTo>
                    <a:lnTo>
                      <a:pt x="121" y="247"/>
                    </a:lnTo>
                    <a:lnTo>
                      <a:pt x="119" y="249"/>
                    </a:lnTo>
                    <a:lnTo>
                      <a:pt x="116" y="249"/>
                    </a:lnTo>
                    <a:lnTo>
                      <a:pt x="114" y="249"/>
                    </a:lnTo>
                    <a:lnTo>
                      <a:pt x="112" y="252"/>
                    </a:lnTo>
                    <a:lnTo>
                      <a:pt x="109" y="252"/>
                    </a:lnTo>
                    <a:lnTo>
                      <a:pt x="121" y="252"/>
                    </a:lnTo>
                    <a:lnTo>
                      <a:pt x="126" y="252"/>
                    </a:lnTo>
                    <a:lnTo>
                      <a:pt x="140" y="252"/>
                    </a:lnTo>
                    <a:lnTo>
                      <a:pt x="143" y="252"/>
                    </a:lnTo>
                    <a:lnTo>
                      <a:pt x="131" y="252"/>
                    </a:lnTo>
                    <a:lnTo>
                      <a:pt x="112" y="256"/>
                    </a:lnTo>
                    <a:lnTo>
                      <a:pt x="107" y="256"/>
                    </a:lnTo>
                    <a:lnTo>
                      <a:pt x="105" y="259"/>
                    </a:lnTo>
                    <a:lnTo>
                      <a:pt x="107" y="259"/>
                    </a:lnTo>
                    <a:lnTo>
                      <a:pt x="107" y="261"/>
                    </a:lnTo>
                    <a:lnTo>
                      <a:pt x="114" y="261"/>
                    </a:lnTo>
                    <a:lnTo>
                      <a:pt x="119" y="259"/>
                    </a:lnTo>
                    <a:lnTo>
                      <a:pt x="124" y="259"/>
                    </a:lnTo>
                    <a:lnTo>
                      <a:pt x="128" y="256"/>
                    </a:lnTo>
                    <a:lnTo>
                      <a:pt x="138" y="256"/>
                    </a:lnTo>
                    <a:lnTo>
                      <a:pt x="140" y="259"/>
                    </a:lnTo>
                    <a:lnTo>
                      <a:pt x="138" y="261"/>
                    </a:lnTo>
                    <a:lnTo>
                      <a:pt x="114" y="261"/>
                    </a:lnTo>
                    <a:lnTo>
                      <a:pt x="112" y="261"/>
                    </a:lnTo>
                    <a:lnTo>
                      <a:pt x="102" y="261"/>
                    </a:lnTo>
                    <a:lnTo>
                      <a:pt x="102" y="264"/>
                    </a:lnTo>
                    <a:lnTo>
                      <a:pt x="107" y="264"/>
                    </a:lnTo>
                    <a:lnTo>
                      <a:pt x="107" y="266"/>
                    </a:lnTo>
                    <a:lnTo>
                      <a:pt x="112" y="266"/>
                    </a:lnTo>
                    <a:lnTo>
                      <a:pt x="114" y="266"/>
                    </a:lnTo>
                    <a:lnTo>
                      <a:pt x="109" y="266"/>
                    </a:lnTo>
                    <a:lnTo>
                      <a:pt x="107" y="268"/>
                    </a:lnTo>
                    <a:lnTo>
                      <a:pt x="107" y="271"/>
                    </a:lnTo>
                    <a:lnTo>
                      <a:pt x="105" y="273"/>
                    </a:lnTo>
                    <a:lnTo>
                      <a:pt x="102" y="273"/>
                    </a:lnTo>
                    <a:lnTo>
                      <a:pt x="100" y="275"/>
                    </a:lnTo>
                    <a:lnTo>
                      <a:pt x="97" y="275"/>
                    </a:lnTo>
                    <a:lnTo>
                      <a:pt x="107" y="278"/>
                    </a:lnTo>
                    <a:lnTo>
                      <a:pt x="97" y="280"/>
                    </a:lnTo>
                    <a:lnTo>
                      <a:pt x="97" y="283"/>
                    </a:lnTo>
                    <a:lnTo>
                      <a:pt x="100" y="285"/>
                    </a:lnTo>
                    <a:lnTo>
                      <a:pt x="105" y="285"/>
                    </a:lnTo>
                    <a:lnTo>
                      <a:pt x="107" y="285"/>
                    </a:lnTo>
                    <a:lnTo>
                      <a:pt x="114" y="285"/>
                    </a:lnTo>
                    <a:lnTo>
                      <a:pt x="112" y="285"/>
                    </a:lnTo>
                    <a:lnTo>
                      <a:pt x="109" y="285"/>
                    </a:lnTo>
                    <a:lnTo>
                      <a:pt x="107" y="287"/>
                    </a:lnTo>
                    <a:lnTo>
                      <a:pt x="102" y="290"/>
                    </a:lnTo>
                    <a:lnTo>
                      <a:pt x="102" y="292"/>
                    </a:lnTo>
                    <a:lnTo>
                      <a:pt x="105" y="295"/>
                    </a:lnTo>
                    <a:lnTo>
                      <a:pt x="107" y="295"/>
                    </a:lnTo>
                    <a:lnTo>
                      <a:pt x="109" y="292"/>
                    </a:lnTo>
                    <a:lnTo>
                      <a:pt x="114" y="290"/>
                    </a:lnTo>
                    <a:lnTo>
                      <a:pt x="112" y="295"/>
                    </a:lnTo>
                    <a:lnTo>
                      <a:pt x="109" y="295"/>
                    </a:lnTo>
                    <a:lnTo>
                      <a:pt x="107" y="299"/>
                    </a:lnTo>
                    <a:lnTo>
                      <a:pt x="107" y="304"/>
                    </a:lnTo>
                    <a:lnTo>
                      <a:pt x="109" y="304"/>
                    </a:lnTo>
                    <a:lnTo>
                      <a:pt x="109" y="302"/>
                    </a:lnTo>
                    <a:lnTo>
                      <a:pt x="114" y="302"/>
                    </a:lnTo>
                    <a:lnTo>
                      <a:pt x="109" y="307"/>
                    </a:lnTo>
                    <a:lnTo>
                      <a:pt x="107" y="307"/>
                    </a:lnTo>
                    <a:lnTo>
                      <a:pt x="105" y="309"/>
                    </a:lnTo>
                    <a:lnTo>
                      <a:pt x="102" y="311"/>
                    </a:lnTo>
                    <a:lnTo>
                      <a:pt x="102" y="316"/>
                    </a:lnTo>
                    <a:lnTo>
                      <a:pt x="105" y="316"/>
                    </a:lnTo>
                    <a:lnTo>
                      <a:pt x="107" y="314"/>
                    </a:lnTo>
                    <a:lnTo>
                      <a:pt x="114" y="307"/>
                    </a:lnTo>
                    <a:lnTo>
                      <a:pt x="124" y="307"/>
                    </a:lnTo>
                    <a:lnTo>
                      <a:pt x="126" y="304"/>
                    </a:lnTo>
                    <a:lnTo>
                      <a:pt x="128" y="304"/>
                    </a:lnTo>
                    <a:lnTo>
                      <a:pt x="128" y="307"/>
                    </a:lnTo>
                    <a:lnTo>
                      <a:pt x="133" y="304"/>
                    </a:lnTo>
                    <a:lnTo>
                      <a:pt x="128" y="311"/>
                    </a:lnTo>
                    <a:lnTo>
                      <a:pt x="135" y="311"/>
                    </a:lnTo>
                    <a:lnTo>
                      <a:pt x="128" y="311"/>
                    </a:lnTo>
                    <a:lnTo>
                      <a:pt x="124" y="314"/>
                    </a:lnTo>
                    <a:lnTo>
                      <a:pt x="124" y="316"/>
                    </a:lnTo>
                    <a:lnTo>
                      <a:pt x="119" y="316"/>
                    </a:lnTo>
                    <a:lnTo>
                      <a:pt x="116" y="316"/>
                    </a:lnTo>
                    <a:lnTo>
                      <a:pt x="114" y="319"/>
                    </a:lnTo>
                    <a:lnTo>
                      <a:pt x="114" y="321"/>
                    </a:lnTo>
                    <a:lnTo>
                      <a:pt x="112" y="321"/>
                    </a:lnTo>
                    <a:lnTo>
                      <a:pt x="107" y="323"/>
                    </a:lnTo>
                    <a:lnTo>
                      <a:pt x="105" y="326"/>
                    </a:lnTo>
                    <a:lnTo>
                      <a:pt x="109" y="326"/>
                    </a:lnTo>
                    <a:lnTo>
                      <a:pt x="107" y="326"/>
                    </a:lnTo>
                    <a:lnTo>
                      <a:pt x="107" y="328"/>
                    </a:lnTo>
                    <a:lnTo>
                      <a:pt x="107" y="331"/>
                    </a:lnTo>
                    <a:lnTo>
                      <a:pt x="109" y="331"/>
                    </a:lnTo>
                    <a:lnTo>
                      <a:pt x="107" y="333"/>
                    </a:lnTo>
                    <a:lnTo>
                      <a:pt x="107" y="335"/>
                    </a:lnTo>
                    <a:lnTo>
                      <a:pt x="116" y="335"/>
                    </a:lnTo>
                    <a:lnTo>
                      <a:pt x="112" y="343"/>
                    </a:lnTo>
                    <a:lnTo>
                      <a:pt x="116" y="340"/>
                    </a:lnTo>
                    <a:lnTo>
                      <a:pt x="119" y="340"/>
                    </a:lnTo>
                    <a:lnTo>
                      <a:pt x="116" y="340"/>
                    </a:lnTo>
                    <a:lnTo>
                      <a:pt x="114" y="343"/>
                    </a:lnTo>
                    <a:lnTo>
                      <a:pt x="114" y="345"/>
                    </a:lnTo>
                    <a:lnTo>
                      <a:pt x="112" y="347"/>
                    </a:lnTo>
                    <a:lnTo>
                      <a:pt x="112" y="352"/>
                    </a:lnTo>
                    <a:lnTo>
                      <a:pt x="114" y="352"/>
                    </a:lnTo>
                    <a:lnTo>
                      <a:pt x="121" y="352"/>
                    </a:lnTo>
                    <a:lnTo>
                      <a:pt x="116" y="359"/>
                    </a:lnTo>
                    <a:lnTo>
                      <a:pt x="126" y="357"/>
                    </a:lnTo>
                    <a:lnTo>
                      <a:pt x="121" y="362"/>
                    </a:lnTo>
                    <a:lnTo>
                      <a:pt x="124" y="366"/>
                    </a:lnTo>
                    <a:lnTo>
                      <a:pt x="128" y="366"/>
                    </a:lnTo>
                    <a:lnTo>
                      <a:pt x="126" y="366"/>
                    </a:lnTo>
                    <a:lnTo>
                      <a:pt x="126" y="369"/>
                    </a:lnTo>
                    <a:lnTo>
                      <a:pt x="128" y="371"/>
                    </a:lnTo>
                    <a:lnTo>
                      <a:pt x="133" y="371"/>
                    </a:lnTo>
                    <a:lnTo>
                      <a:pt x="128" y="376"/>
                    </a:lnTo>
                    <a:lnTo>
                      <a:pt x="135" y="376"/>
                    </a:lnTo>
                    <a:lnTo>
                      <a:pt x="133" y="381"/>
                    </a:lnTo>
                    <a:lnTo>
                      <a:pt x="145" y="378"/>
                    </a:lnTo>
                    <a:lnTo>
                      <a:pt x="147" y="381"/>
                    </a:lnTo>
                    <a:lnTo>
                      <a:pt x="150" y="381"/>
                    </a:lnTo>
                    <a:lnTo>
                      <a:pt x="152" y="378"/>
                    </a:lnTo>
                    <a:lnTo>
                      <a:pt x="162" y="374"/>
                    </a:lnTo>
                    <a:lnTo>
                      <a:pt x="164" y="371"/>
                    </a:lnTo>
                    <a:lnTo>
                      <a:pt x="164" y="374"/>
                    </a:lnTo>
                    <a:lnTo>
                      <a:pt x="162" y="376"/>
                    </a:lnTo>
                    <a:lnTo>
                      <a:pt x="169" y="378"/>
                    </a:lnTo>
                    <a:lnTo>
                      <a:pt x="171" y="376"/>
                    </a:lnTo>
                    <a:lnTo>
                      <a:pt x="173" y="376"/>
                    </a:lnTo>
                    <a:lnTo>
                      <a:pt x="169" y="378"/>
                    </a:lnTo>
                    <a:lnTo>
                      <a:pt x="164" y="381"/>
                    </a:lnTo>
                    <a:lnTo>
                      <a:pt x="162" y="383"/>
                    </a:lnTo>
                    <a:lnTo>
                      <a:pt x="162" y="386"/>
                    </a:lnTo>
                    <a:lnTo>
                      <a:pt x="169" y="386"/>
                    </a:lnTo>
                    <a:lnTo>
                      <a:pt x="173" y="386"/>
                    </a:lnTo>
                    <a:lnTo>
                      <a:pt x="176" y="386"/>
                    </a:lnTo>
                    <a:lnTo>
                      <a:pt x="173" y="386"/>
                    </a:lnTo>
                    <a:lnTo>
                      <a:pt x="171" y="388"/>
                    </a:lnTo>
                    <a:lnTo>
                      <a:pt x="169" y="390"/>
                    </a:lnTo>
                    <a:lnTo>
                      <a:pt x="169" y="393"/>
                    </a:lnTo>
                    <a:lnTo>
                      <a:pt x="169" y="395"/>
                    </a:lnTo>
                    <a:lnTo>
                      <a:pt x="176" y="395"/>
                    </a:lnTo>
                    <a:lnTo>
                      <a:pt x="178" y="393"/>
                    </a:lnTo>
                    <a:lnTo>
                      <a:pt x="178" y="395"/>
                    </a:lnTo>
                    <a:lnTo>
                      <a:pt x="183" y="398"/>
                    </a:lnTo>
                    <a:lnTo>
                      <a:pt x="188" y="398"/>
                    </a:lnTo>
                    <a:lnTo>
                      <a:pt x="192" y="395"/>
                    </a:lnTo>
                    <a:lnTo>
                      <a:pt x="195" y="393"/>
                    </a:lnTo>
                    <a:lnTo>
                      <a:pt x="192" y="390"/>
                    </a:lnTo>
                    <a:lnTo>
                      <a:pt x="192" y="388"/>
                    </a:lnTo>
                    <a:lnTo>
                      <a:pt x="197" y="388"/>
                    </a:lnTo>
                    <a:lnTo>
                      <a:pt x="200" y="386"/>
                    </a:lnTo>
                    <a:lnTo>
                      <a:pt x="200" y="378"/>
                    </a:lnTo>
                    <a:lnTo>
                      <a:pt x="202" y="381"/>
                    </a:lnTo>
                    <a:lnTo>
                      <a:pt x="207" y="381"/>
                    </a:lnTo>
                    <a:lnTo>
                      <a:pt x="207" y="376"/>
                    </a:lnTo>
                    <a:lnTo>
                      <a:pt x="207" y="374"/>
                    </a:lnTo>
                    <a:lnTo>
                      <a:pt x="207" y="371"/>
                    </a:lnTo>
                    <a:lnTo>
                      <a:pt x="207" y="374"/>
                    </a:lnTo>
                    <a:lnTo>
                      <a:pt x="209" y="376"/>
                    </a:lnTo>
                    <a:lnTo>
                      <a:pt x="212" y="376"/>
                    </a:lnTo>
                    <a:lnTo>
                      <a:pt x="214" y="374"/>
                    </a:lnTo>
                    <a:lnTo>
                      <a:pt x="214" y="371"/>
                    </a:lnTo>
                    <a:lnTo>
                      <a:pt x="209" y="366"/>
                    </a:lnTo>
                    <a:lnTo>
                      <a:pt x="216" y="366"/>
                    </a:lnTo>
                    <a:lnTo>
                      <a:pt x="216" y="364"/>
                    </a:lnTo>
                    <a:lnTo>
                      <a:pt x="214" y="362"/>
                    </a:lnTo>
                    <a:lnTo>
                      <a:pt x="223" y="362"/>
                    </a:lnTo>
                    <a:lnTo>
                      <a:pt x="219" y="357"/>
                    </a:lnTo>
                    <a:lnTo>
                      <a:pt x="223" y="355"/>
                    </a:lnTo>
                    <a:lnTo>
                      <a:pt x="219" y="352"/>
                    </a:lnTo>
                    <a:lnTo>
                      <a:pt x="216" y="350"/>
                    </a:lnTo>
                    <a:lnTo>
                      <a:pt x="219" y="350"/>
                    </a:lnTo>
                    <a:lnTo>
                      <a:pt x="221" y="350"/>
                    </a:lnTo>
                    <a:lnTo>
                      <a:pt x="216" y="343"/>
                    </a:lnTo>
                    <a:lnTo>
                      <a:pt x="221" y="347"/>
                    </a:lnTo>
                    <a:lnTo>
                      <a:pt x="223" y="347"/>
                    </a:lnTo>
                    <a:lnTo>
                      <a:pt x="228" y="343"/>
                    </a:lnTo>
                    <a:lnTo>
                      <a:pt x="235" y="343"/>
                    </a:lnTo>
                    <a:lnTo>
                      <a:pt x="235" y="340"/>
                    </a:lnTo>
                    <a:lnTo>
                      <a:pt x="233" y="338"/>
                    </a:lnTo>
                    <a:lnTo>
                      <a:pt x="238" y="338"/>
                    </a:lnTo>
                    <a:lnTo>
                      <a:pt x="242" y="331"/>
                    </a:lnTo>
                    <a:lnTo>
                      <a:pt x="245" y="331"/>
                    </a:lnTo>
                    <a:lnTo>
                      <a:pt x="252" y="331"/>
                    </a:lnTo>
                    <a:lnTo>
                      <a:pt x="252" y="326"/>
                    </a:lnTo>
                    <a:lnTo>
                      <a:pt x="257" y="331"/>
                    </a:lnTo>
                    <a:lnTo>
                      <a:pt x="259" y="326"/>
                    </a:lnTo>
                    <a:lnTo>
                      <a:pt x="259" y="319"/>
                    </a:lnTo>
                    <a:lnTo>
                      <a:pt x="252" y="316"/>
                    </a:lnTo>
                    <a:lnTo>
                      <a:pt x="257" y="316"/>
                    </a:lnTo>
                    <a:lnTo>
                      <a:pt x="264" y="311"/>
                    </a:lnTo>
                    <a:lnTo>
                      <a:pt x="266" y="307"/>
                    </a:lnTo>
                    <a:lnTo>
                      <a:pt x="259" y="304"/>
                    </a:lnTo>
                    <a:lnTo>
                      <a:pt x="264" y="299"/>
                    </a:lnTo>
                    <a:lnTo>
                      <a:pt x="278" y="299"/>
                    </a:lnTo>
                    <a:lnTo>
                      <a:pt x="280" y="297"/>
                    </a:lnTo>
                    <a:lnTo>
                      <a:pt x="280" y="292"/>
                    </a:lnTo>
                    <a:lnTo>
                      <a:pt x="288" y="290"/>
                    </a:lnTo>
                    <a:lnTo>
                      <a:pt x="292" y="290"/>
                    </a:lnTo>
                    <a:lnTo>
                      <a:pt x="295" y="292"/>
                    </a:lnTo>
                    <a:lnTo>
                      <a:pt x="302" y="292"/>
                    </a:lnTo>
                    <a:lnTo>
                      <a:pt x="311" y="283"/>
                    </a:lnTo>
                    <a:lnTo>
                      <a:pt x="311" y="280"/>
                    </a:lnTo>
                    <a:lnTo>
                      <a:pt x="314" y="280"/>
                    </a:lnTo>
                    <a:lnTo>
                      <a:pt x="316" y="278"/>
                    </a:lnTo>
                    <a:lnTo>
                      <a:pt x="319" y="278"/>
                    </a:lnTo>
                    <a:lnTo>
                      <a:pt x="319" y="280"/>
                    </a:lnTo>
                    <a:lnTo>
                      <a:pt x="316" y="283"/>
                    </a:lnTo>
                    <a:lnTo>
                      <a:pt x="314" y="285"/>
                    </a:lnTo>
                    <a:lnTo>
                      <a:pt x="311" y="290"/>
                    </a:lnTo>
                    <a:lnTo>
                      <a:pt x="319" y="290"/>
                    </a:lnTo>
                    <a:lnTo>
                      <a:pt x="319" y="285"/>
                    </a:lnTo>
                    <a:lnTo>
                      <a:pt x="323" y="285"/>
                    </a:lnTo>
                    <a:lnTo>
                      <a:pt x="326" y="283"/>
                    </a:lnTo>
                    <a:lnTo>
                      <a:pt x="328" y="283"/>
                    </a:lnTo>
                    <a:lnTo>
                      <a:pt x="328" y="285"/>
                    </a:lnTo>
                    <a:lnTo>
                      <a:pt x="333" y="285"/>
                    </a:lnTo>
                    <a:lnTo>
                      <a:pt x="335" y="285"/>
                    </a:lnTo>
                    <a:lnTo>
                      <a:pt x="342" y="283"/>
                    </a:lnTo>
                    <a:lnTo>
                      <a:pt x="347" y="278"/>
                    </a:lnTo>
                    <a:lnTo>
                      <a:pt x="349" y="275"/>
                    </a:lnTo>
                    <a:lnTo>
                      <a:pt x="359" y="275"/>
                    </a:lnTo>
                    <a:lnTo>
                      <a:pt x="366" y="275"/>
                    </a:lnTo>
                    <a:lnTo>
                      <a:pt x="371" y="271"/>
                    </a:lnTo>
                    <a:lnTo>
                      <a:pt x="373" y="268"/>
                    </a:lnTo>
                    <a:lnTo>
                      <a:pt x="376" y="266"/>
                    </a:lnTo>
                    <a:lnTo>
                      <a:pt x="383" y="259"/>
                    </a:lnTo>
                    <a:lnTo>
                      <a:pt x="385" y="256"/>
                    </a:lnTo>
                    <a:lnTo>
                      <a:pt x="390" y="254"/>
                    </a:lnTo>
                    <a:lnTo>
                      <a:pt x="399" y="252"/>
                    </a:lnTo>
                    <a:lnTo>
                      <a:pt x="402" y="252"/>
                    </a:lnTo>
                    <a:lnTo>
                      <a:pt x="404" y="249"/>
                    </a:lnTo>
                    <a:lnTo>
                      <a:pt x="407" y="249"/>
                    </a:lnTo>
                    <a:lnTo>
                      <a:pt x="407" y="247"/>
                    </a:lnTo>
                    <a:lnTo>
                      <a:pt x="407" y="244"/>
                    </a:lnTo>
                    <a:lnTo>
                      <a:pt x="407" y="240"/>
                    </a:lnTo>
                    <a:lnTo>
                      <a:pt x="407" y="235"/>
                    </a:lnTo>
                    <a:lnTo>
                      <a:pt x="414" y="242"/>
                    </a:lnTo>
                    <a:lnTo>
                      <a:pt x="416" y="244"/>
                    </a:lnTo>
                    <a:lnTo>
                      <a:pt x="418" y="244"/>
                    </a:lnTo>
                    <a:lnTo>
                      <a:pt x="437" y="244"/>
                    </a:lnTo>
                    <a:lnTo>
                      <a:pt x="447" y="242"/>
                    </a:lnTo>
                    <a:lnTo>
                      <a:pt x="454" y="240"/>
                    </a:lnTo>
                    <a:lnTo>
                      <a:pt x="459" y="240"/>
                    </a:lnTo>
                    <a:lnTo>
                      <a:pt x="468" y="237"/>
                    </a:lnTo>
                    <a:lnTo>
                      <a:pt x="480" y="235"/>
                    </a:lnTo>
                    <a:lnTo>
                      <a:pt x="487" y="235"/>
                    </a:lnTo>
                    <a:lnTo>
                      <a:pt x="492" y="230"/>
                    </a:lnTo>
                    <a:lnTo>
                      <a:pt x="499" y="230"/>
                    </a:lnTo>
                    <a:lnTo>
                      <a:pt x="502" y="228"/>
                    </a:lnTo>
                    <a:lnTo>
                      <a:pt x="509" y="228"/>
                    </a:lnTo>
                    <a:lnTo>
                      <a:pt x="516" y="220"/>
                    </a:lnTo>
                    <a:lnTo>
                      <a:pt x="518" y="220"/>
                    </a:lnTo>
                    <a:lnTo>
                      <a:pt x="518" y="218"/>
                    </a:lnTo>
                    <a:lnTo>
                      <a:pt x="523" y="218"/>
                    </a:lnTo>
                    <a:lnTo>
                      <a:pt x="525" y="216"/>
                    </a:lnTo>
                    <a:lnTo>
                      <a:pt x="528" y="216"/>
                    </a:lnTo>
                    <a:lnTo>
                      <a:pt x="542" y="213"/>
                    </a:lnTo>
                    <a:lnTo>
                      <a:pt x="552" y="211"/>
                    </a:lnTo>
                    <a:lnTo>
                      <a:pt x="552" y="206"/>
                    </a:lnTo>
                    <a:lnTo>
                      <a:pt x="549" y="206"/>
                    </a:lnTo>
                    <a:lnTo>
                      <a:pt x="547" y="208"/>
                    </a:lnTo>
                    <a:lnTo>
                      <a:pt x="537" y="208"/>
                    </a:lnTo>
                    <a:lnTo>
                      <a:pt x="530" y="206"/>
                    </a:lnTo>
                    <a:lnTo>
                      <a:pt x="525" y="206"/>
                    </a:lnTo>
                    <a:lnTo>
                      <a:pt x="521" y="204"/>
                    </a:lnTo>
                    <a:lnTo>
                      <a:pt x="509" y="204"/>
                    </a:lnTo>
                    <a:lnTo>
                      <a:pt x="499" y="206"/>
                    </a:lnTo>
                    <a:lnTo>
                      <a:pt x="490" y="206"/>
                    </a:lnTo>
                    <a:lnTo>
                      <a:pt x="487" y="211"/>
                    </a:lnTo>
                    <a:lnTo>
                      <a:pt x="471" y="211"/>
                    </a:lnTo>
                    <a:lnTo>
                      <a:pt x="485" y="206"/>
                    </a:lnTo>
                    <a:lnTo>
                      <a:pt x="494" y="204"/>
                    </a:lnTo>
                    <a:lnTo>
                      <a:pt x="499" y="204"/>
                    </a:lnTo>
                    <a:lnTo>
                      <a:pt x="502" y="201"/>
                    </a:lnTo>
                    <a:lnTo>
                      <a:pt x="506" y="201"/>
                    </a:lnTo>
                    <a:lnTo>
                      <a:pt x="511" y="199"/>
                    </a:lnTo>
                    <a:lnTo>
                      <a:pt x="514" y="199"/>
                    </a:lnTo>
                    <a:lnTo>
                      <a:pt x="516" y="199"/>
                    </a:lnTo>
                    <a:lnTo>
                      <a:pt x="514" y="196"/>
                    </a:lnTo>
                    <a:lnTo>
                      <a:pt x="509" y="194"/>
                    </a:lnTo>
                    <a:lnTo>
                      <a:pt x="506" y="194"/>
                    </a:lnTo>
                    <a:lnTo>
                      <a:pt x="504" y="194"/>
                    </a:lnTo>
                    <a:lnTo>
                      <a:pt x="497" y="196"/>
                    </a:lnTo>
                    <a:lnTo>
                      <a:pt x="483" y="201"/>
                    </a:lnTo>
                    <a:lnTo>
                      <a:pt x="468" y="201"/>
                    </a:lnTo>
                    <a:lnTo>
                      <a:pt x="478" y="196"/>
                    </a:lnTo>
                    <a:lnTo>
                      <a:pt x="485" y="192"/>
                    </a:lnTo>
                    <a:lnTo>
                      <a:pt x="487" y="192"/>
                    </a:lnTo>
                    <a:lnTo>
                      <a:pt x="492" y="194"/>
                    </a:lnTo>
                    <a:lnTo>
                      <a:pt x="497" y="194"/>
                    </a:lnTo>
                    <a:lnTo>
                      <a:pt x="499" y="192"/>
                    </a:lnTo>
                    <a:lnTo>
                      <a:pt x="504" y="192"/>
                    </a:lnTo>
                    <a:lnTo>
                      <a:pt x="506" y="189"/>
                    </a:lnTo>
                    <a:lnTo>
                      <a:pt x="516" y="189"/>
                    </a:lnTo>
                    <a:lnTo>
                      <a:pt x="518" y="189"/>
                    </a:lnTo>
                    <a:lnTo>
                      <a:pt x="516" y="187"/>
                    </a:lnTo>
                    <a:lnTo>
                      <a:pt x="514" y="187"/>
                    </a:lnTo>
                    <a:lnTo>
                      <a:pt x="509" y="184"/>
                    </a:lnTo>
                    <a:lnTo>
                      <a:pt x="485" y="184"/>
                    </a:lnTo>
                    <a:lnTo>
                      <a:pt x="492" y="182"/>
                    </a:lnTo>
                    <a:lnTo>
                      <a:pt x="485" y="180"/>
                    </a:lnTo>
                    <a:lnTo>
                      <a:pt x="485" y="175"/>
                    </a:lnTo>
                    <a:lnTo>
                      <a:pt x="487" y="175"/>
                    </a:lnTo>
                    <a:lnTo>
                      <a:pt x="490" y="177"/>
                    </a:lnTo>
                    <a:lnTo>
                      <a:pt x="492" y="180"/>
                    </a:lnTo>
                    <a:lnTo>
                      <a:pt x="497" y="182"/>
                    </a:lnTo>
                    <a:lnTo>
                      <a:pt x="504" y="182"/>
                    </a:lnTo>
                    <a:lnTo>
                      <a:pt x="506" y="184"/>
                    </a:lnTo>
                    <a:lnTo>
                      <a:pt x="509" y="184"/>
                    </a:lnTo>
                    <a:lnTo>
                      <a:pt x="514" y="184"/>
                    </a:lnTo>
                    <a:lnTo>
                      <a:pt x="518" y="184"/>
                    </a:lnTo>
                    <a:lnTo>
                      <a:pt x="518" y="187"/>
                    </a:lnTo>
                    <a:lnTo>
                      <a:pt x="523" y="187"/>
                    </a:lnTo>
                    <a:lnTo>
                      <a:pt x="523" y="184"/>
                    </a:lnTo>
                    <a:lnTo>
                      <a:pt x="528" y="184"/>
                    </a:lnTo>
                    <a:lnTo>
                      <a:pt x="528" y="187"/>
                    </a:lnTo>
                    <a:lnTo>
                      <a:pt x="528" y="189"/>
                    </a:lnTo>
                    <a:lnTo>
                      <a:pt x="528" y="192"/>
                    </a:lnTo>
                    <a:lnTo>
                      <a:pt x="528" y="196"/>
                    </a:lnTo>
                    <a:lnTo>
                      <a:pt x="528" y="199"/>
                    </a:lnTo>
                    <a:lnTo>
                      <a:pt x="533" y="199"/>
                    </a:lnTo>
                    <a:lnTo>
                      <a:pt x="537" y="201"/>
                    </a:lnTo>
                    <a:lnTo>
                      <a:pt x="542" y="201"/>
                    </a:lnTo>
                    <a:lnTo>
                      <a:pt x="547" y="201"/>
                    </a:lnTo>
                    <a:lnTo>
                      <a:pt x="549" y="201"/>
                    </a:lnTo>
                    <a:lnTo>
                      <a:pt x="552" y="199"/>
                    </a:lnTo>
                    <a:lnTo>
                      <a:pt x="554" y="199"/>
                    </a:lnTo>
                    <a:lnTo>
                      <a:pt x="554" y="204"/>
                    </a:lnTo>
                    <a:lnTo>
                      <a:pt x="559" y="204"/>
                    </a:lnTo>
                    <a:lnTo>
                      <a:pt x="561" y="201"/>
                    </a:lnTo>
                    <a:lnTo>
                      <a:pt x="563" y="201"/>
                    </a:lnTo>
                    <a:lnTo>
                      <a:pt x="563" y="194"/>
                    </a:lnTo>
                    <a:lnTo>
                      <a:pt x="561" y="194"/>
                    </a:lnTo>
                    <a:lnTo>
                      <a:pt x="563" y="189"/>
                    </a:lnTo>
                    <a:lnTo>
                      <a:pt x="563" y="187"/>
                    </a:lnTo>
                    <a:lnTo>
                      <a:pt x="559" y="187"/>
                    </a:lnTo>
                    <a:lnTo>
                      <a:pt x="556" y="182"/>
                    </a:lnTo>
                    <a:lnTo>
                      <a:pt x="552" y="180"/>
                    </a:lnTo>
                    <a:lnTo>
                      <a:pt x="552" y="175"/>
                    </a:lnTo>
                    <a:lnTo>
                      <a:pt x="533" y="170"/>
                    </a:lnTo>
                    <a:lnTo>
                      <a:pt x="523" y="170"/>
                    </a:lnTo>
                    <a:lnTo>
                      <a:pt x="521" y="170"/>
                    </a:lnTo>
                    <a:lnTo>
                      <a:pt x="528" y="168"/>
                    </a:lnTo>
                    <a:lnTo>
                      <a:pt x="530" y="165"/>
                    </a:lnTo>
                    <a:lnTo>
                      <a:pt x="528" y="165"/>
                    </a:lnTo>
                    <a:lnTo>
                      <a:pt x="525" y="163"/>
                    </a:lnTo>
                    <a:lnTo>
                      <a:pt x="514" y="163"/>
                    </a:lnTo>
                    <a:lnTo>
                      <a:pt x="509" y="161"/>
                    </a:lnTo>
                    <a:lnTo>
                      <a:pt x="504" y="161"/>
                    </a:lnTo>
                    <a:lnTo>
                      <a:pt x="509" y="156"/>
                    </a:lnTo>
                    <a:lnTo>
                      <a:pt x="523" y="156"/>
                    </a:lnTo>
                    <a:lnTo>
                      <a:pt x="528" y="153"/>
                    </a:lnTo>
                    <a:lnTo>
                      <a:pt x="533" y="153"/>
                    </a:lnTo>
                    <a:lnTo>
                      <a:pt x="547" y="156"/>
                    </a:lnTo>
                    <a:lnTo>
                      <a:pt x="552" y="156"/>
                    </a:lnTo>
                    <a:lnTo>
                      <a:pt x="554" y="156"/>
                    </a:lnTo>
                    <a:lnTo>
                      <a:pt x="556" y="158"/>
                    </a:lnTo>
                    <a:lnTo>
                      <a:pt x="559" y="161"/>
                    </a:lnTo>
                    <a:lnTo>
                      <a:pt x="563" y="165"/>
                    </a:lnTo>
                    <a:lnTo>
                      <a:pt x="568" y="165"/>
                    </a:lnTo>
                    <a:lnTo>
                      <a:pt x="568" y="163"/>
                    </a:lnTo>
                    <a:lnTo>
                      <a:pt x="568" y="158"/>
                    </a:lnTo>
                    <a:lnTo>
                      <a:pt x="559" y="156"/>
                    </a:lnTo>
                    <a:lnTo>
                      <a:pt x="552" y="153"/>
                    </a:lnTo>
                    <a:lnTo>
                      <a:pt x="540" y="151"/>
                    </a:lnTo>
                    <a:lnTo>
                      <a:pt x="544" y="149"/>
                    </a:lnTo>
                    <a:lnTo>
                      <a:pt x="547" y="149"/>
                    </a:lnTo>
                    <a:lnTo>
                      <a:pt x="552" y="151"/>
                    </a:lnTo>
                    <a:lnTo>
                      <a:pt x="556" y="151"/>
                    </a:lnTo>
                    <a:lnTo>
                      <a:pt x="559" y="153"/>
                    </a:lnTo>
                    <a:lnTo>
                      <a:pt x="578" y="153"/>
                    </a:lnTo>
                    <a:lnTo>
                      <a:pt x="594" y="151"/>
                    </a:lnTo>
                    <a:lnTo>
                      <a:pt x="594" y="144"/>
                    </a:lnTo>
                    <a:lnTo>
                      <a:pt x="582" y="141"/>
                    </a:lnTo>
                    <a:lnTo>
                      <a:pt x="578" y="146"/>
                    </a:lnTo>
                    <a:lnTo>
                      <a:pt x="573" y="141"/>
                    </a:lnTo>
                    <a:lnTo>
                      <a:pt x="573" y="139"/>
                    </a:lnTo>
                    <a:lnTo>
                      <a:pt x="587" y="139"/>
                    </a:lnTo>
                    <a:lnTo>
                      <a:pt x="599" y="137"/>
                    </a:lnTo>
                    <a:lnTo>
                      <a:pt x="602" y="139"/>
                    </a:lnTo>
                    <a:lnTo>
                      <a:pt x="609" y="139"/>
                    </a:lnTo>
                    <a:lnTo>
                      <a:pt x="616" y="134"/>
                    </a:lnTo>
                    <a:lnTo>
                      <a:pt x="618" y="134"/>
                    </a:lnTo>
                    <a:lnTo>
                      <a:pt x="618" y="132"/>
                    </a:lnTo>
                    <a:lnTo>
                      <a:pt x="599" y="132"/>
                    </a:lnTo>
                    <a:lnTo>
                      <a:pt x="599" y="129"/>
                    </a:lnTo>
                    <a:lnTo>
                      <a:pt x="597" y="129"/>
                    </a:lnTo>
                    <a:lnTo>
                      <a:pt x="597" y="127"/>
                    </a:lnTo>
                    <a:lnTo>
                      <a:pt x="592" y="127"/>
                    </a:lnTo>
                    <a:lnTo>
                      <a:pt x="587" y="125"/>
                    </a:lnTo>
                    <a:lnTo>
                      <a:pt x="592" y="125"/>
                    </a:lnTo>
                    <a:lnTo>
                      <a:pt x="594" y="125"/>
                    </a:lnTo>
                    <a:lnTo>
                      <a:pt x="594" y="122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2" y="117"/>
                    </a:lnTo>
                    <a:lnTo>
                      <a:pt x="592" y="117"/>
                    </a:lnTo>
                    <a:lnTo>
                      <a:pt x="594" y="120"/>
                    </a:lnTo>
                    <a:lnTo>
                      <a:pt x="597" y="120"/>
                    </a:lnTo>
                    <a:lnTo>
                      <a:pt x="602" y="120"/>
                    </a:lnTo>
                    <a:lnTo>
                      <a:pt x="606" y="120"/>
                    </a:lnTo>
                    <a:lnTo>
                      <a:pt x="609" y="125"/>
                    </a:lnTo>
                    <a:lnTo>
                      <a:pt x="613" y="125"/>
                    </a:lnTo>
                    <a:lnTo>
                      <a:pt x="618" y="120"/>
                    </a:lnTo>
                    <a:lnTo>
                      <a:pt x="618" y="113"/>
                    </a:lnTo>
                    <a:lnTo>
                      <a:pt x="616" y="110"/>
                    </a:lnTo>
                    <a:lnTo>
                      <a:pt x="613" y="110"/>
                    </a:lnTo>
                    <a:lnTo>
                      <a:pt x="611" y="108"/>
                    </a:lnTo>
                    <a:lnTo>
                      <a:pt x="609" y="105"/>
                    </a:lnTo>
                    <a:lnTo>
                      <a:pt x="592" y="103"/>
                    </a:lnTo>
                    <a:lnTo>
                      <a:pt x="587" y="101"/>
                    </a:lnTo>
                    <a:lnTo>
                      <a:pt x="587" y="98"/>
                    </a:lnTo>
                    <a:lnTo>
                      <a:pt x="590" y="98"/>
                    </a:lnTo>
                    <a:lnTo>
                      <a:pt x="599" y="98"/>
                    </a:lnTo>
                    <a:lnTo>
                      <a:pt x="611" y="96"/>
                    </a:lnTo>
                    <a:lnTo>
                      <a:pt x="618" y="96"/>
                    </a:lnTo>
                    <a:lnTo>
                      <a:pt x="623" y="98"/>
                    </a:lnTo>
                    <a:lnTo>
                      <a:pt x="632" y="98"/>
                    </a:lnTo>
                    <a:lnTo>
                      <a:pt x="637" y="96"/>
                    </a:lnTo>
                    <a:lnTo>
                      <a:pt x="642" y="93"/>
                    </a:lnTo>
                    <a:lnTo>
                      <a:pt x="642" y="91"/>
                    </a:lnTo>
                    <a:lnTo>
                      <a:pt x="642" y="89"/>
                    </a:lnTo>
                    <a:lnTo>
                      <a:pt x="632" y="89"/>
                    </a:lnTo>
                    <a:lnTo>
                      <a:pt x="625" y="86"/>
                    </a:lnTo>
                    <a:lnTo>
                      <a:pt x="616" y="86"/>
                    </a:lnTo>
                    <a:lnTo>
                      <a:pt x="613" y="84"/>
                    </a:lnTo>
                    <a:lnTo>
                      <a:pt x="623" y="84"/>
                    </a:lnTo>
                    <a:lnTo>
                      <a:pt x="621" y="82"/>
                    </a:lnTo>
                    <a:lnTo>
                      <a:pt x="618" y="79"/>
                    </a:lnTo>
                    <a:lnTo>
                      <a:pt x="618" y="77"/>
                    </a:lnTo>
                    <a:lnTo>
                      <a:pt x="613" y="77"/>
                    </a:lnTo>
                    <a:lnTo>
                      <a:pt x="611" y="79"/>
                    </a:lnTo>
                    <a:lnTo>
                      <a:pt x="611" y="84"/>
                    </a:lnTo>
                    <a:lnTo>
                      <a:pt x="606" y="84"/>
                    </a:lnTo>
                    <a:lnTo>
                      <a:pt x="604" y="84"/>
                    </a:lnTo>
                    <a:lnTo>
                      <a:pt x="602" y="82"/>
                    </a:lnTo>
                    <a:lnTo>
                      <a:pt x="599" y="79"/>
                    </a:lnTo>
                    <a:lnTo>
                      <a:pt x="602" y="79"/>
                    </a:lnTo>
                    <a:lnTo>
                      <a:pt x="606" y="77"/>
                    </a:lnTo>
                    <a:lnTo>
                      <a:pt x="609" y="74"/>
                    </a:lnTo>
                    <a:lnTo>
                      <a:pt x="613" y="70"/>
                    </a:lnTo>
                    <a:lnTo>
                      <a:pt x="616" y="67"/>
                    </a:lnTo>
                    <a:lnTo>
                      <a:pt x="618" y="65"/>
                    </a:lnTo>
                    <a:lnTo>
                      <a:pt x="621" y="65"/>
                    </a:lnTo>
                    <a:lnTo>
                      <a:pt x="623" y="65"/>
                    </a:lnTo>
                    <a:lnTo>
                      <a:pt x="628" y="65"/>
                    </a:lnTo>
                    <a:lnTo>
                      <a:pt x="630" y="65"/>
                    </a:lnTo>
                    <a:lnTo>
                      <a:pt x="632" y="62"/>
                    </a:lnTo>
                    <a:lnTo>
                      <a:pt x="637" y="60"/>
                    </a:lnTo>
                    <a:lnTo>
                      <a:pt x="635" y="55"/>
                    </a:lnTo>
                    <a:lnTo>
                      <a:pt x="637" y="53"/>
                    </a:lnTo>
                    <a:lnTo>
                      <a:pt x="640" y="50"/>
                    </a:lnTo>
                    <a:lnTo>
                      <a:pt x="642" y="50"/>
                    </a:lnTo>
                    <a:lnTo>
                      <a:pt x="647" y="50"/>
                    </a:lnTo>
                    <a:lnTo>
                      <a:pt x="649" y="50"/>
                    </a:lnTo>
                    <a:lnTo>
                      <a:pt x="651" y="53"/>
                    </a:lnTo>
                    <a:lnTo>
                      <a:pt x="656" y="53"/>
                    </a:lnTo>
                    <a:lnTo>
                      <a:pt x="659" y="50"/>
                    </a:lnTo>
                    <a:lnTo>
                      <a:pt x="661" y="50"/>
                    </a:lnTo>
                    <a:lnTo>
                      <a:pt x="663" y="48"/>
                    </a:lnTo>
                    <a:lnTo>
                      <a:pt x="644" y="48"/>
                    </a:lnTo>
                    <a:lnTo>
                      <a:pt x="642" y="48"/>
                    </a:lnTo>
                    <a:lnTo>
                      <a:pt x="637" y="48"/>
                    </a:lnTo>
                    <a:lnTo>
                      <a:pt x="635" y="50"/>
                    </a:lnTo>
                    <a:lnTo>
                      <a:pt x="630" y="50"/>
                    </a:lnTo>
                    <a:lnTo>
                      <a:pt x="630" y="48"/>
                    </a:lnTo>
                    <a:lnTo>
                      <a:pt x="640" y="43"/>
                    </a:lnTo>
                    <a:lnTo>
                      <a:pt x="670" y="43"/>
                    </a:lnTo>
                    <a:lnTo>
                      <a:pt x="675" y="43"/>
                    </a:lnTo>
                    <a:lnTo>
                      <a:pt x="678" y="43"/>
                    </a:lnTo>
                    <a:lnTo>
                      <a:pt x="682" y="41"/>
                    </a:lnTo>
                    <a:lnTo>
                      <a:pt x="678" y="41"/>
                    </a:lnTo>
                    <a:lnTo>
                      <a:pt x="673" y="38"/>
                    </a:lnTo>
                    <a:lnTo>
                      <a:pt x="656" y="38"/>
                    </a:lnTo>
                    <a:lnTo>
                      <a:pt x="651" y="41"/>
                    </a:lnTo>
                    <a:lnTo>
                      <a:pt x="635" y="41"/>
                    </a:lnTo>
                    <a:lnTo>
                      <a:pt x="635" y="38"/>
                    </a:lnTo>
                    <a:lnTo>
                      <a:pt x="637" y="38"/>
                    </a:lnTo>
                    <a:lnTo>
                      <a:pt x="642" y="38"/>
                    </a:lnTo>
                    <a:lnTo>
                      <a:pt x="687" y="38"/>
                    </a:lnTo>
                    <a:lnTo>
                      <a:pt x="692" y="36"/>
                    </a:lnTo>
                    <a:lnTo>
                      <a:pt x="699" y="34"/>
                    </a:lnTo>
                    <a:lnTo>
                      <a:pt x="701" y="31"/>
                    </a:lnTo>
                    <a:lnTo>
                      <a:pt x="718" y="31"/>
                    </a:lnTo>
                    <a:lnTo>
                      <a:pt x="723" y="29"/>
                    </a:lnTo>
                    <a:lnTo>
                      <a:pt x="725" y="29"/>
                    </a:lnTo>
                    <a:lnTo>
                      <a:pt x="730" y="29"/>
                    </a:lnTo>
                    <a:lnTo>
                      <a:pt x="732" y="26"/>
                    </a:lnTo>
                    <a:lnTo>
                      <a:pt x="730" y="24"/>
                    </a:lnTo>
                    <a:close/>
                    <a:moveTo>
                      <a:pt x="119" y="268"/>
                    </a:moveTo>
                    <a:lnTo>
                      <a:pt x="116" y="266"/>
                    </a:lnTo>
                    <a:lnTo>
                      <a:pt x="119" y="268"/>
                    </a:lnTo>
                    <a:close/>
                    <a:moveTo>
                      <a:pt x="128" y="223"/>
                    </a:moveTo>
                    <a:lnTo>
                      <a:pt x="135" y="223"/>
                    </a:lnTo>
                    <a:lnTo>
                      <a:pt x="138" y="220"/>
                    </a:lnTo>
                    <a:lnTo>
                      <a:pt x="145" y="220"/>
                    </a:lnTo>
                    <a:lnTo>
                      <a:pt x="147" y="220"/>
                    </a:lnTo>
                    <a:lnTo>
                      <a:pt x="147" y="216"/>
                    </a:lnTo>
                    <a:lnTo>
                      <a:pt x="150" y="216"/>
                    </a:lnTo>
                    <a:lnTo>
                      <a:pt x="147" y="213"/>
                    </a:lnTo>
                    <a:lnTo>
                      <a:pt x="145" y="211"/>
                    </a:lnTo>
                    <a:lnTo>
                      <a:pt x="143" y="211"/>
                    </a:lnTo>
                    <a:lnTo>
                      <a:pt x="138" y="211"/>
                    </a:lnTo>
                    <a:lnTo>
                      <a:pt x="135" y="206"/>
                    </a:lnTo>
                    <a:lnTo>
                      <a:pt x="119" y="206"/>
                    </a:lnTo>
                    <a:lnTo>
                      <a:pt x="119" y="213"/>
                    </a:lnTo>
                    <a:lnTo>
                      <a:pt x="116" y="216"/>
                    </a:lnTo>
                    <a:lnTo>
                      <a:pt x="114" y="216"/>
                    </a:lnTo>
                    <a:lnTo>
                      <a:pt x="114" y="218"/>
                    </a:lnTo>
                    <a:lnTo>
                      <a:pt x="116" y="220"/>
                    </a:lnTo>
                    <a:lnTo>
                      <a:pt x="119" y="220"/>
                    </a:lnTo>
                    <a:lnTo>
                      <a:pt x="119" y="225"/>
                    </a:lnTo>
                    <a:lnTo>
                      <a:pt x="128" y="223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5" name="Gha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65C02F1-A9A0-4924-84E5-FBC0462621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42867" y="4119069"/>
                <a:ext cx="145015" cy="232055"/>
              </a:xfrm>
              <a:custGeom>
                <a:avLst/>
                <a:gdLst>
                  <a:gd name="T0" fmla="*/ 2147483647 w 324"/>
                  <a:gd name="T1" fmla="*/ 2147483647 h 516"/>
                  <a:gd name="T2" fmla="*/ 2147483647 w 324"/>
                  <a:gd name="T3" fmla="*/ 2147483647 h 516"/>
                  <a:gd name="T4" fmla="*/ 2147483647 w 324"/>
                  <a:gd name="T5" fmla="*/ 2147483647 h 516"/>
                  <a:gd name="T6" fmla="*/ 2147483647 w 324"/>
                  <a:gd name="T7" fmla="*/ 2147483647 h 516"/>
                  <a:gd name="T8" fmla="*/ 2147483647 w 324"/>
                  <a:gd name="T9" fmla="*/ 2147483647 h 516"/>
                  <a:gd name="T10" fmla="*/ 2147483647 w 324"/>
                  <a:gd name="T11" fmla="*/ 2147483647 h 516"/>
                  <a:gd name="T12" fmla="*/ 2147483647 w 324"/>
                  <a:gd name="T13" fmla="*/ 2147483647 h 516"/>
                  <a:gd name="T14" fmla="*/ 2147483647 w 324"/>
                  <a:gd name="T15" fmla="*/ 2147483647 h 516"/>
                  <a:gd name="T16" fmla="*/ 2147483647 w 324"/>
                  <a:gd name="T17" fmla="*/ 2147483647 h 516"/>
                  <a:gd name="T18" fmla="*/ 2147483647 w 324"/>
                  <a:gd name="T19" fmla="*/ 2147483647 h 516"/>
                  <a:gd name="T20" fmla="*/ 2147483647 w 324"/>
                  <a:gd name="T21" fmla="*/ 2147483647 h 516"/>
                  <a:gd name="T22" fmla="*/ 2147483647 w 324"/>
                  <a:gd name="T23" fmla="*/ 2147483647 h 516"/>
                  <a:gd name="T24" fmla="*/ 2147483647 w 324"/>
                  <a:gd name="T25" fmla="*/ 2147483647 h 516"/>
                  <a:gd name="T26" fmla="*/ 2147483647 w 324"/>
                  <a:gd name="T27" fmla="*/ 0 h 516"/>
                  <a:gd name="T28" fmla="*/ 2147483647 w 324"/>
                  <a:gd name="T29" fmla="*/ 2147483647 h 516"/>
                  <a:gd name="T30" fmla="*/ 2147483647 w 324"/>
                  <a:gd name="T31" fmla="*/ 2147483647 h 516"/>
                  <a:gd name="T32" fmla="*/ 2147483647 w 324"/>
                  <a:gd name="T33" fmla="*/ 2147483647 h 516"/>
                  <a:gd name="T34" fmla="*/ 2147483647 w 324"/>
                  <a:gd name="T35" fmla="*/ 2147483647 h 516"/>
                  <a:gd name="T36" fmla="*/ 2147483647 w 324"/>
                  <a:gd name="T37" fmla="*/ 2147483647 h 516"/>
                  <a:gd name="T38" fmla="*/ 2147483647 w 324"/>
                  <a:gd name="T39" fmla="*/ 2147483647 h 516"/>
                  <a:gd name="T40" fmla="*/ 2147483647 w 324"/>
                  <a:gd name="T41" fmla="*/ 2147483647 h 516"/>
                  <a:gd name="T42" fmla="*/ 2147483647 w 324"/>
                  <a:gd name="T43" fmla="*/ 2147483647 h 516"/>
                  <a:gd name="T44" fmla="*/ 2147483647 w 324"/>
                  <a:gd name="T45" fmla="*/ 2147483647 h 516"/>
                  <a:gd name="T46" fmla="*/ 2147483647 w 324"/>
                  <a:gd name="T47" fmla="*/ 2147483647 h 516"/>
                  <a:gd name="T48" fmla="*/ 2147483647 w 324"/>
                  <a:gd name="T49" fmla="*/ 2147483647 h 516"/>
                  <a:gd name="T50" fmla="*/ 2147483647 w 324"/>
                  <a:gd name="T51" fmla="*/ 2147483647 h 516"/>
                  <a:gd name="T52" fmla="*/ 2147483647 w 324"/>
                  <a:gd name="T53" fmla="*/ 2147483647 h 516"/>
                  <a:gd name="T54" fmla="*/ 0 w 324"/>
                  <a:gd name="T55" fmla="*/ 2147483647 h 516"/>
                  <a:gd name="T56" fmla="*/ 2147483647 w 324"/>
                  <a:gd name="T57" fmla="*/ 2147483647 h 516"/>
                  <a:gd name="T58" fmla="*/ 2147483647 w 324"/>
                  <a:gd name="T59" fmla="*/ 2147483647 h 516"/>
                  <a:gd name="T60" fmla="*/ 2147483647 w 324"/>
                  <a:gd name="T61" fmla="*/ 2147483647 h 516"/>
                  <a:gd name="T62" fmla="*/ 2147483647 w 324"/>
                  <a:gd name="T63" fmla="*/ 2147483647 h 516"/>
                  <a:gd name="T64" fmla="*/ 2147483647 w 324"/>
                  <a:gd name="T65" fmla="*/ 2147483647 h 516"/>
                  <a:gd name="T66" fmla="*/ 2147483647 w 324"/>
                  <a:gd name="T67" fmla="*/ 2147483647 h 516"/>
                  <a:gd name="T68" fmla="*/ 2147483647 w 324"/>
                  <a:gd name="T69" fmla="*/ 2147483647 h 516"/>
                  <a:gd name="T70" fmla="*/ 2147483647 w 324"/>
                  <a:gd name="T71" fmla="*/ 2147483647 h 516"/>
                  <a:gd name="T72" fmla="*/ 2147483647 w 324"/>
                  <a:gd name="T73" fmla="*/ 2147483647 h 516"/>
                  <a:gd name="T74" fmla="*/ 2147483647 w 324"/>
                  <a:gd name="T75" fmla="*/ 2147483647 h 516"/>
                  <a:gd name="T76" fmla="*/ 2147483647 w 324"/>
                  <a:gd name="T77" fmla="*/ 2147483647 h 516"/>
                  <a:gd name="T78" fmla="*/ 2147483647 w 324"/>
                  <a:gd name="T79" fmla="*/ 2147483647 h 516"/>
                  <a:gd name="T80" fmla="*/ 2147483647 w 324"/>
                  <a:gd name="T81" fmla="*/ 2147483647 h 516"/>
                  <a:gd name="T82" fmla="*/ 2147483647 w 324"/>
                  <a:gd name="T83" fmla="*/ 2147483647 h 516"/>
                  <a:gd name="T84" fmla="*/ 2147483647 w 324"/>
                  <a:gd name="T85" fmla="*/ 2147483647 h 516"/>
                  <a:gd name="T86" fmla="*/ 2147483647 w 324"/>
                  <a:gd name="T87" fmla="*/ 2147483647 h 51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24"/>
                  <a:gd name="T133" fmla="*/ 0 h 516"/>
                  <a:gd name="T134" fmla="*/ 324 w 324"/>
                  <a:gd name="T135" fmla="*/ 516 h 51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24" h="516">
                    <a:moveTo>
                      <a:pt x="282" y="342"/>
                    </a:moveTo>
                    <a:lnTo>
                      <a:pt x="282" y="330"/>
                    </a:lnTo>
                    <a:lnTo>
                      <a:pt x="288" y="318"/>
                    </a:lnTo>
                    <a:lnTo>
                      <a:pt x="288" y="306"/>
                    </a:lnTo>
                    <a:lnTo>
                      <a:pt x="282" y="300"/>
                    </a:lnTo>
                    <a:lnTo>
                      <a:pt x="276" y="300"/>
                    </a:lnTo>
                    <a:lnTo>
                      <a:pt x="276" y="282"/>
                    </a:lnTo>
                    <a:lnTo>
                      <a:pt x="282" y="276"/>
                    </a:lnTo>
                    <a:lnTo>
                      <a:pt x="282" y="234"/>
                    </a:lnTo>
                    <a:lnTo>
                      <a:pt x="288" y="228"/>
                    </a:lnTo>
                    <a:lnTo>
                      <a:pt x="288" y="216"/>
                    </a:lnTo>
                    <a:lnTo>
                      <a:pt x="282" y="210"/>
                    </a:lnTo>
                    <a:lnTo>
                      <a:pt x="270" y="204"/>
                    </a:lnTo>
                    <a:lnTo>
                      <a:pt x="264" y="198"/>
                    </a:lnTo>
                    <a:lnTo>
                      <a:pt x="276" y="186"/>
                    </a:lnTo>
                    <a:lnTo>
                      <a:pt x="282" y="186"/>
                    </a:lnTo>
                    <a:lnTo>
                      <a:pt x="282" y="180"/>
                    </a:lnTo>
                    <a:lnTo>
                      <a:pt x="270" y="168"/>
                    </a:lnTo>
                    <a:lnTo>
                      <a:pt x="276" y="156"/>
                    </a:lnTo>
                    <a:lnTo>
                      <a:pt x="276" y="132"/>
                    </a:lnTo>
                    <a:lnTo>
                      <a:pt x="270" y="126"/>
                    </a:lnTo>
                    <a:lnTo>
                      <a:pt x="264" y="126"/>
                    </a:lnTo>
                    <a:lnTo>
                      <a:pt x="252" y="138"/>
                    </a:lnTo>
                    <a:lnTo>
                      <a:pt x="264" y="60"/>
                    </a:lnTo>
                    <a:lnTo>
                      <a:pt x="228" y="36"/>
                    </a:lnTo>
                    <a:lnTo>
                      <a:pt x="240" y="24"/>
                    </a:lnTo>
                    <a:lnTo>
                      <a:pt x="240" y="6"/>
                    </a:lnTo>
                    <a:lnTo>
                      <a:pt x="222" y="0"/>
                    </a:lnTo>
                    <a:lnTo>
                      <a:pt x="198" y="12"/>
                    </a:lnTo>
                    <a:lnTo>
                      <a:pt x="42" y="12"/>
                    </a:lnTo>
                    <a:lnTo>
                      <a:pt x="36" y="18"/>
                    </a:lnTo>
                    <a:lnTo>
                      <a:pt x="30" y="30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78"/>
                    </a:lnTo>
                    <a:lnTo>
                      <a:pt x="42" y="132"/>
                    </a:lnTo>
                    <a:lnTo>
                      <a:pt x="48" y="126"/>
                    </a:lnTo>
                    <a:lnTo>
                      <a:pt x="54" y="156"/>
                    </a:lnTo>
                    <a:lnTo>
                      <a:pt x="42" y="156"/>
                    </a:lnTo>
                    <a:lnTo>
                      <a:pt x="42" y="162"/>
                    </a:lnTo>
                    <a:lnTo>
                      <a:pt x="48" y="168"/>
                    </a:lnTo>
                    <a:lnTo>
                      <a:pt x="48" y="180"/>
                    </a:lnTo>
                    <a:lnTo>
                      <a:pt x="54" y="192"/>
                    </a:lnTo>
                    <a:lnTo>
                      <a:pt x="54" y="204"/>
                    </a:lnTo>
                    <a:lnTo>
                      <a:pt x="60" y="216"/>
                    </a:lnTo>
                    <a:lnTo>
                      <a:pt x="60" y="228"/>
                    </a:lnTo>
                    <a:lnTo>
                      <a:pt x="48" y="252"/>
                    </a:lnTo>
                    <a:lnTo>
                      <a:pt x="42" y="258"/>
                    </a:lnTo>
                    <a:lnTo>
                      <a:pt x="36" y="270"/>
                    </a:lnTo>
                    <a:lnTo>
                      <a:pt x="36" y="288"/>
                    </a:lnTo>
                    <a:lnTo>
                      <a:pt x="30" y="300"/>
                    </a:lnTo>
                    <a:lnTo>
                      <a:pt x="30" y="312"/>
                    </a:lnTo>
                    <a:lnTo>
                      <a:pt x="12" y="330"/>
                    </a:lnTo>
                    <a:lnTo>
                      <a:pt x="6" y="342"/>
                    </a:lnTo>
                    <a:lnTo>
                      <a:pt x="0" y="348"/>
                    </a:lnTo>
                    <a:lnTo>
                      <a:pt x="0" y="372"/>
                    </a:lnTo>
                    <a:lnTo>
                      <a:pt x="6" y="384"/>
                    </a:lnTo>
                    <a:lnTo>
                      <a:pt x="12" y="402"/>
                    </a:lnTo>
                    <a:lnTo>
                      <a:pt x="12" y="414"/>
                    </a:lnTo>
                    <a:lnTo>
                      <a:pt x="18" y="426"/>
                    </a:lnTo>
                    <a:lnTo>
                      <a:pt x="24" y="432"/>
                    </a:lnTo>
                    <a:lnTo>
                      <a:pt x="24" y="438"/>
                    </a:lnTo>
                    <a:lnTo>
                      <a:pt x="48" y="444"/>
                    </a:lnTo>
                    <a:lnTo>
                      <a:pt x="48" y="498"/>
                    </a:lnTo>
                    <a:lnTo>
                      <a:pt x="72" y="498"/>
                    </a:lnTo>
                    <a:lnTo>
                      <a:pt x="78" y="504"/>
                    </a:lnTo>
                    <a:lnTo>
                      <a:pt x="78" y="510"/>
                    </a:lnTo>
                    <a:lnTo>
                      <a:pt x="84" y="516"/>
                    </a:lnTo>
                    <a:lnTo>
                      <a:pt x="96" y="516"/>
                    </a:lnTo>
                    <a:lnTo>
                      <a:pt x="108" y="510"/>
                    </a:lnTo>
                    <a:lnTo>
                      <a:pt x="114" y="504"/>
                    </a:lnTo>
                    <a:lnTo>
                      <a:pt x="132" y="492"/>
                    </a:lnTo>
                    <a:lnTo>
                      <a:pt x="138" y="486"/>
                    </a:lnTo>
                    <a:lnTo>
                      <a:pt x="150" y="480"/>
                    </a:lnTo>
                    <a:lnTo>
                      <a:pt x="180" y="480"/>
                    </a:lnTo>
                    <a:lnTo>
                      <a:pt x="186" y="474"/>
                    </a:lnTo>
                    <a:lnTo>
                      <a:pt x="198" y="468"/>
                    </a:lnTo>
                    <a:lnTo>
                      <a:pt x="216" y="450"/>
                    </a:lnTo>
                    <a:lnTo>
                      <a:pt x="228" y="450"/>
                    </a:lnTo>
                    <a:lnTo>
                      <a:pt x="234" y="444"/>
                    </a:lnTo>
                    <a:lnTo>
                      <a:pt x="240" y="444"/>
                    </a:lnTo>
                    <a:lnTo>
                      <a:pt x="258" y="426"/>
                    </a:lnTo>
                    <a:lnTo>
                      <a:pt x="270" y="426"/>
                    </a:lnTo>
                    <a:lnTo>
                      <a:pt x="276" y="432"/>
                    </a:lnTo>
                    <a:lnTo>
                      <a:pt x="294" y="432"/>
                    </a:lnTo>
                    <a:lnTo>
                      <a:pt x="306" y="426"/>
                    </a:lnTo>
                    <a:lnTo>
                      <a:pt x="324" y="408"/>
                    </a:lnTo>
                    <a:lnTo>
                      <a:pt x="294" y="384"/>
                    </a:lnTo>
                    <a:lnTo>
                      <a:pt x="282" y="34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6" name="Georg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46CA8B3-673E-421A-A749-BCA96327A3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20052" y="2944624"/>
                <a:ext cx="204419" cy="93885"/>
              </a:xfrm>
              <a:custGeom>
                <a:avLst/>
                <a:gdLst>
                  <a:gd name="T0" fmla="*/ 2147483647 w 462"/>
                  <a:gd name="T1" fmla="*/ 2147483647 h 210"/>
                  <a:gd name="T2" fmla="*/ 2147483647 w 462"/>
                  <a:gd name="T3" fmla="*/ 2147483647 h 210"/>
                  <a:gd name="T4" fmla="*/ 2147483647 w 462"/>
                  <a:gd name="T5" fmla="*/ 2147483647 h 210"/>
                  <a:gd name="T6" fmla="*/ 2147483647 w 462"/>
                  <a:gd name="T7" fmla="*/ 2147483647 h 210"/>
                  <a:gd name="T8" fmla="*/ 2147483647 w 462"/>
                  <a:gd name="T9" fmla="*/ 2147483647 h 210"/>
                  <a:gd name="T10" fmla="*/ 2147483647 w 462"/>
                  <a:gd name="T11" fmla="*/ 2147483647 h 210"/>
                  <a:gd name="T12" fmla="*/ 2147483647 w 462"/>
                  <a:gd name="T13" fmla="*/ 2147483647 h 210"/>
                  <a:gd name="T14" fmla="*/ 2147483647 w 462"/>
                  <a:gd name="T15" fmla="*/ 2147483647 h 210"/>
                  <a:gd name="T16" fmla="*/ 2147483647 w 462"/>
                  <a:gd name="T17" fmla="*/ 2147483647 h 210"/>
                  <a:gd name="T18" fmla="*/ 2147483647 w 462"/>
                  <a:gd name="T19" fmla="*/ 2147483647 h 210"/>
                  <a:gd name="T20" fmla="*/ 2147483647 w 462"/>
                  <a:gd name="T21" fmla="*/ 2147483647 h 210"/>
                  <a:gd name="T22" fmla="*/ 2147483647 w 462"/>
                  <a:gd name="T23" fmla="*/ 2147483647 h 210"/>
                  <a:gd name="T24" fmla="*/ 2147483647 w 462"/>
                  <a:gd name="T25" fmla="*/ 2147483647 h 210"/>
                  <a:gd name="T26" fmla="*/ 2147483647 w 462"/>
                  <a:gd name="T27" fmla="*/ 2147483647 h 210"/>
                  <a:gd name="T28" fmla="*/ 2147483647 w 462"/>
                  <a:gd name="T29" fmla="*/ 2147483647 h 210"/>
                  <a:gd name="T30" fmla="*/ 2147483647 w 462"/>
                  <a:gd name="T31" fmla="*/ 2147483647 h 210"/>
                  <a:gd name="T32" fmla="*/ 2147483647 w 462"/>
                  <a:gd name="T33" fmla="*/ 2147483647 h 210"/>
                  <a:gd name="T34" fmla="*/ 2147483647 w 462"/>
                  <a:gd name="T35" fmla="*/ 2147483647 h 210"/>
                  <a:gd name="T36" fmla="*/ 2147483647 w 462"/>
                  <a:gd name="T37" fmla="*/ 2147483647 h 210"/>
                  <a:gd name="T38" fmla="*/ 2147483647 w 462"/>
                  <a:gd name="T39" fmla="*/ 2147483647 h 210"/>
                  <a:gd name="T40" fmla="*/ 2147483647 w 462"/>
                  <a:gd name="T41" fmla="*/ 2147483647 h 210"/>
                  <a:gd name="T42" fmla="*/ 2147483647 w 462"/>
                  <a:gd name="T43" fmla="*/ 2147483647 h 210"/>
                  <a:gd name="T44" fmla="*/ 2147483647 w 462"/>
                  <a:gd name="T45" fmla="*/ 2147483647 h 210"/>
                  <a:gd name="T46" fmla="*/ 2147483647 w 462"/>
                  <a:gd name="T47" fmla="*/ 2147483647 h 210"/>
                  <a:gd name="T48" fmla="*/ 2147483647 w 462"/>
                  <a:gd name="T49" fmla="*/ 2147483647 h 210"/>
                  <a:gd name="T50" fmla="*/ 2147483647 w 462"/>
                  <a:gd name="T51" fmla="*/ 2147483647 h 210"/>
                  <a:gd name="T52" fmla="*/ 2147483647 w 462"/>
                  <a:gd name="T53" fmla="*/ 2147483647 h 210"/>
                  <a:gd name="T54" fmla="*/ 2147483647 w 462"/>
                  <a:gd name="T55" fmla="*/ 2147483647 h 210"/>
                  <a:gd name="T56" fmla="*/ 2147483647 w 462"/>
                  <a:gd name="T57" fmla="*/ 2147483647 h 210"/>
                  <a:gd name="T58" fmla="*/ 2147483647 w 462"/>
                  <a:gd name="T59" fmla="*/ 2147483647 h 210"/>
                  <a:gd name="T60" fmla="*/ 2147483647 w 462"/>
                  <a:gd name="T61" fmla="*/ 2147483647 h 210"/>
                  <a:gd name="T62" fmla="*/ 2147483647 w 462"/>
                  <a:gd name="T63" fmla="*/ 2147483647 h 210"/>
                  <a:gd name="T64" fmla="*/ 2147483647 w 462"/>
                  <a:gd name="T65" fmla="*/ 2147483647 h 210"/>
                  <a:gd name="T66" fmla="*/ 2147483647 w 462"/>
                  <a:gd name="T67" fmla="*/ 2147483647 h 210"/>
                  <a:gd name="T68" fmla="*/ 2147483647 w 462"/>
                  <a:gd name="T69" fmla="*/ 2147483647 h 210"/>
                  <a:gd name="T70" fmla="*/ 2147483647 w 462"/>
                  <a:gd name="T71" fmla="*/ 2147483647 h 210"/>
                  <a:gd name="T72" fmla="*/ 2147483647 w 462"/>
                  <a:gd name="T73" fmla="*/ 2147483647 h 210"/>
                  <a:gd name="T74" fmla="*/ 2147483647 w 462"/>
                  <a:gd name="T75" fmla="*/ 2147483647 h 210"/>
                  <a:gd name="T76" fmla="*/ 2147483647 w 462"/>
                  <a:gd name="T77" fmla="*/ 2147483647 h 210"/>
                  <a:gd name="T78" fmla="*/ 2147483647 w 462"/>
                  <a:gd name="T79" fmla="*/ 2147483647 h 210"/>
                  <a:gd name="T80" fmla="*/ 2147483647 w 462"/>
                  <a:gd name="T81" fmla="*/ 0 h 210"/>
                  <a:gd name="T82" fmla="*/ 0 w 462"/>
                  <a:gd name="T83" fmla="*/ 2147483647 h 21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2"/>
                  <a:gd name="T127" fmla="*/ 0 h 210"/>
                  <a:gd name="T128" fmla="*/ 462 w 462"/>
                  <a:gd name="T129" fmla="*/ 210 h 21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2" h="210">
                    <a:moveTo>
                      <a:pt x="6" y="18"/>
                    </a:moveTo>
                    <a:lnTo>
                      <a:pt x="12" y="18"/>
                    </a:lnTo>
                    <a:lnTo>
                      <a:pt x="18" y="24"/>
                    </a:lnTo>
                    <a:lnTo>
                      <a:pt x="30" y="30"/>
                    </a:lnTo>
                    <a:lnTo>
                      <a:pt x="42" y="42"/>
                    </a:lnTo>
                    <a:lnTo>
                      <a:pt x="60" y="48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14"/>
                    </a:lnTo>
                    <a:lnTo>
                      <a:pt x="120" y="132"/>
                    </a:lnTo>
                    <a:lnTo>
                      <a:pt x="126" y="138"/>
                    </a:lnTo>
                    <a:lnTo>
                      <a:pt x="132" y="150"/>
                    </a:lnTo>
                    <a:lnTo>
                      <a:pt x="138" y="156"/>
                    </a:lnTo>
                    <a:lnTo>
                      <a:pt x="138" y="162"/>
                    </a:lnTo>
                    <a:lnTo>
                      <a:pt x="132" y="168"/>
                    </a:lnTo>
                    <a:lnTo>
                      <a:pt x="168" y="174"/>
                    </a:lnTo>
                    <a:lnTo>
                      <a:pt x="174" y="168"/>
                    </a:lnTo>
                    <a:lnTo>
                      <a:pt x="186" y="162"/>
                    </a:lnTo>
                    <a:lnTo>
                      <a:pt x="198" y="162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46" y="192"/>
                    </a:lnTo>
                    <a:lnTo>
                      <a:pt x="246" y="198"/>
                    </a:lnTo>
                    <a:lnTo>
                      <a:pt x="252" y="204"/>
                    </a:lnTo>
                    <a:lnTo>
                      <a:pt x="276" y="198"/>
                    </a:lnTo>
                    <a:lnTo>
                      <a:pt x="282" y="192"/>
                    </a:lnTo>
                    <a:lnTo>
                      <a:pt x="336" y="198"/>
                    </a:lnTo>
                    <a:lnTo>
                      <a:pt x="336" y="180"/>
                    </a:lnTo>
                    <a:lnTo>
                      <a:pt x="342" y="180"/>
                    </a:lnTo>
                    <a:lnTo>
                      <a:pt x="348" y="186"/>
                    </a:lnTo>
                    <a:lnTo>
                      <a:pt x="354" y="186"/>
                    </a:lnTo>
                    <a:lnTo>
                      <a:pt x="354" y="180"/>
                    </a:lnTo>
                    <a:lnTo>
                      <a:pt x="366" y="168"/>
                    </a:lnTo>
                    <a:lnTo>
                      <a:pt x="390" y="168"/>
                    </a:lnTo>
                    <a:lnTo>
                      <a:pt x="396" y="174"/>
                    </a:lnTo>
                    <a:lnTo>
                      <a:pt x="396" y="180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38" y="192"/>
                    </a:lnTo>
                    <a:lnTo>
                      <a:pt x="456" y="210"/>
                    </a:lnTo>
                    <a:lnTo>
                      <a:pt x="462" y="204"/>
                    </a:lnTo>
                    <a:lnTo>
                      <a:pt x="456" y="192"/>
                    </a:lnTo>
                    <a:lnTo>
                      <a:pt x="450" y="186"/>
                    </a:lnTo>
                    <a:lnTo>
                      <a:pt x="444" y="174"/>
                    </a:lnTo>
                    <a:lnTo>
                      <a:pt x="438" y="168"/>
                    </a:lnTo>
                    <a:lnTo>
                      <a:pt x="432" y="168"/>
                    </a:lnTo>
                    <a:lnTo>
                      <a:pt x="414" y="150"/>
                    </a:lnTo>
                    <a:lnTo>
                      <a:pt x="420" y="144"/>
                    </a:lnTo>
                    <a:lnTo>
                      <a:pt x="432" y="144"/>
                    </a:lnTo>
                    <a:lnTo>
                      <a:pt x="420" y="132"/>
                    </a:lnTo>
                    <a:lnTo>
                      <a:pt x="408" y="126"/>
                    </a:lnTo>
                    <a:lnTo>
                      <a:pt x="396" y="114"/>
                    </a:lnTo>
                    <a:lnTo>
                      <a:pt x="378" y="114"/>
                    </a:lnTo>
                    <a:lnTo>
                      <a:pt x="378" y="108"/>
                    </a:lnTo>
                    <a:lnTo>
                      <a:pt x="384" y="102"/>
                    </a:lnTo>
                    <a:lnTo>
                      <a:pt x="384" y="90"/>
                    </a:lnTo>
                    <a:lnTo>
                      <a:pt x="354" y="84"/>
                    </a:lnTo>
                    <a:lnTo>
                      <a:pt x="342" y="72"/>
                    </a:lnTo>
                    <a:lnTo>
                      <a:pt x="330" y="66"/>
                    </a:lnTo>
                    <a:lnTo>
                      <a:pt x="300" y="66"/>
                    </a:lnTo>
                    <a:lnTo>
                      <a:pt x="300" y="72"/>
                    </a:lnTo>
                    <a:lnTo>
                      <a:pt x="288" y="72"/>
                    </a:lnTo>
                    <a:lnTo>
                      <a:pt x="282" y="78"/>
                    </a:lnTo>
                    <a:lnTo>
                      <a:pt x="258" y="78"/>
                    </a:lnTo>
                    <a:lnTo>
                      <a:pt x="246" y="72"/>
                    </a:lnTo>
                    <a:lnTo>
                      <a:pt x="240" y="72"/>
                    </a:lnTo>
                    <a:lnTo>
                      <a:pt x="240" y="66"/>
                    </a:lnTo>
                    <a:lnTo>
                      <a:pt x="192" y="36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44" y="30"/>
                    </a:lnTo>
                    <a:lnTo>
                      <a:pt x="84" y="18"/>
                    </a:lnTo>
                    <a:lnTo>
                      <a:pt x="66" y="12"/>
                    </a:lnTo>
                    <a:lnTo>
                      <a:pt x="54" y="6"/>
                    </a:lnTo>
                    <a:lnTo>
                      <a:pt x="36" y="0"/>
                    </a:lnTo>
                    <a:lnTo>
                      <a:pt x="24" y="0"/>
                    </a:lnTo>
                    <a:lnTo>
                      <a:pt x="0" y="18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7" name="The Gamb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86767C5-4E30-49AB-83DC-BDAC9DE780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7524" y="4021642"/>
                <a:ext cx="94348" cy="23029"/>
              </a:xfrm>
              <a:custGeom>
                <a:avLst/>
                <a:gdLst>
                  <a:gd name="T0" fmla="*/ 2147483647 w 216"/>
                  <a:gd name="T1" fmla="*/ 2147483647 h 54"/>
                  <a:gd name="T2" fmla="*/ 2147483647 w 216"/>
                  <a:gd name="T3" fmla="*/ 2147483647 h 54"/>
                  <a:gd name="T4" fmla="*/ 2147483647 w 216"/>
                  <a:gd name="T5" fmla="*/ 2147483647 h 54"/>
                  <a:gd name="T6" fmla="*/ 2147483647 w 216"/>
                  <a:gd name="T7" fmla="*/ 2147483647 h 54"/>
                  <a:gd name="T8" fmla="*/ 0 w 216"/>
                  <a:gd name="T9" fmla="*/ 2147483647 h 54"/>
                  <a:gd name="T10" fmla="*/ 0 w 216"/>
                  <a:gd name="T11" fmla="*/ 2147483647 h 54"/>
                  <a:gd name="T12" fmla="*/ 2147483647 w 216"/>
                  <a:gd name="T13" fmla="*/ 2147483647 h 54"/>
                  <a:gd name="T14" fmla="*/ 2147483647 w 216"/>
                  <a:gd name="T15" fmla="*/ 2147483647 h 54"/>
                  <a:gd name="T16" fmla="*/ 2147483647 w 216"/>
                  <a:gd name="T17" fmla="*/ 2147483647 h 54"/>
                  <a:gd name="T18" fmla="*/ 2147483647 w 216"/>
                  <a:gd name="T19" fmla="*/ 2147483647 h 54"/>
                  <a:gd name="T20" fmla="*/ 2147483647 w 216"/>
                  <a:gd name="T21" fmla="*/ 2147483647 h 54"/>
                  <a:gd name="T22" fmla="*/ 2147483647 w 216"/>
                  <a:gd name="T23" fmla="*/ 2147483647 h 54"/>
                  <a:gd name="T24" fmla="*/ 2147483647 w 216"/>
                  <a:gd name="T25" fmla="*/ 2147483647 h 54"/>
                  <a:gd name="T26" fmla="*/ 2147483647 w 216"/>
                  <a:gd name="T27" fmla="*/ 2147483647 h 54"/>
                  <a:gd name="T28" fmla="*/ 2147483647 w 216"/>
                  <a:gd name="T29" fmla="*/ 2147483647 h 54"/>
                  <a:gd name="T30" fmla="*/ 2147483647 w 216"/>
                  <a:gd name="T31" fmla="*/ 2147483647 h 54"/>
                  <a:gd name="T32" fmla="*/ 2147483647 w 216"/>
                  <a:gd name="T33" fmla="*/ 2147483647 h 54"/>
                  <a:gd name="T34" fmla="*/ 2147483647 w 216"/>
                  <a:gd name="T35" fmla="*/ 2147483647 h 54"/>
                  <a:gd name="T36" fmla="*/ 2147483647 w 216"/>
                  <a:gd name="T37" fmla="*/ 2147483647 h 54"/>
                  <a:gd name="T38" fmla="*/ 2147483647 w 216"/>
                  <a:gd name="T39" fmla="*/ 2147483647 h 54"/>
                  <a:gd name="T40" fmla="*/ 2147483647 w 216"/>
                  <a:gd name="T41" fmla="*/ 2147483647 h 54"/>
                  <a:gd name="T42" fmla="*/ 2147483647 w 216"/>
                  <a:gd name="T43" fmla="*/ 2147483647 h 54"/>
                  <a:gd name="T44" fmla="*/ 2147483647 w 216"/>
                  <a:gd name="T45" fmla="*/ 2147483647 h 54"/>
                  <a:gd name="T46" fmla="*/ 2147483647 w 216"/>
                  <a:gd name="T47" fmla="*/ 2147483647 h 54"/>
                  <a:gd name="T48" fmla="*/ 2147483647 w 216"/>
                  <a:gd name="T49" fmla="*/ 2147483647 h 54"/>
                  <a:gd name="T50" fmla="*/ 2147483647 w 216"/>
                  <a:gd name="T51" fmla="*/ 2147483647 h 54"/>
                  <a:gd name="T52" fmla="*/ 2147483647 w 216"/>
                  <a:gd name="T53" fmla="*/ 2147483647 h 54"/>
                  <a:gd name="T54" fmla="*/ 2147483647 w 216"/>
                  <a:gd name="T55" fmla="*/ 2147483647 h 54"/>
                  <a:gd name="T56" fmla="*/ 2147483647 w 216"/>
                  <a:gd name="T57" fmla="*/ 2147483647 h 54"/>
                  <a:gd name="T58" fmla="*/ 2147483647 w 216"/>
                  <a:gd name="T59" fmla="*/ 0 h 54"/>
                  <a:gd name="T60" fmla="*/ 2147483647 w 216"/>
                  <a:gd name="T61" fmla="*/ 0 h 54"/>
                  <a:gd name="T62" fmla="*/ 2147483647 w 216"/>
                  <a:gd name="T63" fmla="*/ 2147483647 h 54"/>
                  <a:gd name="T64" fmla="*/ 2147483647 w 216"/>
                  <a:gd name="T65" fmla="*/ 2147483647 h 54"/>
                  <a:gd name="T66" fmla="*/ 2147483647 w 216"/>
                  <a:gd name="T67" fmla="*/ 2147483647 h 5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6"/>
                  <a:gd name="T103" fmla="*/ 0 h 54"/>
                  <a:gd name="T104" fmla="*/ 216 w 216"/>
                  <a:gd name="T105" fmla="*/ 54 h 5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6" h="54">
                    <a:moveTo>
                      <a:pt x="18" y="18"/>
                    </a:moveTo>
                    <a:lnTo>
                      <a:pt x="12" y="24"/>
                    </a:lnTo>
                    <a:lnTo>
                      <a:pt x="6" y="36"/>
                    </a:lnTo>
                    <a:lnTo>
                      <a:pt x="6" y="42"/>
                    </a:lnTo>
                    <a:lnTo>
                      <a:pt x="0" y="48"/>
                    </a:lnTo>
                    <a:lnTo>
                      <a:pt x="0" y="54"/>
                    </a:lnTo>
                    <a:lnTo>
                      <a:pt x="72" y="54"/>
                    </a:lnTo>
                    <a:lnTo>
                      <a:pt x="72" y="42"/>
                    </a:lnTo>
                    <a:lnTo>
                      <a:pt x="84" y="42"/>
                    </a:lnTo>
                    <a:lnTo>
                      <a:pt x="90" y="36"/>
                    </a:lnTo>
                    <a:lnTo>
                      <a:pt x="114" y="36"/>
                    </a:lnTo>
                    <a:lnTo>
                      <a:pt x="120" y="24"/>
                    </a:lnTo>
                    <a:lnTo>
                      <a:pt x="126" y="18"/>
                    </a:lnTo>
                    <a:lnTo>
                      <a:pt x="132" y="24"/>
                    </a:lnTo>
                    <a:lnTo>
                      <a:pt x="144" y="30"/>
                    </a:lnTo>
                    <a:lnTo>
                      <a:pt x="150" y="42"/>
                    </a:lnTo>
                    <a:lnTo>
                      <a:pt x="168" y="48"/>
                    </a:lnTo>
                    <a:lnTo>
                      <a:pt x="192" y="48"/>
                    </a:lnTo>
                    <a:lnTo>
                      <a:pt x="198" y="42"/>
                    </a:lnTo>
                    <a:lnTo>
                      <a:pt x="210" y="36"/>
                    </a:lnTo>
                    <a:lnTo>
                      <a:pt x="216" y="30"/>
                    </a:lnTo>
                    <a:lnTo>
                      <a:pt x="216" y="24"/>
                    </a:lnTo>
                    <a:lnTo>
                      <a:pt x="210" y="18"/>
                    </a:lnTo>
                    <a:lnTo>
                      <a:pt x="186" y="18"/>
                    </a:lnTo>
                    <a:lnTo>
                      <a:pt x="180" y="24"/>
                    </a:lnTo>
                    <a:lnTo>
                      <a:pt x="168" y="24"/>
                    </a:lnTo>
                    <a:lnTo>
                      <a:pt x="162" y="12"/>
                    </a:lnTo>
                    <a:lnTo>
                      <a:pt x="156" y="6"/>
                    </a:lnTo>
                    <a:lnTo>
                      <a:pt x="144" y="12"/>
                    </a:lnTo>
                    <a:lnTo>
                      <a:pt x="144" y="0"/>
                    </a:lnTo>
                    <a:lnTo>
                      <a:pt x="90" y="0"/>
                    </a:lnTo>
                    <a:lnTo>
                      <a:pt x="90" y="12"/>
                    </a:lnTo>
                    <a:lnTo>
                      <a:pt x="18" y="12"/>
                    </a:lnTo>
                    <a:lnTo>
                      <a:pt x="18" y="1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8" name="Gabo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40BA20A-1989-41CE-8439-BE8C86878C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22004" y="4432606"/>
                <a:ext cx="185201" cy="230284"/>
              </a:xfrm>
              <a:custGeom>
                <a:avLst/>
                <a:gdLst>
                  <a:gd name="T0" fmla="*/ 2147483647 w 420"/>
                  <a:gd name="T1" fmla="*/ 2147483647 h 510"/>
                  <a:gd name="T2" fmla="*/ 2147483647 w 420"/>
                  <a:gd name="T3" fmla="*/ 2147483647 h 510"/>
                  <a:gd name="T4" fmla="*/ 2147483647 w 420"/>
                  <a:gd name="T5" fmla="*/ 2147483647 h 510"/>
                  <a:gd name="T6" fmla="*/ 2147483647 w 420"/>
                  <a:gd name="T7" fmla="*/ 2147483647 h 510"/>
                  <a:gd name="T8" fmla="*/ 2147483647 w 420"/>
                  <a:gd name="T9" fmla="*/ 2147483647 h 510"/>
                  <a:gd name="T10" fmla="*/ 2147483647 w 420"/>
                  <a:gd name="T11" fmla="*/ 2147483647 h 510"/>
                  <a:gd name="T12" fmla="*/ 2147483647 w 420"/>
                  <a:gd name="T13" fmla="*/ 2147483647 h 510"/>
                  <a:gd name="T14" fmla="*/ 2147483647 w 420"/>
                  <a:gd name="T15" fmla="*/ 2147483647 h 510"/>
                  <a:gd name="T16" fmla="*/ 2147483647 w 420"/>
                  <a:gd name="T17" fmla="*/ 2147483647 h 510"/>
                  <a:gd name="T18" fmla="*/ 2147483647 w 420"/>
                  <a:gd name="T19" fmla="*/ 2147483647 h 510"/>
                  <a:gd name="T20" fmla="*/ 2147483647 w 420"/>
                  <a:gd name="T21" fmla="*/ 2147483647 h 510"/>
                  <a:gd name="T22" fmla="*/ 2147483647 w 420"/>
                  <a:gd name="T23" fmla="*/ 2147483647 h 510"/>
                  <a:gd name="T24" fmla="*/ 2147483647 w 420"/>
                  <a:gd name="T25" fmla="*/ 2147483647 h 510"/>
                  <a:gd name="T26" fmla="*/ 2147483647 w 420"/>
                  <a:gd name="T27" fmla="*/ 2147483647 h 510"/>
                  <a:gd name="T28" fmla="*/ 2147483647 w 420"/>
                  <a:gd name="T29" fmla="*/ 2147483647 h 510"/>
                  <a:gd name="T30" fmla="*/ 2147483647 w 420"/>
                  <a:gd name="T31" fmla="*/ 2147483647 h 510"/>
                  <a:gd name="T32" fmla="*/ 2147483647 w 420"/>
                  <a:gd name="T33" fmla="*/ 2147483647 h 510"/>
                  <a:gd name="T34" fmla="*/ 2147483647 w 420"/>
                  <a:gd name="T35" fmla="*/ 2147483647 h 510"/>
                  <a:gd name="T36" fmla="*/ 2147483647 w 420"/>
                  <a:gd name="T37" fmla="*/ 2147483647 h 510"/>
                  <a:gd name="T38" fmla="*/ 2147483647 w 420"/>
                  <a:gd name="T39" fmla="*/ 2147483647 h 510"/>
                  <a:gd name="T40" fmla="*/ 2147483647 w 420"/>
                  <a:gd name="T41" fmla="*/ 2147483647 h 510"/>
                  <a:gd name="T42" fmla="*/ 2147483647 w 420"/>
                  <a:gd name="T43" fmla="*/ 2147483647 h 510"/>
                  <a:gd name="T44" fmla="*/ 2147483647 w 420"/>
                  <a:gd name="T45" fmla="*/ 2147483647 h 510"/>
                  <a:gd name="T46" fmla="*/ 2147483647 w 420"/>
                  <a:gd name="T47" fmla="*/ 2147483647 h 510"/>
                  <a:gd name="T48" fmla="*/ 2147483647 w 420"/>
                  <a:gd name="T49" fmla="*/ 2147483647 h 510"/>
                  <a:gd name="T50" fmla="*/ 2147483647 w 420"/>
                  <a:gd name="T51" fmla="*/ 2147483647 h 510"/>
                  <a:gd name="T52" fmla="*/ 2147483647 w 420"/>
                  <a:gd name="T53" fmla="*/ 2147483647 h 510"/>
                  <a:gd name="T54" fmla="*/ 2147483647 w 420"/>
                  <a:gd name="T55" fmla="*/ 2147483647 h 510"/>
                  <a:gd name="T56" fmla="*/ 2147483647 w 420"/>
                  <a:gd name="T57" fmla="*/ 2147483647 h 510"/>
                  <a:gd name="T58" fmla="*/ 2147483647 w 420"/>
                  <a:gd name="T59" fmla="*/ 2147483647 h 510"/>
                  <a:gd name="T60" fmla="*/ 2147483647 w 420"/>
                  <a:gd name="T61" fmla="*/ 2147483647 h 510"/>
                  <a:gd name="T62" fmla="*/ 2147483647 w 420"/>
                  <a:gd name="T63" fmla="*/ 2147483647 h 510"/>
                  <a:gd name="T64" fmla="*/ 2147483647 w 420"/>
                  <a:gd name="T65" fmla="*/ 2147483647 h 510"/>
                  <a:gd name="T66" fmla="*/ 2147483647 w 420"/>
                  <a:gd name="T67" fmla="*/ 2147483647 h 510"/>
                  <a:gd name="T68" fmla="*/ 2147483647 w 420"/>
                  <a:gd name="T69" fmla="*/ 2147483647 h 510"/>
                  <a:gd name="T70" fmla="*/ 2147483647 w 420"/>
                  <a:gd name="T71" fmla="*/ 2147483647 h 510"/>
                  <a:gd name="T72" fmla="*/ 2147483647 w 420"/>
                  <a:gd name="T73" fmla="*/ 2147483647 h 510"/>
                  <a:gd name="T74" fmla="*/ 2147483647 w 420"/>
                  <a:gd name="T75" fmla="*/ 2147483647 h 510"/>
                  <a:gd name="T76" fmla="*/ 2147483647 w 420"/>
                  <a:gd name="T77" fmla="*/ 2147483647 h 510"/>
                  <a:gd name="T78" fmla="*/ 2147483647 w 420"/>
                  <a:gd name="T79" fmla="*/ 2147483647 h 510"/>
                  <a:gd name="T80" fmla="*/ 2147483647 w 420"/>
                  <a:gd name="T81" fmla="*/ 2147483647 h 510"/>
                  <a:gd name="T82" fmla="*/ 2147483647 w 420"/>
                  <a:gd name="T83" fmla="*/ 2147483647 h 510"/>
                  <a:gd name="T84" fmla="*/ 2147483647 w 420"/>
                  <a:gd name="T85" fmla="*/ 2147483647 h 510"/>
                  <a:gd name="T86" fmla="*/ 2147483647 w 420"/>
                  <a:gd name="T87" fmla="*/ 2147483647 h 510"/>
                  <a:gd name="T88" fmla="*/ 2147483647 w 420"/>
                  <a:gd name="T89" fmla="*/ 2147483647 h 510"/>
                  <a:gd name="T90" fmla="*/ 2147483647 w 420"/>
                  <a:gd name="T91" fmla="*/ 2147483647 h 510"/>
                  <a:gd name="T92" fmla="*/ 2147483647 w 420"/>
                  <a:gd name="T93" fmla="*/ 2147483647 h 510"/>
                  <a:gd name="T94" fmla="*/ 2147483647 w 420"/>
                  <a:gd name="T95" fmla="*/ 2147483647 h 510"/>
                  <a:gd name="T96" fmla="*/ 2147483647 w 420"/>
                  <a:gd name="T97" fmla="*/ 2147483647 h 510"/>
                  <a:gd name="T98" fmla="*/ 2147483647 w 420"/>
                  <a:gd name="T99" fmla="*/ 2147483647 h 510"/>
                  <a:gd name="T100" fmla="*/ 2147483647 w 420"/>
                  <a:gd name="T101" fmla="*/ 2147483647 h 510"/>
                  <a:gd name="T102" fmla="*/ 2147483647 w 420"/>
                  <a:gd name="T103" fmla="*/ 2147483647 h 510"/>
                  <a:gd name="T104" fmla="*/ 2147483647 w 420"/>
                  <a:gd name="T105" fmla="*/ 2147483647 h 510"/>
                  <a:gd name="T106" fmla="*/ 2147483647 w 420"/>
                  <a:gd name="T107" fmla="*/ 2147483647 h 510"/>
                  <a:gd name="T108" fmla="*/ 2147483647 w 420"/>
                  <a:gd name="T109" fmla="*/ 2147483647 h 510"/>
                  <a:gd name="T110" fmla="*/ 2147483647 w 420"/>
                  <a:gd name="T111" fmla="*/ 2147483647 h 51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20"/>
                  <a:gd name="T169" fmla="*/ 0 h 510"/>
                  <a:gd name="T170" fmla="*/ 420 w 420"/>
                  <a:gd name="T171" fmla="*/ 510 h 51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20" h="510">
                    <a:moveTo>
                      <a:pt x="420" y="240"/>
                    </a:moveTo>
                    <a:lnTo>
                      <a:pt x="414" y="234"/>
                    </a:lnTo>
                    <a:lnTo>
                      <a:pt x="396" y="234"/>
                    </a:lnTo>
                    <a:lnTo>
                      <a:pt x="390" y="216"/>
                    </a:lnTo>
                    <a:lnTo>
                      <a:pt x="372" y="210"/>
                    </a:lnTo>
                    <a:lnTo>
                      <a:pt x="372" y="174"/>
                    </a:lnTo>
                    <a:lnTo>
                      <a:pt x="384" y="150"/>
                    </a:lnTo>
                    <a:lnTo>
                      <a:pt x="396" y="150"/>
                    </a:lnTo>
                    <a:lnTo>
                      <a:pt x="402" y="144"/>
                    </a:lnTo>
                    <a:lnTo>
                      <a:pt x="408" y="132"/>
                    </a:lnTo>
                    <a:lnTo>
                      <a:pt x="414" y="126"/>
                    </a:lnTo>
                    <a:lnTo>
                      <a:pt x="414" y="114"/>
                    </a:lnTo>
                    <a:lnTo>
                      <a:pt x="402" y="108"/>
                    </a:lnTo>
                    <a:lnTo>
                      <a:pt x="402" y="90"/>
                    </a:lnTo>
                    <a:lnTo>
                      <a:pt x="396" y="84"/>
                    </a:lnTo>
                    <a:lnTo>
                      <a:pt x="396" y="78"/>
                    </a:lnTo>
                    <a:lnTo>
                      <a:pt x="384" y="78"/>
                    </a:lnTo>
                    <a:lnTo>
                      <a:pt x="378" y="72"/>
                    </a:lnTo>
                    <a:lnTo>
                      <a:pt x="360" y="72"/>
                    </a:lnTo>
                    <a:lnTo>
                      <a:pt x="360" y="90"/>
                    </a:lnTo>
                    <a:lnTo>
                      <a:pt x="354" y="96"/>
                    </a:lnTo>
                    <a:lnTo>
                      <a:pt x="330" y="96"/>
                    </a:lnTo>
                    <a:lnTo>
                      <a:pt x="324" y="90"/>
                    </a:lnTo>
                    <a:lnTo>
                      <a:pt x="318" y="54"/>
                    </a:lnTo>
                    <a:lnTo>
                      <a:pt x="336" y="24"/>
                    </a:lnTo>
                    <a:lnTo>
                      <a:pt x="336" y="6"/>
                    </a:lnTo>
                    <a:lnTo>
                      <a:pt x="288" y="12"/>
                    </a:lnTo>
                    <a:lnTo>
                      <a:pt x="282" y="12"/>
                    </a:lnTo>
                    <a:lnTo>
                      <a:pt x="270" y="6"/>
                    </a:lnTo>
                    <a:lnTo>
                      <a:pt x="264" y="6"/>
                    </a:lnTo>
                    <a:lnTo>
                      <a:pt x="252" y="18"/>
                    </a:lnTo>
                    <a:lnTo>
                      <a:pt x="222" y="18"/>
                    </a:lnTo>
                    <a:lnTo>
                      <a:pt x="210" y="0"/>
                    </a:lnTo>
                    <a:lnTo>
                      <a:pt x="192" y="18"/>
                    </a:lnTo>
                    <a:lnTo>
                      <a:pt x="186" y="54"/>
                    </a:lnTo>
                    <a:lnTo>
                      <a:pt x="192" y="60"/>
                    </a:lnTo>
                    <a:lnTo>
                      <a:pt x="192" y="90"/>
                    </a:lnTo>
                    <a:lnTo>
                      <a:pt x="186" y="108"/>
                    </a:lnTo>
                    <a:lnTo>
                      <a:pt x="186" y="114"/>
                    </a:lnTo>
                    <a:lnTo>
                      <a:pt x="84" y="114"/>
                    </a:lnTo>
                    <a:lnTo>
                      <a:pt x="84" y="108"/>
                    </a:lnTo>
                    <a:lnTo>
                      <a:pt x="72" y="108"/>
                    </a:lnTo>
                    <a:lnTo>
                      <a:pt x="60" y="120"/>
                    </a:lnTo>
                    <a:lnTo>
                      <a:pt x="60" y="126"/>
                    </a:lnTo>
                    <a:lnTo>
                      <a:pt x="66" y="132"/>
                    </a:lnTo>
                    <a:lnTo>
                      <a:pt x="66" y="144"/>
                    </a:lnTo>
                    <a:lnTo>
                      <a:pt x="72" y="150"/>
                    </a:lnTo>
                    <a:lnTo>
                      <a:pt x="72" y="162"/>
                    </a:lnTo>
                    <a:lnTo>
                      <a:pt x="48" y="162"/>
                    </a:lnTo>
                    <a:lnTo>
                      <a:pt x="48" y="210"/>
                    </a:lnTo>
                    <a:lnTo>
                      <a:pt x="42" y="228"/>
                    </a:lnTo>
                    <a:lnTo>
                      <a:pt x="36" y="240"/>
                    </a:lnTo>
                    <a:lnTo>
                      <a:pt x="30" y="246"/>
                    </a:lnTo>
                    <a:lnTo>
                      <a:pt x="18" y="252"/>
                    </a:lnTo>
                    <a:lnTo>
                      <a:pt x="0" y="252"/>
                    </a:lnTo>
                    <a:lnTo>
                      <a:pt x="30" y="306"/>
                    </a:lnTo>
                    <a:lnTo>
                      <a:pt x="42" y="294"/>
                    </a:lnTo>
                    <a:lnTo>
                      <a:pt x="54" y="312"/>
                    </a:lnTo>
                    <a:lnTo>
                      <a:pt x="48" y="318"/>
                    </a:lnTo>
                    <a:lnTo>
                      <a:pt x="48" y="330"/>
                    </a:lnTo>
                    <a:lnTo>
                      <a:pt x="42" y="336"/>
                    </a:lnTo>
                    <a:lnTo>
                      <a:pt x="42" y="342"/>
                    </a:lnTo>
                    <a:lnTo>
                      <a:pt x="48" y="348"/>
                    </a:lnTo>
                    <a:lnTo>
                      <a:pt x="66" y="348"/>
                    </a:lnTo>
                    <a:lnTo>
                      <a:pt x="72" y="390"/>
                    </a:lnTo>
                    <a:lnTo>
                      <a:pt x="102" y="396"/>
                    </a:lnTo>
                    <a:lnTo>
                      <a:pt x="96" y="408"/>
                    </a:lnTo>
                    <a:lnTo>
                      <a:pt x="144" y="462"/>
                    </a:lnTo>
                    <a:lnTo>
                      <a:pt x="138" y="468"/>
                    </a:lnTo>
                    <a:lnTo>
                      <a:pt x="174" y="510"/>
                    </a:lnTo>
                    <a:lnTo>
                      <a:pt x="180" y="492"/>
                    </a:lnTo>
                    <a:lnTo>
                      <a:pt x="204" y="480"/>
                    </a:lnTo>
                    <a:lnTo>
                      <a:pt x="222" y="498"/>
                    </a:lnTo>
                    <a:lnTo>
                      <a:pt x="228" y="492"/>
                    </a:lnTo>
                    <a:lnTo>
                      <a:pt x="228" y="456"/>
                    </a:lnTo>
                    <a:lnTo>
                      <a:pt x="210" y="444"/>
                    </a:lnTo>
                    <a:lnTo>
                      <a:pt x="228" y="432"/>
                    </a:lnTo>
                    <a:lnTo>
                      <a:pt x="198" y="414"/>
                    </a:lnTo>
                    <a:lnTo>
                      <a:pt x="210" y="414"/>
                    </a:lnTo>
                    <a:lnTo>
                      <a:pt x="210" y="402"/>
                    </a:lnTo>
                    <a:lnTo>
                      <a:pt x="204" y="396"/>
                    </a:lnTo>
                    <a:lnTo>
                      <a:pt x="204" y="378"/>
                    </a:lnTo>
                    <a:lnTo>
                      <a:pt x="210" y="378"/>
                    </a:lnTo>
                    <a:lnTo>
                      <a:pt x="216" y="384"/>
                    </a:lnTo>
                    <a:lnTo>
                      <a:pt x="228" y="384"/>
                    </a:lnTo>
                    <a:lnTo>
                      <a:pt x="240" y="390"/>
                    </a:lnTo>
                    <a:lnTo>
                      <a:pt x="258" y="390"/>
                    </a:lnTo>
                    <a:lnTo>
                      <a:pt x="264" y="384"/>
                    </a:lnTo>
                    <a:lnTo>
                      <a:pt x="270" y="372"/>
                    </a:lnTo>
                    <a:lnTo>
                      <a:pt x="282" y="366"/>
                    </a:lnTo>
                    <a:lnTo>
                      <a:pt x="264" y="348"/>
                    </a:lnTo>
                    <a:lnTo>
                      <a:pt x="264" y="342"/>
                    </a:lnTo>
                    <a:lnTo>
                      <a:pt x="294" y="342"/>
                    </a:lnTo>
                    <a:lnTo>
                      <a:pt x="312" y="384"/>
                    </a:lnTo>
                    <a:lnTo>
                      <a:pt x="342" y="384"/>
                    </a:lnTo>
                    <a:lnTo>
                      <a:pt x="348" y="378"/>
                    </a:lnTo>
                    <a:lnTo>
                      <a:pt x="354" y="366"/>
                    </a:lnTo>
                    <a:lnTo>
                      <a:pt x="360" y="360"/>
                    </a:lnTo>
                    <a:lnTo>
                      <a:pt x="366" y="360"/>
                    </a:lnTo>
                    <a:lnTo>
                      <a:pt x="366" y="390"/>
                    </a:lnTo>
                    <a:lnTo>
                      <a:pt x="372" y="396"/>
                    </a:lnTo>
                    <a:lnTo>
                      <a:pt x="384" y="396"/>
                    </a:lnTo>
                    <a:lnTo>
                      <a:pt x="390" y="390"/>
                    </a:lnTo>
                    <a:lnTo>
                      <a:pt x="396" y="378"/>
                    </a:lnTo>
                    <a:lnTo>
                      <a:pt x="396" y="354"/>
                    </a:lnTo>
                    <a:lnTo>
                      <a:pt x="408" y="348"/>
                    </a:lnTo>
                    <a:lnTo>
                      <a:pt x="414" y="342"/>
                    </a:lnTo>
                    <a:lnTo>
                      <a:pt x="408" y="318"/>
                    </a:lnTo>
                    <a:lnTo>
                      <a:pt x="414" y="306"/>
                    </a:lnTo>
                    <a:lnTo>
                      <a:pt x="414" y="258"/>
                    </a:lnTo>
                    <a:lnTo>
                      <a:pt x="420" y="252"/>
                    </a:lnTo>
                    <a:lnTo>
                      <a:pt x="420" y="24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49" name="Ethiop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B3AE8A0-5542-4FE6-94A3-C70EEC4EB9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89012" y="3982672"/>
                <a:ext cx="468243" cy="414511"/>
              </a:xfrm>
              <a:custGeom>
                <a:avLst/>
                <a:gdLst>
                  <a:gd name="T0" fmla="*/ 2147483647 w 1056"/>
                  <a:gd name="T1" fmla="*/ 2147483647 h 924"/>
                  <a:gd name="T2" fmla="*/ 2147483647 w 1056"/>
                  <a:gd name="T3" fmla="*/ 2147483647 h 924"/>
                  <a:gd name="T4" fmla="*/ 2147483647 w 1056"/>
                  <a:gd name="T5" fmla="*/ 2147483647 h 924"/>
                  <a:gd name="T6" fmla="*/ 2147483647 w 1056"/>
                  <a:gd name="T7" fmla="*/ 2147483647 h 924"/>
                  <a:gd name="T8" fmla="*/ 2147483647 w 1056"/>
                  <a:gd name="T9" fmla="*/ 2147483647 h 924"/>
                  <a:gd name="T10" fmla="*/ 2147483647 w 1056"/>
                  <a:gd name="T11" fmla="*/ 2147483647 h 924"/>
                  <a:gd name="T12" fmla="*/ 2147483647 w 1056"/>
                  <a:gd name="T13" fmla="*/ 2147483647 h 924"/>
                  <a:gd name="T14" fmla="*/ 2147483647 w 1056"/>
                  <a:gd name="T15" fmla="*/ 2147483647 h 924"/>
                  <a:gd name="T16" fmla="*/ 2147483647 w 1056"/>
                  <a:gd name="T17" fmla="*/ 2147483647 h 924"/>
                  <a:gd name="T18" fmla="*/ 2147483647 w 1056"/>
                  <a:gd name="T19" fmla="*/ 2147483647 h 924"/>
                  <a:gd name="T20" fmla="*/ 2147483647 w 1056"/>
                  <a:gd name="T21" fmla="*/ 2147483647 h 924"/>
                  <a:gd name="T22" fmla="*/ 2147483647 w 1056"/>
                  <a:gd name="T23" fmla="*/ 2147483647 h 924"/>
                  <a:gd name="T24" fmla="*/ 2147483647 w 1056"/>
                  <a:gd name="T25" fmla="*/ 2147483647 h 924"/>
                  <a:gd name="T26" fmla="*/ 2147483647 w 1056"/>
                  <a:gd name="T27" fmla="*/ 2147483647 h 924"/>
                  <a:gd name="T28" fmla="*/ 2147483647 w 1056"/>
                  <a:gd name="T29" fmla="*/ 2147483647 h 924"/>
                  <a:gd name="T30" fmla="*/ 2147483647 w 1056"/>
                  <a:gd name="T31" fmla="*/ 2147483647 h 924"/>
                  <a:gd name="T32" fmla="*/ 2147483647 w 1056"/>
                  <a:gd name="T33" fmla="*/ 2147483647 h 924"/>
                  <a:gd name="T34" fmla="*/ 2147483647 w 1056"/>
                  <a:gd name="T35" fmla="*/ 2147483647 h 924"/>
                  <a:gd name="T36" fmla="*/ 2147483647 w 1056"/>
                  <a:gd name="T37" fmla="*/ 2147483647 h 924"/>
                  <a:gd name="T38" fmla="*/ 2147483647 w 1056"/>
                  <a:gd name="T39" fmla="*/ 2147483647 h 924"/>
                  <a:gd name="T40" fmla="*/ 2147483647 w 1056"/>
                  <a:gd name="T41" fmla="*/ 2147483647 h 924"/>
                  <a:gd name="T42" fmla="*/ 2147483647 w 1056"/>
                  <a:gd name="T43" fmla="*/ 2147483647 h 924"/>
                  <a:gd name="T44" fmla="*/ 2147483647 w 1056"/>
                  <a:gd name="T45" fmla="*/ 2147483647 h 924"/>
                  <a:gd name="T46" fmla="*/ 2147483647 w 1056"/>
                  <a:gd name="T47" fmla="*/ 2147483647 h 924"/>
                  <a:gd name="T48" fmla="*/ 2147483647 w 1056"/>
                  <a:gd name="T49" fmla="*/ 2147483647 h 924"/>
                  <a:gd name="T50" fmla="*/ 2147483647 w 1056"/>
                  <a:gd name="T51" fmla="*/ 2147483647 h 924"/>
                  <a:gd name="T52" fmla="*/ 2147483647 w 1056"/>
                  <a:gd name="T53" fmla="*/ 2147483647 h 924"/>
                  <a:gd name="T54" fmla="*/ 2147483647 w 1056"/>
                  <a:gd name="T55" fmla="*/ 2147483647 h 924"/>
                  <a:gd name="T56" fmla="*/ 2147483647 w 1056"/>
                  <a:gd name="T57" fmla="*/ 2147483647 h 924"/>
                  <a:gd name="T58" fmla="*/ 2147483647 w 1056"/>
                  <a:gd name="T59" fmla="*/ 2147483647 h 924"/>
                  <a:gd name="T60" fmla="*/ 2147483647 w 1056"/>
                  <a:gd name="T61" fmla="*/ 2147483647 h 924"/>
                  <a:gd name="T62" fmla="*/ 2147483647 w 1056"/>
                  <a:gd name="T63" fmla="*/ 2147483647 h 924"/>
                  <a:gd name="T64" fmla="*/ 2147483647 w 1056"/>
                  <a:gd name="T65" fmla="*/ 2147483647 h 924"/>
                  <a:gd name="T66" fmla="*/ 2147483647 w 1056"/>
                  <a:gd name="T67" fmla="*/ 2147483647 h 924"/>
                  <a:gd name="T68" fmla="*/ 2147483647 w 1056"/>
                  <a:gd name="T69" fmla="*/ 2147483647 h 924"/>
                  <a:gd name="T70" fmla="*/ 2147483647 w 1056"/>
                  <a:gd name="T71" fmla="*/ 2147483647 h 924"/>
                  <a:gd name="T72" fmla="*/ 2147483647 w 1056"/>
                  <a:gd name="T73" fmla="*/ 0 h 924"/>
                  <a:gd name="T74" fmla="*/ 2147483647 w 1056"/>
                  <a:gd name="T75" fmla="*/ 2147483647 h 924"/>
                  <a:gd name="T76" fmla="*/ 2147483647 w 1056"/>
                  <a:gd name="T77" fmla="*/ 2147483647 h 924"/>
                  <a:gd name="T78" fmla="*/ 2147483647 w 1056"/>
                  <a:gd name="T79" fmla="*/ 2147483647 h 924"/>
                  <a:gd name="T80" fmla="*/ 2147483647 w 1056"/>
                  <a:gd name="T81" fmla="*/ 2147483647 h 924"/>
                  <a:gd name="T82" fmla="*/ 2147483647 w 1056"/>
                  <a:gd name="T83" fmla="*/ 2147483647 h 924"/>
                  <a:gd name="T84" fmla="*/ 2147483647 w 1056"/>
                  <a:gd name="T85" fmla="*/ 2147483647 h 924"/>
                  <a:gd name="T86" fmla="*/ 2147483647 w 1056"/>
                  <a:gd name="T87" fmla="*/ 2147483647 h 924"/>
                  <a:gd name="T88" fmla="*/ 2147483647 w 1056"/>
                  <a:gd name="T89" fmla="*/ 2147483647 h 924"/>
                  <a:gd name="T90" fmla="*/ 2147483647 w 1056"/>
                  <a:gd name="T91" fmla="*/ 2147483647 h 924"/>
                  <a:gd name="T92" fmla="*/ 2147483647 w 1056"/>
                  <a:gd name="T93" fmla="*/ 2147483647 h 924"/>
                  <a:gd name="T94" fmla="*/ 2147483647 w 1056"/>
                  <a:gd name="T95" fmla="*/ 2147483647 h 924"/>
                  <a:gd name="T96" fmla="*/ 2147483647 w 1056"/>
                  <a:gd name="T97" fmla="*/ 2147483647 h 924"/>
                  <a:gd name="T98" fmla="*/ 2147483647 w 1056"/>
                  <a:gd name="T99" fmla="*/ 2147483647 h 924"/>
                  <a:gd name="T100" fmla="*/ 2147483647 w 1056"/>
                  <a:gd name="T101" fmla="*/ 2147483647 h 924"/>
                  <a:gd name="T102" fmla="*/ 2147483647 w 1056"/>
                  <a:gd name="T103" fmla="*/ 2147483647 h 924"/>
                  <a:gd name="T104" fmla="*/ 2147483647 w 1056"/>
                  <a:gd name="T105" fmla="*/ 2147483647 h 924"/>
                  <a:gd name="T106" fmla="*/ 2147483647 w 1056"/>
                  <a:gd name="T107" fmla="*/ 2147483647 h 924"/>
                  <a:gd name="T108" fmla="*/ 2147483647 w 1056"/>
                  <a:gd name="T109" fmla="*/ 2147483647 h 924"/>
                  <a:gd name="T110" fmla="*/ 2147483647 w 1056"/>
                  <a:gd name="T111" fmla="*/ 2147483647 h 924"/>
                  <a:gd name="T112" fmla="*/ 2147483647 w 1056"/>
                  <a:gd name="T113" fmla="*/ 2147483647 h 924"/>
                  <a:gd name="T114" fmla="*/ 2147483647 w 1056"/>
                  <a:gd name="T115" fmla="*/ 2147483647 h 924"/>
                  <a:gd name="T116" fmla="*/ 2147483647 w 1056"/>
                  <a:gd name="T117" fmla="*/ 2147483647 h 9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056"/>
                  <a:gd name="T178" fmla="*/ 0 h 924"/>
                  <a:gd name="T179" fmla="*/ 1056 w 1056"/>
                  <a:gd name="T180" fmla="*/ 924 h 9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056" h="924">
                    <a:moveTo>
                      <a:pt x="84" y="642"/>
                    </a:moveTo>
                    <a:lnTo>
                      <a:pt x="108" y="642"/>
                    </a:lnTo>
                    <a:lnTo>
                      <a:pt x="114" y="666"/>
                    </a:lnTo>
                    <a:lnTo>
                      <a:pt x="126" y="666"/>
                    </a:lnTo>
                    <a:lnTo>
                      <a:pt x="126" y="702"/>
                    </a:lnTo>
                    <a:lnTo>
                      <a:pt x="138" y="708"/>
                    </a:lnTo>
                    <a:lnTo>
                      <a:pt x="138" y="726"/>
                    </a:lnTo>
                    <a:lnTo>
                      <a:pt x="156" y="762"/>
                    </a:lnTo>
                    <a:lnTo>
                      <a:pt x="168" y="768"/>
                    </a:lnTo>
                    <a:lnTo>
                      <a:pt x="186" y="768"/>
                    </a:lnTo>
                    <a:lnTo>
                      <a:pt x="192" y="774"/>
                    </a:lnTo>
                    <a:lnTo>
                      <a:pt x="198" y="786"/>
                    </a:lnTo>
                    <a:lnTo>
                      <a:pt x="198" y="804"/>
                    </a:lnTo>
                    <a:lnTo>
                      <a:pt x="210" y="840"/>
                    </a:lnTo>
                    <a:lnTo>
                      <a:pt x="282" y="846"/>
                    </a:lnTo>
                    <a:lnTo>
                      <a:pt x="360" y="906"/>
                    </a:lnTo>
                    <a:lnTo>
                      <a:pt x="390" y="906"/>
                    </a:lnTo>
                    <a:lnTo>
                      <a:pt x="402" y="912"/>
                    </a:lnTo>
                    <a:lnTo>
                      <a:pt x="432" y="912"/>
                    </a:lnTo>
                    <a:lnTo>
                      <a:pt x="444" y="918"/>
                    </a:lnTo>
                    <a:lnTo>
                      <a:pt x="450" y="918"/>
                    </a:lnTo>
                    <a:lnTo>
                      <a:pt x="462" y="924"/>
                    </a:lnTo>
                    <a:lnTo>
                      <a:pt x="486" y="906"/>
                    </a:lnTo>
                    <a:lnTo>
                      <a:pt x="486" y="894"/>
                    </a:lnTo>
                    <a:lnTo>
                      <a:pt x="498" y="882"/>
                    </a:lnTo>
                    <a:lnTo>
                      <a:pt x="510" y="882"/>
                    </a:lnTo>
                    <a:lnTo>
                      <a:pt x="522" y="876"/>
                    </a:lnTo>
                    <a:lnTo>
                      <a:pt x="528" y="870"/>
                    </a:lnTo>
                    <a:lnTo>
                      <a:pt x="534" y="870"/>
                    </a:lnTo>
                    <a:lnTo>
                      <a:pt x="552" y="852"/>
                    </a:lnTo>
                    <a:lnTo>
                      <a:pt x="576" y="882"/>
                    </a:lnTo>
                    <a:lnTo>
                      <a:pt x="606" y="882"/>
                    </a:lnTo>
                    <a:lnTo>
                      <a:pt x="612" y="876"/>
                    </a:lnTo>
                    <a:lnTo>
                      <a:pt x="636" y="882"/>
                    </a:lnTo>
                    <a:lnTo>
                      <a:pt x="636" y="876"/>
                    </a:lnTo>
                    <a:lnTo>
                      <a:pt x="648" y="864"/>
                    </a:lnTo>
                    <a:lnTo>
                      <a:pt x="660" y="864"/>
                    </a:lnTo>
                    <a:lnTo>
                      <a:pt x="672" y="858"/>
                    </a:lnTo>
                    <a:lnTo>
                      <a:pt x="696" y="858"/>
                    </a:lnTo>
                    <a:lnTo>
                      <a:pt x="714" y="840"/>
                    </a:lnTo>
                    <a:lnTo>
                      <a:pt x="714" y="828"/>
                    </a:lnTo>
                    <a:lnTo>
                      <a:pt x="726" y="822"/>
                    </a:lnTo>
                    <a:lnTo>
                      <a:pt x="732" y="816"/>
                    </a:lnTo>
                    <a:lnTo>
                      <a:pt x="744" y="810"/>
                    </a:lnTo>
                    <a:lnTo>
                      <a:pt x="756" y="810"/>
                    </a:lnTo>
                    <a:lnTo>
                      <a:pt x="762" y="804"/>
                    </a:lnTo>
                    <a:lnTo>
                      <a:pt x="846" y="804"/>
                    </a:lnTo>
                    <a:lnTo>
                      <a:pt x="1056" y="558"/>
                    </a:lnTo>
                    <a:lnTo>
                      <a:pt x="984" y="564"/>
                    </a:lnTo>
                    <a:lnTo>
                      <a:pt x="948" y="546"/>
                    </a:lnTo>
                    <a:lnTo>
                      <a:pt x="936" y="534"/>
                    </a:lnTo>
                    <a:lnTo>
                      <a:pt x="918" y="528"/>
                    </a:lnTo>
                    <a:lnTo>
                      <a:pt x="906" y="522"/>
                    </a:lnTo>
                    <a:lnTo>
                      <a:pt x="882" y="516"/>
                    </a:lnTo>
                    <a:lnTo>
                      <a:pt x="810" y="492"/>
                    </a:lnTo>
                    <a:lnTo>
                      <a:pt x="774" y="474"/>
                    </a:lnTo>
                    <a:lnTo>
                      <a:pt x="768" y="462"/>
                    </a:lnTo>
                    <a:lnTo>
                      <a:pt x="762" y="456"/>
                    </a:lnTo>
                    <a:lnTo>
                      <a:pt x="756" y="444"/>
                    </a:lnTo>
                    <a:lnTo>
                      <a:pt x="732" y="444"/>
                    </a:lnTo>
                    <a:lnTo>
                      <a:pt x="732" y="438"/>
                    </a:lnTo>
                    <a:lnTo>
                      <a:pt x="726" y="432"/>
                    </a:lnTo>
                    <a:lnTo>
                      <a:pt x="714" y="408"/>
                    </a:lnTo>
                    <a:lnTo>
                      <a:pt x="708" y="402"/>
                    </a:lnTo>
                    <a:lnTo>
                      <a:pt x="702" y="390"/>
                    </a:lnTo>
                    <a:lnTo>
                      <a:pt x="696" y="384"/>
                    </a:lnTo>
                    <a:lnTo>
                      <a:pt x="690" y="372"/>
                    </a:lnTo>
                    <a:lnTo>
                      <a:pt x="690" y="360"/>
                    </a:lnTo>
                    <a:lnTo>
                      <a:pt x="678" y="348"/>
                    </a:lnTo>
                    <a:lnTo>
                      <a:pt x="696" y="318"/>
                    </a:lnTo>
                    <a:lnTo>
                      <a:pt x="690" y="312"/>
                    </a:lnTo>
                    <a:lnTo>
                      <a:pt x="678" y="306"/>
                    </a:lnTo>
                    <a:lnTo>
                      <a:pt x="666" y="306"/>
                    </a:lnTo>
                    <a:lnTo>
                      <a:pt x="660" y="312"/>
                    </a:lnTo>
                    <a:lnTo>
                      <a:pt x="654" y="312"/>
                    </a:lnTo>
                    <a:lnTo>
                      <a:pt x="648" y="318"/>
                    </a:lnTo>
                    <a:lnTo>
                      <a:pt x="624" y="318"/>
                    </a:lnTo>
                    <a:lnTo>
                      <a:pt x="612" y="306"/>
                    </a:lnTo>
                    <a:lnTo>
                      <a:pt x="612" y="294"/>
                    </a:lnTo>
                    <a:lnTo>
                      <a:pt x="606" y="276"/>
                    </a:lnTo>
                    <a:lnTo>
                      <a:pt x="606" y="264"/>
                    </a:lnTo>
                    <a:lnTo>
                      <a:pt x="624" y="246"/>
                    </a:lnTo>
                    <a:lnTo>
                      <a:pt x="654" y="192"/>
                    </a:lnTo>
                    <a:lnTo>
                      <a:pt x="642" y="174"/>
                    </a:lnTo>
                    <a:lnTo>
                      <a:pt x="630" y="174"/>
                    </a:lnTo>
                    <a:lnTo>
                      <a:pt x="618" y="168"/>
                    </a:lnTo>
                    <a:lnTo>
                      <a:pt x="612" y="162"/>
                    </a:lnTo>
                    <a:lnTo>
                      <a:pt x="612" y="138"/>
                    </a:lnTo>
                    <a:lnTo>
                      <a:pt x="600" y="126"/>
                    </a:lnTo>
                    <a:lnTo>
                      <a:pt x="576" y="114"/>
                    </a:lnTo>
                    <a:lnTo>
                      <a:pt x="570" y="108"/>
                    </a:lnTo>
                    <a:lnTo>
                      <a:pt x="546" y="72"/>
                    </a:lnTo>
                    <a:lnTo>
                      <a:pt x="534" y="66"/>
                    </a:lnTo>
                    <a:lnTo>
                      <a:pt x="528" y="60"/>
                    </a:lnTo>
                    <a:lnTo>
                      <a:pt x="516" y="60"/>
                    </a:lnTo>
                    <a:lnTo>
                      <a:pt x="498" y="36"/>
                    </a:lnTo>
                    <a:lnTo>
                      <a:pt x="468" y="36"/>
                    </a:lnTo>
                    <a:lnTo>
                      <a:pt x="462" y="30"/>
                    </a:lnTo>
                    <a:lnTo>
                      <a:pt x="444" y="30"/>
                    </a:lnTo>
                    <a:lnTo>
                      <a:pt x="432" y="36"/>
                    </a:lnTo>
                    <a:lnTo>
                      <a:pt x="420" y="36"/>
                    </a:lnTo>
                    <a:lnTo>
                      <a:pt x="420" y="24"/>
                    </a:lnTo>
                    <a:lnTo>
                      <a:pt x="414" y="18"/>
                    </a:lnTo>
                    <a:lnTo>
                      <a:pt x="408" y="24"/>
                    </a:lnTo>
                    <a:lnTo>
                      <a:pt x="402" y="36"/>
                    </a:lnTo>
                    <a:lnTo>
                      <a:pt x="372" y="36"/>
                    </a:lnTo>
                    <a:lnTo>
                      <a:pt x="366" y="24"/>
                    </a:lnTo>
                    <a:lnTo>
                      <a:pt x="360" y="18"/>
                    </a:lnTo>
                    <a:lnTo>
                      <a:pt x="354" y="18"/>
                    </a:lnTo>
                    <a:lnTo>
                      <a:pt x="342" y="6"/>
                    </a:lnTo>
                    <a:lnTo>
                      <a:pt x="330" y="0"/>
                    </a:lnTo>
                    <a:lnTo>
                      <a:pt x="330" y="12"/>
                    </a:lnTo>
                    <a:lnTo>
                      <a:pt x="324" y="24"/>
                    </a:lnTo>
                    <a:lnTo>
                      <a:pt x="318" y="42"/>
                    </a:lnTo>
                    <a:lnTo>
                      <a:pt x="318" y="54"/>
                    </a:lnTo>
                    <a:lnTo>
                      <a:pt x="306" y="66"/>
                    </a:lnTo>
                    <a:lnTo>
                      <a:pt x="288" y="48"/>
                    </a:lnTo>
                    <a:lnTo>
                      <a:pt x="288" y="42"/>
                    </a:lnTo>
                    <a:lnTo>
                      <a:pt x="282" y="36"/>
                    </a:lnTo>
                    <a:lnTo>
                      <a:pt x="276" y="36"/>
                    </a:lnTo>
                    <a:lnTo>
                      <a:pt x="276" y="42"/>
                    </a:lnTo>
                    <a:lnTo>
                      <a:pt x="270" y="48"/>
                    </a:lnTo>
                    <a:lnTo>
                      <a:pt x="234" y="48"/>
                    </a:lnTo>
                    <a:lnTo>
                      <a:pt x="234" y="90"/>
                    </a:lnTo>
                    <a:lnTo>
                      <a:pt x="228" y="96"/>
                    </a:lnTo>
                    <a:lnTo>
                      <a:pt x="222" y="108"/>
                    </a:lnTo>
                    <a:lnTo>
                      <a:pt x="216" y="114"/>
                    </a:lnTo>
                    <a:lnTo>
                      <a:pt x="210" y="126"/>
                    </a:lnTo>
                    <a:lnTo>
                      <a:pt x="210" y="174"/>
                    </a:lnTo>
                    <a:lnTo>
                      <a:pt x="180" y="174"/>
                    </a:lnTo>
                    <a:lnTo>
                      <a:pt x="174" y="180"/>
                    </a:lnTo>
                    <a:lnTo>
                      <a:pt x="168" y="192"/>
                    </a:lnTo>
                    <a:lnTo>
                      <a:pt x="162" y="198"/>
                    </a:lnTo>
                    <a:lnTo>
                      <a:pt x="162" y="234"/>
                    </a:lnTo>
                    <a:lnTo>
                      <a:pt x="156" y="240"/>
                    </a:lnTo>
                    <a:lnTo>
                      <a:pt x="144" y="240"/>
                    </a:lnTo>
                    <a:lnTo>
                      <a:pt x="138" y="246"/>
                    </a:lnTo>
                    <a:lnTo>
                      <a:pt x="138" y="270"/>
                    </a:lnTo>
                    <a:lnTo>
                      <a:pt x="126" y="288"/>
                    </a:lnTo>
                    <a:lnTo>
                      <a:pt x="126" y="294"/>
                    </a:lnTo>
                    <a:lnTo>
                      <a:pt x="132" y="300"/>
                    </a:lnTo>
                    <a:lnTo>
                      <a:pt x="132" y="336"/>
                    </a:lnTo>
                    <a:lnTo>
                      <a:pt x="126" y="342"/>
                    </a:lnTo>
                    <a:lnTo>
                      <a:pt x="114" y="342"/>
                    </a:lnTo>
                    <a:lnTo>
                      <a:pt x="108" y="336"/>
                    </a:lnTo>
                    <a:lnTo>
                      <a:pt x="108" y="324"/>
                    </a:lnTo>
                    <a:lnTo>
                      <a:pt x="102" y="324"/>
                    </a:lnTo>
                    <a:lnTo>
                      <a:pt x="84" y="342"/>
                    </a:lnTo>
                    <a:lnTo>
                      <a:pt x="84" y="360"/>
                    </a:lnTo>
                    <a:lnTo>
                      <a:pt x="90" y="372"/>
                    </a:lnTo>
                    <a:lnTo>
                      <a:pt x="90" y="390"/>
                    </a:lnTo>
                    <a:lnTo>
                      <a:pt x="84" y="396"/>
                    </a:lnTo>
                    <a:lnTo>
                      <a:pt x="72" y="402"/>
                    </a:lnTo>
                    <a:lnTo>
                      <a:pt x="66" y="414"/>
                    </a:lnTo>
                    <a:lnTo>
                      <a:pt x="66" y="426"/>
                    </a:lnTo>
                    <a:lnTo>
                      <a:pt x="72" y="438"/>
                    </a:lnTo>
                    <a:lnTo>
                      <a:pt x="72" y="450"/>
                    </a:lnTo>
                    <a:lnTo>
                      <a:pt x="78" y="456"/>
                    </a:lnTo>
                    <a:lnTo>
                      <a:pt x="78" y="492"/>
                    </a:lnTo>
                    <a:lnTo>
                      <a:pt x="72" y="504"/>
                    </a:lnTo>
                    <a:lnTo>
                      <a:pt x="72" y="516"/>
                    </a:lnTo>
                    <a:lnTo>
                      <a:pt x="66" y="522"/>
                    </a:lnTo>
                    <a:lnTo>
                      <a:pt x="54" y="522"/>
                    </a:lnTo>
                    <a:lnTo>
                      <a:pt x="48" y="528"/>
                    </a:lnTo>
                    <a:lnTo>
                      <a:pt x="42" y="522"/>
                    </a:lnTo>
                    <a:lnTo>
                      <a:pt x="6" y="522"/>
                    </a:lnTo>
                    <a:lnTo>
                      <a:pt x="12" y="546"/>
                    </a:lnTo>
                    <a:lnTo>
                      <a:pt x="6" y="552"/>
                    </a:lnTo>
                    <a:lnTo>
                      <a:pt x="0" y="564"/>
                    </a:lnTo>
                    <a:lnTo>
                      <a:pt x="0" y="576"/>
                    </a:lnTo>
                    <a:lnTo>
                      <a:pt x="6" y="576"/>
                    </a:lnTo>
                    <a:lnTo>
                      <a:pt x="18" y="582"/>
                    </a:lnTo>
                    <a:lnTo>
                      <a:pt x="42" y="582"/>
                    </a:lnTo>
                    <a:lnTo>
                      <a:pt x="48" y="588"/>
                    </a:lnTo>
                    <a:lnTo>
                      <a:pt x="60" y="594"/>
                    </a:lnTo>
                    <a:lnTo>
                      <a:pt x="66" y="606"/>
                    </a:lnTo>
                    <a:lnTo>
                      <a:pt x="78" y="612"/>
                    </a:lnTo>
                    <a:lnTo>
                      <a:pt x="78" y="630"/>
                    </a:lnTo>
                    <a:lnTo>
                      <a:pt x="84" y="64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0" name="Eritre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8ADD2E8-4079-4EF4-92B6-C5F108415E9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86854" y="3867528"/>
                <a:ext cx="213155" cy="205483"/>
              </a:xfrm>
              <a:custGeom>
                <a:avLst/>
                <a:gdLst>
                  <a:gd name="T0" fmla="*/ 2147483647 w 480"/>
                  <a:gd name="T1" fmla="*/ 2147483647 h 456"/>
                  <a:gd name="T2" fmla="*/ 2147483647 w 480"/>
                  <a:gd name="T3" fmla="*/ 2147483647 h 456"/>
                  <a:gd name="T4" fmla="*/ 2147483647 w 480"/>
                  <a:gd name="T5" fmla="*/ 2147483647 h 456"/>
                  <a:gd name="T6" fmla="*/ 2147483647 w 480"/>
                  <a:gd name="T7" fmla="*/ 2147483647 h 456"/>
                  <a:gd name="T8" fmla="*/ 2147483647 w 480"/>
                  <a:gd name="T9" fmla="*/ 2147483647 h 456"/>
                  <a:gd name="T10" fmla="*/ 2147483647 w 480"/>
                  <a:gd name="T11" fmla="*/ 2147483647 h 456"/>
                  <a:gd name="T12" fmla="*/ 2147483647 w 480"/>
                  <a:gd name="T13" fmla="*/ 2147483647 h 456"/>
                  <a:gd name="T14" fmla="*/ 2147483647 w 480"/>
                  <a:gd name="T15" fmla="*/ 2147483647 h 456"/>
                  <a:gd name="T16" fmla="*/ 0 w 480"/>
                  <a:gd name="T17" fmla="*/ 2147483647 h 456"/>
                  <a:gd name="T18" fmla="*/ 2147483647 w 480"/>
                  <a:gd name="T19" fmla="*/ 2147483647 h 456"/>
                  <a:gd name="T20" fmla="*/ 2147483647 w 480"/>
                  <a:gd name="T21" fmla="*/ 2147483647 h 456"/>
                  <a:gd name="T22" fmla="*/ 2147483647 w 480"/>
                  <a:gd name="T23" fmla="*/ 2147483647 h 456"/>
                  <a:gd name="T24" fmla="*/ 2147483647 w 480"/>
                  <a:gd name="T25" fmla="*/ 2147483647 h 456"/>
                  <a:gd name="T26" fmla="*/ 2147483647 w 480"/>
                  <a:gd name="T27" fmla="*/ 2147483647 h 456"/>
                  <a:gd name="T28" fmla="*/ 2147483647 w 480"/>
                  <a:gd name="T29" fmla="*/ 2147483647 h 456"/>
                  <a:gd name="T30" fmla="*/ 2147483647 w 480"/>
                  <a:gd name="T31" fmla="*/ 2147483647 h 456"/>
                  <a:gd name="T32" fmla="*/ 2147483647 w 480"/>
                  <a:gd name="T33" fmla="*/ 2147483647 h 456"/>
                  <a:gd name="T34" fmla="*/ 2147483647 w 480"/>
                  <a:gd name="T35" fmla="*/ 2147483647 h 456"/>
                  <a:gd name="T36" fmla="*/ 2147483647 w 480"/>
                  <a:gd name="T37" fmla="*/ 2147483647 h 456"/>
                  <a:gd name="T38" fmla="*/ 2147483647 w 480"/>
                  <a:gd name="T39" fmla="*/ 2147483647 h 456"/>
                  <a:gd name="T40" fmla="*/ 2147483647 w 480"/>
                  <a:gd name="T41" fmla="*/ 2147483647 h 456"/>
                  <a:gd name="T42" fmla="*/ 2147483647 w 480"/>
                  <a:gd name="T43" fmla="*/ 2147483647 h 456"/>
                  <a:gd name="T44" fmla="*/ 2147483647 w 480"/>
                  <a:gd name="T45" fmla="*/ 2147483647 h 456"/>
                  <a:gd name="T46" fmla="*/ 2147483647 w 480"/>
                  <a:gd name="T47" fmla="*/ 2147483647 h 456"/>
                  <a:gd name="T48" fmla="*/ 2147483647 w 480"/>
                  <a:gd name="T49" fmla="*/ 2147483647 h 456"/>
                  <a:gd name="T50" fmla="*/ 2147483647 w 480"/>
                  <a:gd name="T51" fmla="*/ 2147483647 h 456"/>
                  <a:gd name="T52" fmla="*/ 2147483647 w 480"/>
                  <a:gd name="T53" fmla="*/ 2147483647 h 456"/>
                  <a:gd name="T54" fmla="*/ 2147483647 w 480"/>
                  <a:gd name="T55" fmla="*/ 2147483647 h 456"/>
                  <a:gd name="T56" fmla="*/ 2147483647 w 480"/>
                  <a:gd name="T57" fmla="*/ 2147483647 h 456"/>
                  <a:gd name="T58" fmla="*/ 2147483647 w 480"/>
                  <a:gd name="T59" fmla="*/ 2147483647 h 456"/>
                  <a:gd name="T60" fmla="*/ 2147483647 w 480"/>
                  <a:gd name="T61" fmla="*/ 2147483647 h 456"/>
                  <a:gd name="T62" fmla="*/ 2147483647 w 480"/>
                  <a:gd name="T63" fmla="*/ 2147483647 h 456"/>
                  <a:gd name="T64" fmla="*/ 2147483647 w 480"/>
                  <a:gd name="T65" fmla="*/ 2147483647 h 456"/>
                  <a:gd name="T66" fmla="*/ 2147483647 w 480"/>
                  <a:gd name="T67" fmla="*/ 2147483647 h 456"/>
                  <a:gd name="T68" fmla="*/ 2147483647 w 480"/>
                  <a:gd name="T69" fmla="*/ 2147483647 h 456"/>
                  <a:gd name="T70" fmla="*/ 2147483647 w 480"/>
                  <a:gd name="T71" fmla="*/ 2147483647 h 456"/>
                  <a:gd name="T72" fmla="*/ 2147483647 w 480"/>
                  <a:gd name="T73" fmla="*/ 2147483647 h 456"/>
                  <a:gd name="T74" fmla="*/ 2147483647 w 480"/>
                  <a:gd name="T75" fmla="*/ 2147483647 h 456"/>
                  <a:gd name="T76" fmla="*/ 2147483647 w 480"/>
                  <a:gd name="T77" fmla="*/ 2147483647 h 456"/>
                  <a:gd name="T78" fmla="*/ 2147483647 w 480"/>
                  <a:gd name="T79" fmla="*/ 2147483647 h 456"/>
                  <a:gd name="T80" fmla="*/ 2147483647 w 480"/>
                  <a:gd name="T81" fmla="*/ 2147483647 h 456"/>
                  <a:gd name="T82" fmla="*/ 2147483647 w 480"/>
                  <a:gd name="T83" fmla="*/ 2147483647 h 456"/>
                  <a:gd name="T84" fmla="*/ 2147483647 w 480"/>
                  <a:gd name="T85" fmla="*/ 2147483647 h 456"/>
                  <a:gd name="T86" fmla="*/ 2147483647 w 480"/>
                  <a:gd name="T87" fmla="*/ 2147483647 h 456"/>
                  <a:gd name="T88" fmla="*/ 2147483647 w 480"/>
                  <a:gd name="T89" fmla="*/ 2147483647 h 456"/>
                  <a:gd name="T90" fmla="*/ 2147483647 w 480"/>
                  <a:gd name="T91" fmla="*/ 2147483647 h 456"/>
                  <a:gd name="T92" fmla="*/ 2147483647 w 480"/>
                  <a:gd name="T93" fmla="*/ 2147483647 h 456"/>
                  <a:gd name="T94" fmla="*/ 2147483647 w 480"/>
                  <a:gd name="T95" fmla="*/ 2147483647 h 456"/>
                  <a:gd name="T96" fmla="*/ 2147483647 w 480"/>
                  <a:gd name="T97" fmla="*/ 0 h 456"/>
                  <a:gd name="T98" fmla="*/ 2147483647 w 480"/>
                  <a:gd name="T99" fmla="*/ 2147483647 h 456"/>
                  <a:gd name="T100" fmla="*/ 2147483647 w 480"/>
                  <a:gd name="T101" fmla="*/ 2147483647 h 456"/>
                  <a:gd name="T102" fmla="*/ 2147483647 w 480"/>
                  <a:gd name="T103" fmla="*/ 2147483647 h 45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80"/>
                  <a:gd name="T157" fmla="*/ 0 h 456"/>
                  <a:gd name="T158" fmla="*/ 480 w 480"/>
                  <a:gd name="T159" fmla="*/ 456 h 45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80" h="456">
                    <a:moveTo>
                      <a:pt x="78" y="54"/>
                    </a:moveTo>
                    <a:lnTo>
                      <a:pt x="78" y="66"/>
                    </a:lnTo>
                    <a:lnTo>
                      <a:pt x="72" y="72"/>
                    </a:lnTo>
                    <a:lnTo>
                      <a:pt x="72" y="78"/>
                    </a:lnTo>
                    <a:lnTo>
                      <a:pt x="66" y="84"/>
                    </a:lnTo>
                    <a:lnTo>
                      <a:pt x="48" y="84"/>
                    </a:lnTo>
                    <a:lnTo>
                      <a:pt x="48" y="102"/>
                    </a:lnTo>
                    <a:lnTo>
                      <a:pt x="42" y="108"/>
                    </a:lnTo>
                    <a:lnTo>
                      <a:pt x="30" y="108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36" y="168"/>
                    </a:lnTo>
                    <a:lnTo>
                      <a:pt x="30" y="180"/>
                    </a:lnTo>
                    <a:lnTo>
                      <a:pt x="24" y="186"/>
                    </a:lnTo>
                    <a:lnTo>
                      <a:pt x="18" y="186"/>
                    </a:lnTo>
                    <a:lnTo>
                      <a:pt x="18" y="222"/>
                    </a:lnTo>
                    <a:lnTo>
                      <a:pt x="12" y="222"/>
                    </a:lnTo>
                    <a:lnTo>
                      <a:pt x="0" y="228"/>
                    </a:lnTo>
                    <a:lnTo>
                      <a:pt x="0" y="246"/>
                    </a:lnTo>
                    <a:lnTo>
                      <a:pt x="6" y="252"/>
                    </a:lnTo>
                    <a:lnTo>
                      <a:pt x="12" y="300"/>
                    </a:lnTo>
                    <a:lnTo>
                      <a:pt x="48" y="300"/>
                    </a:lnTo>
                    <a:lnTo>
                      <a:pt x="54" y="294"/>
                    </a:lnTo>
                    <a:lnTo>
                      <a:pt x="54" y="288"/>
                    </a:lnTo>
                    <a:lnTo>
                      <a:pt x="60" y="288"/>
                    </a:lnTo>
                    <a:lnTo>
                      <a:pt x="66" y="294"/>
                    </a:lnTo>
                    <a:lnTo>
                      <a:pt x="66" y="300"/>
                    </a:lnTo>
                    <a:lnTo>
                      <a:pt x="84" y="318"/>
                    </a:lnTo>
                    <a:lnTo>
                      <a:pt x="96" y="306"/>
                    </a:lnTo>
                    <a:lnTo>
                      <a:pt x="96" y="294"/>
                    </a:lnTo>
                    <a:lnTo>
                      <a:pt x="102" y="276"/>
                    </a:lnTo>
                    <a:lnTo>
                      <a:pt x="108" y="264"/>
                    </a:lnTo>
                    <a:lnTo>
                      <a:pt x="108" y="252"/>
                    </a:lnTo>
                    <a:lnTo>
                      <a:pt x="120" y="258"/>
                    </a:lnTo>
                    <a:lnTo>
                      <a:pt x="132" y="270"/>
                    </a:lnTo>
                    <a:lnTo>
                      <a:pt x="138" y="270"/>
                    </a:lnTo>
                    <a:lnTo>
                      <a:pt x="144" y="276"/>
                    </a:lnTo>
                    <a:lnTo>
                      <a:pt x="150" y="288"/>
                    </a:lnTo>
                    <a:lnTo>
                      <a:pt x="180" y="288"/>
                    </a:lnTo>
                    <a:lnTo>
                      <a:pt x="186" y="276"/>
                    </a:lnTo>
                    <a:lnTo>
                      <a:pt x="192" y="270"/>
                    </a:lnTo>
                    <a:lnTo>
                      <a:pt x="198" y="276"/>
                    </a:lnTo>
                    <a:lnTo>
                      <a:pt x="198" y="288"/>
                    </a:lnTo>
                    <a:lnTo>
                      <a:pt x="210" y="288"/>
                    </a:lnTo>
                    <a:lnTo>
                      <a:pt x="222" y="282"/>
                    </a:lnTo>
                    <a:lnTo>
                      <a:pt x="240" y="282"/>
                    </a:lnTo>
                    <a:lnTo>
                      <a:pt x="246" y="288"/>
                    </a:lnTo>
                    <a:lnTo>
                      <a:pt x="276" y="288"/>
                    </a:lnTo>
                    <a:lnTo>
                      <a:pt x="294" y="312"/>
                    </a:lnTo>
                    <a:lnTo>
                      <a:pt x="306" y="312"/>
                    </a:lnTo>
                    <a:lnTo>
                      <a:pt x="312" y="318"/>
                    </a:lnTo>
                    <a:lnTo>
                      <a:pt x="324" y="324"/>
                    </a:lnTo>
                    <a:lnTo>
                      <a:pt x="348" y="360"/>
                    </a:lnTo>
                    <a:lnTo>
                      <a:pt x="354" y="366"/>
                    </a:lnTo>
                    <a:lnTo>
                      <a:pt x="378" y="378"/>
                    </a:lnTo>
                    <a:lnTo>
                      <a:pt x="390" y="390"/>
                    </a:lnTo>
                    <a:lnTo>
                      <a:pt x="390" y="414"/>
                    </a:lnTo>
                    <a:lnTo>
                      <a:pt x="396" y="420"/>
                    </a:lnTo>
                    <a:lnTo>
                      <a:pt x="408" y="426"/>
                    </a:lnTo>
                    <a:lnTo>
                      <a:pt x="420" y="426"/>
                    </a:lnTo>
                    <a:lnTo>
                      <a:pt x="432" y="444"/>
                    </a:lnTo>
                    <a:lnTo>
                      <a:pt x="456" y="456"/>
                    </a:lnTo>
                    <a:lnTo>
                      <a:pt x="468" y="438"/>
                    </a:lnTo>
                    <a:lnTo>
                      <a:pt x="480" y="432"/>
                    </a:lnTo>
                    <a:lnTo>
                      <a:pt x="474" y="420"/>
                    </a:lnTo>
                    <a:lnTo>
                      <a:pt x="456" y="402"/>
                    </a:lnTo>
                    <a:lnTo>
                      <a:pt x="432" y="402"/>
                    </a:lnTo>
                    <a:lnTo>
                      <a:pt x="426" y="396"/>
                    </a:lnTo>
                    <a:lnTo>
                      <a:pt x="426" y="360"/>
                    </a:lnTo>
                    <a:lnTo>
                      <a:pt x="420" y="360"/>
                    </a:lnTo>
                    <a:lnTo>
                      <a:pt x="414" y="354"/>
                    </a:lnTo>
                    <a:lnTo>
                      <a:pt x="366" y="330"/>
                    </a:lnTo>
                    <a:lnTo>
                      <a:pt x="360" y="324"/>
                    </a:lnTo>
                    <a:lnTo>
                      <a:pt x="360" y="312"/>
                    </a:lnTo>
                    <a:lnTo>
                      <a:pt x="354" y="300"/>
                    </a:lnTo>
                    <a:lnTo>
                      <a:pt x="354" y="288"/>
                    </a:lnTo>
                    <a:lnTo>
                      <a:pt x="348" y="276"/>
                    </a:lnTo>
                    <a:lnTo>
                      <a:pt x="348" y="270"/>
                    </a:lnTo>
                    <a:lnTo>
                      <a:pt x="336" y="270"/>
                    </a:lnTo>
                    <a:lnTo>
                      <a:pt x="324" y="264"/>
                    </a:lnTo>
                    <a:lnTo>
                      <a:pt x="306" y="264"/>
                    </a:lnTo>
                    <a:lnTo>
                      <a:pt x="282" y="240"/>
                    </a:lnTo>
                    <a:lnTo>
                      <a:pt x="264" y="246"/>
                    </a:lnTo>
                    <a:lnTo>
                      <a:pt x="252" y="228"/>
                    </a:lnTo>
                    <a:lnTo>
                      <a:pt x="234" y="222"/>
                    </a:lnTo>
                    <a:lnTo>
                      <a:pt x="216" y="204"/>
                    </a:lnTo>
                    <a:lnTo>
                      <a:pt x="210" y="192"/>
                    </a:lnTo>
                    <a:lnTo>
                      <a:pt x="204" y="186"/>
                    </a:lnTo>
                    <a:lnTo>
                      <a:pt x="198" y="174"/>
                    </a:lnTo>
                    <a:lnTo>
                      <a:pt x="198" y="114"/>
                    </a:lnTo>
                    <a:lnTo>
                      <a:pt x="192" y="90"/>
                    </a:lnTo>
                    <a:lnTo>
                      <a:pt x="186" y="78"/>
                    </a:lnTo>
                    <a:lnTo>
                      <a:pt x="180" y="60"/>
                    </a:lnTo>
                    <a:lnTo>
                      <a:pt x="168" y="42"/>
                    </a:lnTo>
                    <a:lnTo>
                      <a:pt x="162" y="24"/>
                    </a:lnTo>
                    <a:lnTo>
                      <a:pt x="156" y="12"/>
                    </a:lnTo>
                    <a:lnTo>
                      <a:pt x="150" y="6"/>
                    </a:lnTo>
                    <a:lnTo>
                      <a:pt x="150" y="0"/>
                    </a:lnTo>
                    <a:lnTo>
                      <a:pt x="144" y="0"/>
                    </a:lnTo>
                    <a:lnTo>
                      <a:pt x="144" y="12"/>
                    </a:lnTo>
                    <a:lnTo>
                      <a:pt x="132" y="36"/>
                    </a:lnTo>
                    <a:lnTo>
                      <a:pt x="108" y="48"/>
                    </a:lnTo>
                    <a:lnTo>
                      <a:pt x="90" y="54"/>
                    </a:lnTo>
                    <a:lnTo>
                      <a:pt x="78" y="5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1" name="Equatorial Guine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F28DD79-ED1E-4CA0-BFE8-5EDD8229EB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41224" y="4436151"/>
                <a:ext cx="64644" cy="49601"/>
              </a:xfrm>
              <a:custGeom>
                <a:avLst/>
                <a:gdLst>
                  <a:gd name="T0" fmla="*/ 2147483647 w 144"/>
                  <a:gd name="T1" fmla="*/ 2147483647 h 108"/>
                  <a:gd name="T2" fmla="*/ 2147483647 w 144"/>
                  <a:gd name="T3" fmla="*/ 2147483647 h 108"/>
                  <a:gd name="T4" fmla="*/ 2147483647 w 144"/>
                  <a:gd name="T5" fmla="*/ 2147483647 h 108"/>
                  <a:gd name="T6" fmla="*/ 2147483647 w 144"/>
                  <a:gd name="T7" fmla="*/ 0 h 108"/>
                  <a:gd name="T8" fmla="*/ 2147483647 w 144"/>
                  <a:gd name="T9" fmla="*/ 2147483647 h 108"/>
                  <a:gd name="T10" fmla="*/ 2147483647 w 144"/>
                  <a:gd name="T11" fmla="*/ 2147483647 h 108"/>
                  <a:gd name="T12" fmla="*/ 2147483647 w 144"/>
                  <a:gd name="T13" fmla="*/ 2147483647 h 108"/>
                  <a:gd name="T14" fmla="*/ 2147483647 w 144"/>
                  <a:gd name="T15" fmla="*/ 2147483647 h 108"/>
                  <a:gd name="T16" fmla="*/ 2147483647 w 144"/>
                  <a:gd name="T17" fmla="*/ 2147483647 h 108"/>
                  <a:gd name="T18" fmla="*/ 0 w 144"/>
                  <a:gd name="T19" fmla="*/ 2147483647 h 108"/>
                  <a:gd name="T20" fmla="*/ 0 w 144"/>
                  <a:gd name="T21" fmla="*/ 2147483647 h 108"/>
                  <a:gd name="T22" fmla="*/ 2147483647 w 144"/>
                  <a:gd name="T23" fmla="*/ 2147483647 h 108"/>
                  <a:gd name="T24" fmla="*/ 2147483647 w 144"/>
                  <a:gd name="T25" fmla="*/ 2147483647 h 108"/>
                  <a:gd name="T26" fmla="*/ 2147483647 w 144"/>
                  <a:gd name="T27" fmla="*/ 2147483647 h 108"/>
                  <a:gd name="T28" fmla="*/ 2147483647 w 144"/>
                  <a:gd name="T29" fmla="*/ 2147483647 h 108"/>
                  <a:gd name="T30" fmla="*/ 2147483647 w 144"/>
                  <a:gd name="T31" fmla="*/ 2147483647 h 108"/>
                  <a:gd name="T32" fmla="*/ 2147483647 w 144"/>
                  <a:gd name="T33" fmla="*/ 2147483647 h 108"/>
                  <a:gd name="T34" fmla="*/ 2147483647 w 144"/>
                  <a:gd name="T35" fmla="*/ 2147483647 h 108"/>
                  <a:gd name="T36" fmla="*/ 2147483647 w 144"/>
                  <a:gd name="T37" fmla="*/ 2147483647 h 108"/>
                  <a:gd name="T38" fmla="*/ 2147483647 w 144"/>
                  <a:gd name="T39" fmla="*/ 2147483647 h 10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44"/>
                  <a:gd name="T61" fmla="*/ 0 h 108"/>
                  <a:gd name="T62" fmla="*/ 144 w 144"/>
                  <a:gd name="T63" fmla="*/ 108 h 10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44" h="108">
                    <a:moveTo>
                      <a:pt x="138" y="48"/>
                    </a:moveTo>
                    <a:lnTo>
                      <a:pt x="144" y="12"/>
                    </a:lnTo>
                    <a:lnTo>
                      <a:pt x="48" y="12"/>
                    </a:lnTo>
                    <a:lnTo>
                      <a:pt x="36" y="0"/>
                    </a:lnTo>
                    <a:lnTo>
                      <a:pt x="30" y="6"/>
                    </a:lnTo>
                    <a:lnTo>
                      <a:pt x="30" y="42"/>
                    </a:lnTo>
                    <a:lnTo>
                      <a:pt x="18" y="54"/>
                    </a:lnTo>
                    <a:lnTo>
                      <a:pt x="12" y="66"/>
                    </a:lnTo>
                    <a:lnTo>
                      <a:pt x="6" y="72"/>
                    </a:lnTo>
                    <a:lnTo>
                      <a:pt x="0" y="84"/>
                    </a:lnTo>
                    <a:lnTo>
                      <a:pt x="0" y="90"/>
                    </a:lnTo>
                    <a:lnTo>
                      <a:pt x="6" y="96"/>
                    </a:lnTo>
                    <a:lnTo>
                      <a:pt x="18" y="102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138" y="108"/>
                    </a:lnTo>
                    <a:lnTo>
                      <a:pt x="138" y="102"/>
                    </a:lnTo>
                    <a:lnTo>
                      <a:pt x="144" y="84"/>
                    </a:lnTo>
                    <a:lnTo>
                      <a:pt x="144" y="54"/>
                    </a:lnTo>
                    <a:lnTo>
                      <a:pt x="138" y="48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2" name="Egypt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7F794D9-B494-4DA5-8B7F-210B5EA24F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07716" y="3375077"/>
                <a:ext cx="349435" cy="361368"/>
              </a:xfrm>
              <a:custGeom>
                <a:avLst/>
                <a:gdLst>
                  <a:gd name="T0" fmla="*/ 2147483647 w 792"/>
                  <a:gd name="T1" fmla="*/ 2147483647 h 804"/>
                  <a:gd name="T2" fmla="*/ 2147483647 w 792"/>
                  <a:gd name="T3" fmla="*/ 2147483647 h 804"/>
                  <a:gd name="T4" fmla="*/ 2147483647 w 792"/>
                  <a:gd name="T5" fmla="*/ 2147483647 h 804"/>
                  <a:gd name="T6" fmla="*/ 2147483647 w 792"/>
                  <a:gd name="T7" fmla="*/ 2147483647 h 804"/>
                  <a:gd name="T8" fmla="*/ 2147483647 w 792"/>
                  <a:gd name="T9" fmla="*/ 2147483647 h 804"/>
                  <a:gd name="T10" fmla="*/ 2147483647 w 792"/>
                  <a:gd name="T11" fmla="*/ 2147483647 h 804"/>
                  <a:gd name="T12" fmla="*/ 2147483647 w 792"/>
                  <a:gd name="T13" fmla="*/ 2147483647 h 804"/>
                  <a:gd name="T14" fmla="*/ 2147483647 w 792"/>
                  <a:gd name="T15" fmla="*/ 2147483647 h 804"/>
                  <a:gd name="T16" fmla="*/ 2147483647 w 792"/>
                  <a:gd name="T17" fmla="*/ 2147483647 h 804"/>
                  <a:gd name="T18" fmla="*/ 2147483647 w 792"/>
                  <a:gd name="T19" fmla="*/ 2147483647 h 804"/>
                  <a:gd name="T20" fmla="*/ 2147483647 w 792"/>
                  <a:gd name="T21" fmla="*/ 2147483647 h 804"/>
                  <a:gd name="T22" fmla="*/ 2147483647 w 792"/>
                  <a:gd name="T23" fmla="*/ 2147483647 h 804"/>
                  <a:gd name="T24" fmla="*/ 2147483647 w 792"/>
                  <a:gd name="T25" fmla="*/ 2147483647 h 804"/>
                  <a:gd name="T26" fmla="*/ 2147483647 w 792"/>
                  <a:gd name="T27" fmla="*/ 2147483647 h 804"/>
                  <a:gd name="T28" fmla="*/ 2147483647 w 792"/>
                  <a:gd name="T29" fmla="*/ 2147483647 h 804"/>
                  <a:gd name="T30" fmla="*/ 2147483647 w 792"/>
                  <a:gd name="T31" fmla="*/ 2147483647 h 804"/>
                  <a:gd name="T32" fmla="*/ 2147483647 w 792"/>
                  <a:gd name="T33" fmla="*/ 2147483647 h 804"/>
                  <a:gd name="T34" fmla="*/ 2147483647 w 792"/>
                  <a:gd name="T35" fmla="*/ 2147483647 h 804"/>
                  <a:gd name="T36" fmla="*/ 2147483647 w 792"/>
                  <a:gd name="T37" fmla="*/ 2147483647 h 804"/>
                  <a:gd name="T38" fmla="*/ 2147483647 w 792"/>
                  <a:gd name="T39" fmla="*/ 2147483647 h 804"/>
                  <a:gd name="T40" fmla="*/ 2147483647 w 792"/>
                  <a:gd name="T41" fmla="*/ 2147483647 h 804"/>
                  <a:gd name="T42" fmla="*/ 2147483647 w 792"/>
                  <a:gd name="T43" fmla="*/ 2147483647 h 804"/>
                  <a:gd name="T44" fmla="*/ 2147483647 w 792"/>
                  <a:gd name="T45" fmla="*/ 2147483647 h 804"/>
                  <a:gd name="T46" fmla="*/ 2147483647 w 792"/>
                  <a:gd name="T47" fmla="*/ 2147483647 h 804"/>
                  <a:gd name="T48" fmla="*/ 2147483647 w 792"/>
                  <a:gd name="T49" fmla="*/ 2147483647 h 804"/>
                  <a:gd name="T50" fmla="*/ 2147483647 w 792"/>
                  <a:gd name="T51" fmla="*/ 2147483647 h 804"/>
                  <a:gd name="T52" fmla="*/ 2147483647 w 792"/>
                  <a:gd name="T53" fmla="*/ 2147483647 h 804"/>
                  <a:gd name="T54" fmla="*/ 2147483647 w 792"/>
                  <a:gd name="T55" fmla="*/ 2147483647 h 804"/>
                  <a:gd name="T56" fmla="*/ 2147483647 w 792"/>
                  <a:gd name="T57" fmla="*/ 2147483647 h 804"/>
                  <a:gd name="T58" fmla="*/ 2147483647 w 792"/>
                  <a:gd name="T59" fmla="*/ 2147483647 h 804"/>
                  <a:gd name="T60" fmla="*/ 2147483647 w 792"/>
                  <a:gd name="T61" fmla="*/ 2147483647 h 804"/>
                  <a:gd name="T62" fmla="*/ 2147483647 w 792"/>
                  <a:gd name="T63" fmla="*/ 2147483647 h 804"/>
                  <a:gd name="T64" fmla="*/ 2147483647 w 792"/>
                  <a:gd name="T65" fmla="*/ 2147483647 h 804"/>
                  <a:gd name="T66" fmla="*/ 2147483647 w 792"/>
                  <a:gd name="T67" fmla="*/ 2147483647 h 804"/>
                  <a:gd name="T68" fmla="*/ 2147483647 w 792"/>
                  <a:gd name="T69" fmla="*/ 2147483647 h 804"/>
                  <a:gd name="T70" fmla="*/ 2147483647 w 792"/>
                  <a:gd name="T71" fmla="*/ 2147483647 h 804"/>
                  <a:gd name="T72" fmla="*/ 2147483647 w 792"/>
                  <a:gd name="T73" fmla="*/ 2147483647 h 804"/>
                  <a:gd name="T74" fmla="*/ 2147483647 w 792"/>
                  <a:gd name="T75" fmla="*/ 2147483647 h 804"/>
                  <a:gd name="T76" fmla="*/ 2147483647 w 792"/>
                  <a:gd name="T77" fmla="*/ 2147483647 h 804"/>
                  <a:gd name="T78" fmla="*/ 2147483647 w 792"/>
                  <a:gd name="T79" fmla="*/ 2147483647 h 804"/>
                  <a:gd name="T80" fmla="*/ 2147483647 w 792"/>
                  <a:gd name="T81" fmla="*/ 2147483647 h 804"/>
                  <a:gd name="T82" fmla="*/ 2147483647 w 792"/>
                  <a:gd name="T83" fmla="*/ 2147483647 h 804"/>
                  <a:gd name="T84" fmla="*/ 2147483647 w 792"/>
                  <a:gd name="T85" fmla="*/ 2147483647 h 804"/>
                  <a:gd name="T86" fmla="*/ 2147483647 w 792"/>
                  <a:gd name="T87" fmla="*/ 2147483647 h 804"/>
                  <a:gd name="T88" fmla="*/ 2147483647 w 792"/>
                  <a:gd name="T89" fmla="*/ 2147483647 h 804"/>
                  <a:gd name="T90" fmla="*/ 2147483647 w 792"/>
                  <a:gd name="T91" fmla="*/ 0 h 804"/>
                  <a:gd name="T92" fmla="*/ 2147483647 w 792"/>
                  <a:gd name="T93" fmla="*/ 2147483647 h 804"/>
                  <a:gd name="T94" fmla="*/ 2147483647 w 792"/>
                  <a:gd name="T95" fmla="*/ 0 h 80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92"/>
                  <a:gd name="T145" fmla="*/ 0 h 804"/>
                  <a:gd name="T146" fmla="*/ 792 w 792"/>
                  <a:gd name="T147" fmla="*/ 804 h 80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92" h="804">
                    <a:moveTo>
                      <a:pt x="12" y="18"/>
                    </a:moveTo>
                    <a:lnTo>
                      <a:pt x="6" y="24"/>
                    </a:lnTo>
                    <a:lnTo>
                      <a:pt x="6" y="54"/>
                    </a:lnTo>
                    <a:lnTo>
                      <a:pt x="18" y="60"/>
                    </a:lnTo>
                    <a:lnTo>
                      <a:pt x="24" y="72"/>
                    </a:lnTo>
                    <a:lnTo>
                      <a:pt x="24" y="78"/>
                    </a:lnTo>
                    <a:lnTo>
                      <a:pt x="18" y="84"/>
                    </a:lnTo>
                    <a:lnTo>
                      <a:pt x="12" y="96"/>
                    </a:lnTo>
                    <a:lnTo>
                      <a:pt x="6" y="102"/>
                    </a:lnTo>
                    <a:lnTo>
                      <a:pt x="0" y="114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18" y="144"/>
                    </a:lnTo>
                    <a:lnTo>
                      <a:pt x="30" y="180"/>
                    </a:lnTo>
                    <a:lnTo>
                      <a:pt x="30" y="264"/>
                    </a:lnTo>
                    <a:lnTo>
                      <a:pt x="36" y="342"/>
                    </a:lnTo>
                    <a:lnTo>
                      <a:pt x="36" y="438"/>
                    </a:lnTo>
                    <a:lnTo>
                      <a:pt x="42" y="534"/>
                    </a:lnTo>
                    <a:lnTo>
                      <a:pt x="42" y="624"/>
                    </a:lnTo>
                    <a:lnTo>
                      <a:pt x="48" y="702"/>
                    </a:lnTo>
                    <a:lnTo>
                      <a:pt x="48" y="774"/>
                    </a:lnTo>
                    <a:lnTo>
                      <a:pt x="474" y="780"/>
                    </a:lnTo>
                    <a:lnTo>
                      <a:pt x="492" y="762"/>
                    </a:lnTo>
                    <a:lnTo>
                      <a:pt x="498" y="762"/>
                    </a:lnTo>
                    <a:lnTo>
                      <a:pt x="498" y="774"/>
                    </a:lnTo>
                    <a:lnTo>
                      <a:pt x="618" y="780"/>
                    </a:lnTo>
                    <a:lnTo>
                      <a:pt x="624" y="786"/>
                    </a:lnTo>
                    <a:lnTo>
                      <a:pt x="630" y="798"/>
                    </a:lnTo>
                    <a:lnTo>
                      <a:pt x="636" y="804"/>
                    </a:lnTo>
                    <a:lnTo>
                      <a:pt x="654" y="804"/>
                    </a:lnTo>
                    <a:lnTo>
                      <a:pt x="660" y="798"/>
                    </a:lnTo>
                    <a:lnTo>
                      <a:pt x="672" y="774"/>
                    </a:lnTo>
                    <a:lnTo>
                      <a:pt x="684" y="762"/>
                    </a:lnTo>
                    <a:lnTo>
                      <a:pt x="696" y="762"/>
                    </a:lnTo>
                    <a:lnTo>
                      <a:pt x="702" y="756"/>
                    </a:lnTo>
                    <a:lnTo>
                      <a:pt x="720" y="756"/>
                    </a:lnTo>
                    <a:lnTo>
                      <a:pt x="726" y="750"/>
                    </a:lnTo>
                    <a:lnTo>
                      <a:pt x="732" y="738"/>
                    </a:lnTo>
                    <a:lnTo>
                      <a:pt x="732" y="714"/>
                    </a:lnTo>
                    <a:lnTo>
                      <a:pt x="762" y="714"/>
                    </a:lnTo>
                    <a:lnTo>
                      <a:pt x="786" y="690"/>
                    </a:lnTo>
                    <a:lnTo>
                      <a:pt x="780" y="684"/>
                    </a:lnTo>
                    <a:lnTo>
                      <a:pt x="774" y="672"/>
                    </a:lnTo>
                    <a:lnTo>
                      <a:pt x="774" y="624"/>
                    </a:lnTo>
                    <a:lnTo>
                      <a:pt x="792" y="618"/>
                    </a:lnTo>
                    <a:lnTo>
                      <a:pt x="786" y="618"/>
                    </a:lnTo>
                    <a:lnTo>
                      <a:pt x="756" y="588"/>
                    </a:lnTo>
                    <a:lnTo>
                      <a:pt x="732" y="552"/>
                    </a:lnTo>
                    <a:lnTo>
                      <a:pt x="726" y="528"/>
                    </a:lnTo>
                    <a:lnTo>
                      <a:pt x="714" y="492"/>
                    </a:lnTo>
                    <a:lnTo>
                      <a:pt x="702" y="468"/>
                    </a:lnTo>
                    <a:lnTo>
                      <a:pt x="690" y="462"/>
                    </a:lnTo>
                    <a:lnTo>
                      <a:pt x="684" y="450"/>
                    </a:lnTo>
                    <a:lnTo>
                      <a:pt x="672" y="444"/>
                    </a:lnTo>
                    <a:lnTo>
                      <a:pt x="666" y="432"/>
                    </a:lnTo>
                    <a:lnTo>
                      <a:pt x="654" y="396"/>
                    </a:lnTo>
                    <a:lnTo>
                      <a:pt x="654" y="378"/>
                    </a:lnTo>
                    <a:lnTo>
                      <a:pt x="618" y="336"/>
                    </a:lnTo>
                    <a:lnTo>
                      <a:pt x="618" y="318"/>
                    </a:lnTo>
                    <a:lnTo>
                      <a:pt x="606" y="294"/>
                    </a:lnTo>
                    <a:lnTo>
                      <a:pt x="594" y="282"/>
                    </a:lnTo>
                    <a:lnTo>
                      <a:pt x="588" y="270"/>
                    </a:lnTo>
                    <a:lnTo>
                      <a:pt x="576" y="258"/>
                    </a:lnTo>
                    <a:lnTo>
                      <a:pt x="570" y="246"/>
                    </a:lnTo>
                    <a:lnTo>
                      <a:pt x="558" y="234"/>
                    </a:lnTo>
                    <a:lnTo>
                      <a:pt x="552" y="222"/>
                    </a:lnTo>
                    <a:lnTo>
                      <a:pt x="546" y="216"/>
                    </a:lnTo>
                    <a:lnTo>
                      <a:pt x="552" y="210"/>
                    </a:lnTo>
                    <a:lnTo>
                      <a:pt x="552" y="198"/>
                    </a:lnTo>
                    <a:lnTo>
                      <a:pt x="540" y="174"/>
                    </a:lnTo>
                    <a:lnTo>
                      <a:pt x="528" y="168"/>
                    </a:lnTo>
                    <a:lnTo>
                      <a:pt x="522" y="168"/>
                    </a:lnTo>
                    <a:lnTo>
                      <a:pt x="540" y="144"/>
                    </a:lnTo>
                    <a:lnTo>
                      <a:pt x="558" y="156"/>
                    </a:lnTo>
                    <a:lnTo>
                      <a:pt x="558" y="174"/>
                    </a:lnTo>
                    <a:lnTo>
                      <a:pt x="564" y="186"/>
                    </a:lnTo>
                    <a:lnTo>
                      <a:pt x="576" y="198"/>
                    </a:lnTo>
                    <a:lnTo>
                      <a:pt x="582" y="210"/>
                    </a:lnTo>
                    <a:lnTo>
                      <a:pt x="588" y="216"/>
                    </a:lnTo>
                    <a:lnTo>
                      <a:pt x="588" y="246"/>
                    </a:lnTo>
                    <a:lnTo>
                      <a:pt x="606" y="264"/>
                    </a:lnTo>
                    <a:lnTo>
                      <a:pt x="612" y="276"/>
                    </a:lnTo>
                    <a:lnTo>
                      <a:pt x="636" y="300"/>
                    </a:lnTo>
                    <a:lnTo>
                      <a:pt x="648" y="306"/>
                    </a:lnTo>
                    <a:lnTo>
                      <a:pt x="654" y="306"/>
                    </a:lnTo>
                    <a:lnTo>
                      <a:pt x="666" y="300"/>
                    </a:lnTo>
                    <a:lnTo>
                      <a:pt x="678" y="288"/>
                    </a:lnTo>
                    <a:lnTo>
                      <a:pt x="672" y="270"/>
                    </a:lnTo>
                    <a:lnTo>
                      <a:pt x="684" y="246"/>
                    </a:lnTo>
                    <a:lnTo>
                      <a:pt x="684" y="234"/>
                    </a:lnTo>
                    <a:lnTo>
                      <a:pt x="690" y="222"/>
                    </a:lnTo>
                    <a:lnTo>
                      <a:pt x="690" y="198"/>
                    </a:lnTo>
                    <a:lnTo>
                      <a:pt x="696" y="186"/>
                    </a:lnTo>
                    <a:lnTo>
                      <a:pt x="696" y="180"/>
                    </a:lnTo>
                    <a:lnTo>
                      <a:pt x="702" y="168"/>
                    </a:lnTo>
                    <a:lnTo>
                      <a:pt x="648" y="24"/>
                    </a:lnTo>
                    <a:lnTo>
                      <a:pt x="642" y="24"/>
                    </a:lnTo>
                    <a:lnTo>
                      <a:pt x="636" y="30"/>
                    </a:lnTo>
                    <a:lnTo>
                      <a:pt x="624" y="30"/>
                    </a:lnTo>
                    <a:lnTo>
                      <a:pt x="600" y="42"/>
                    </a:lnTo>
                    <a:lnTo>
                      <a:pt x="576" y="42"/>
                    </a:lnTo>
                    <a:lnTo>
                      <a:pt x="564" y="36"/>
                    </a:lnTo>
                    <a:lnTo>
                      <a:pt x="558" y="30"/>
                    </a:lnTo>
                    <a:lnTo>
                      <a:pt x="552" y="36"/>
                    </a:lnTo>
                    <a:lnTo>
                      <a:pt x="540" y="42"/>
                    </a:lnTo>
                    <a:lnTo>
                      <a:pt x="534" y="42"/>
                    </a:lnTo>
                    <a:lnTo>
                      <a:pt x="510" y="30"/>
                    </a:lnTo>
                    <a:lnTo>
                      <a:pt x="504" y="24"/>
                    </a:lnTo>
                    <a:lnTo>
                      <a:pt x="504" y="18"/>
                    </a:lnTo>
                    <a:lnTo>
                      <a:pt x="498" y="12"/>
                    </a:lnTo>
                    <a:lnTo>
                      <a:pt x="486" y="6"/>
                    </a:lnTo>
                    <a:lnTo>
                      <a:pt x="468" y="6"/>
                    </a:lnTo>
                    <a:lnTo>
                      <a:pt x="456" y="12"/>
                    </a:lnTo>
                    <a:lnTo>
                      <a:pt x="438" y="12"/>
                    </a:lnTo>
                    <a:lnTo>
                      <a:pt x="432" y="18"/>
                    </a:lnTo>
                    <a:lnTo>
                      <a:pt x="420" y="18"/>
                    </a:lnTo>
                    <a:lnTo>
                      <a:pt x="414" y="12"/>
                    </a:lnTo>
                    <a:lnTo>
                      <a:pt x="390" y="12"/>
                    </a:lnTo>
                    <a:lnTo>
                      <a:pt x="378" y="18"/>
                    </a:lnTo>
                    <a:lnTo>
                      <a:pt x="372" y="24"/>
                    </a:lnTo>
                    <a:lnTo>
                      <a:pt x="366" y="36"/>
                    </a:lnTo>
                    <a:lnTo>
                      <a:pt x="360" y="42"/>
                    </a:lnTo>
                    <a:lnTo>
                      <a:pt x="336" y="42"/>
                    </a:lnTo>
                    <a:lnTo>
                      <a:pt x="324" y="54"/>
                    </a:lnTo>
                    <a:lnTo>
                      <a:pt x="312" y="60"/>
                    </a:lnTo>
                    <a:lnTo>
                      <a:pt x="306" y="60"/>
                    </a:lnTo>
                    <a:lnTo>
                      <a:pt x="300" y="54"/>
                    </a:lnTo>
                    <a:lnTo>
                      <a:pt x="288" y="54"/>
                    </a:lnTo>
                    <a:lnTo>
                      <a:pt x="276" y="48"/>
                    </a:lnTo>
                    <a:lnTo>
                      <a:pt x="264" y="48"/>
                    </a:lnTo>
                    <a:lnTo>
                      <a:pt x="258" y="42"/>
                    </a:lnTo>
                    <a:lnTo>
                      <a:pt x="204" y="42"/>
                    </a:lnTo>
                    <a:lnTo>
                      <a:pt x="198" y="36"/>
                    </a:lnTo>
                    <a:lnTo>
                      <a:pt x="186" y="30"/>
                    </a:lnTo>
                    <a:lnTo>
                      <a:pt x="174" y="18"/>
                    </a:lnTo>
                    <a:lnTo>
                      <a:pt x="126" y="18"/>
                    </a:lnTo>
                    <a:lnTo>
                      <a:pt x="120" y="12"/>
                    </a:lnTo>
                    <a:lnTo>
                      <a:pt x="96" y="0"/>
                    </a:lnTo>
                    <a:lnTo>
                      <a:pt x="78" y="0"/>
                    </a:lnTo>
                    <a:lnTo>
                      <a:pt x="66" y="12"/>
                    </a:lnTo>
                    <a:lnTo>
                      <a:pt x="54" y="12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12" y="1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3" name="East Timo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3D07F80-C32C-4475-9653-6EA90689826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447392" y="4818772"/>
                <a:ext cx="110071" cy="53143"/>
              </a:xfrm>
              <a:custGeom>
                <a:avLst/>
                <a:gdLst>
                  <a:gd name="T0" fmla="*/ 2147483647 w 252"/>
                  <a:gd name="T1" fmla="*/ 0 h 120"/>
                  <a:gd name="T2" fmla="*/ 2147483647 w 252"/>
                  <a:gd name="T3" fmla="*/ 2147483647 h 120"/>
                  <a:gd name="T4" fmla="*/ 2147483647 w 252"/>
                  <a:gd name="T5" fmla="*/ 2147483647 h 120"/>
                  <a:gd name="T6" fmla="*/ 2147483647 w 252"/>
                  <a:gd name="T7" fmla="*/ 2147483647 h 120"/>
                  <a:gd name="T8" fmla="*/ 2147483647 w 252"/>
                  <a:gd name="T9" fmla="*/ 2147483647 h 120"/>
                  <a:gd name="T10" fmla="*/ 2147483647 w 252"/>
                  <a:gd name="T11" fmla="*/ 2147483647 h 120"/>
                  <a:gd name="T12" fmla="*/ 2147483647 w 252"/>
                  <a:gd name="T13" fmla="*/ 2147483647 h 120"/>
                  <a:gd name="T14" fmla="*/ 2147483647 w 252"/>
                  <a:gd name="T15" fmla="*/ 2147483647 h 120"/>
                  <a:gd name="T16" fmla="*/ 2147483647 w 252"/>
                  <a:gd name="T17" fmla="*/ 2147483647 h 120"/>
                  <a:gd name="T18" fmla="*/ 2147483647 w 252"/>
                  <a:gd name="T19" fmla="*/ 2147483647 h 120"/>
                  <a:gd name="T20" fmla="*/ 2147483647 w 252"/>
                  <a:gd name="T21" fmla="*/ 2147483647 h 120"/>
                  <a:gd name="T22" fmla="*/ 2147483647 w 252"/>
                  <a:gd name="T23" fmla="*/ 2147483647 h 120"/>
                  <a:gd name="T24" fmla="*/ 2147483647 w 252"/>
                  <a:gd name="T25" fmla="*/ 2147483647 h 120"/>
                  <a:gd name="T26" fmla="*/ 2147483647 w 252"/>
                  <a:gd name="T27" fmla="*/ 2147483647 h 120"/>
                  <a:gd name="T28" fmla="*/ 2147483647 w 252"/>
                  <a:gd name="T29" fmla="*/ 2147483647 h 120"/>
                  <a:gd name="T30" fmla="*/ 2147483647 w 252"/>
                  <a:gd name="T31" fmla="*/ 2147483647 h 120"/>
                  <a:gd name="T32" fmla="*/ 2147483647 w 252"/>
                  <a:gd name="T33" fmla="*/ 2147483647 h 120"/>
                  <a:gd name="T34" fmla="*/ 2147483647 w 252"/>
                  <a:gd name="T35" fmla="*/ 2147483647 h 120"/>
                  <a:gd name="T36" fmla="*/ 2147483647 w 252"/>
                  <a:gd name="T37" fmla="*/ 2147483647 h 120"/>
                  <a:gd name="T38" fmla="*/ 2147483647 w 252"/>
                  <a:gd name="T39" fmla="*/ 2147483647 h 120"/>
                  <a:gd name="T40" fmla="*/ 2147483647 w 252"/>
                  <a:gd name="T41" fmla="*/ 2147483647 h 120"/>
                  <a:gd name="T42" fmla="*/ 2147483647 w 252"/>
                  <a:gd name="T43" fmla="*/ 2147483647 h 120"/>
                  <a:gd name="T44" fmla="*/ 2147483647 w 252"/>
                  <a:gd name="T45" fmla="*/ 2147483647 h 120"/>
                  <a:gd name="T46" fmla="*/ 2147483647 w 252"/>
                  <a:gd name="T47" fmla="*/ 0 h 120"/>
                  <a:gd name="T48" fmla="*/ 0 w 252"/>
                  <a:gd name="T49" fmla="*/ 2147483647 h 120"/>
                  <a:gd name="T50" fmla="*/ 2147483647 w 252"/>
                  <a:gd name="T51" fmla="*/ 2147483647 h 120"/>
                  <a:gd name="T52" fmla="*/ 2147483647 w 252"/>
                  <a:gd name="T53" fmla="*/ 2147483647 h 120"/>
                  <a:gd name="T54" fmla="*/ 2147483647 w 252"/>
                  <a:gd name="T55" fmla="*/ 2147483647 h 120"/>
                  <a:gd name="T56" fmla="*/ 2147483647 w 252"/>
                  <a:gd name="T57" fmla="*/ 2147483647 h 120"/>
                  <a:gd name="T58" fmla="*/ 2147483647 w 252"/>
                  <a:gd name="T59" fmla="*/ 2147483647 h 120"/>
                  <a:gd name="T60" fmla="*/ 2147483647 w 252"/>
                  <a:gd name="T61" fmla="*/ 2147483647 h 120"/>
                  <a:gd name="T62" fmla="*/ 2147483647 w 252"/>
                  <a:gd name="T63" fmla="*/ 2147483647 h 120"/>
                  <a:gd name="T64" fmla="*/ 0 w 252"/>
                  <a:gd name="T65" fmla="*/ 2147483647 h 1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52"/>
                  <a:gd name="T100" fmla="*/ 0 h 120"/>
                  <a:gd name="T101" fmla="*/ 252 w 252"/>
                  <a:gd name="T102" fmla="*/ 120 h 12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52" h="120">
                    <a:moveTo>
                      <a:pt x="228" y="0"/>
                    </a:moveTo>
                    <a:lnTo>
                      <a:pt x="204" y="24"/>
                    </a:lnTo>
                    <a:lnTo>
                      <a:pt x="114" y="24"/>
                    </a:lnTo>
                    <a:lnTo>
                      <a:pt x="108" y="30"/>
                    </a:lnTo>
                    <a:lnTo>
                      <a:pt x="102" y="42"/>
                    </a:lnTo>
                    <a:lnTo>
                      <a:pt x="96" y="48"/>
                    </a:lnTo>
                    <a:lnTo>
                      <a:pt x="90" y="48"/>
                    </a:lnTo>
                    <a:lnTo>
                      <a:pt x="78" y="54"/>
                    </a:lnTo>
                    <a:lnTo>
                      <a:pt x="90" y="72"/>
                    </a:lnTo>
                    <a:lnTo>
                      <a:pt x="84" y="78"/>
                    </a:lnTo>
                    <a:lnTo>
                      <a:pt x="72" y="102"/>
                    </a:lnTo>
                    <a:lnTo>
                      <a:pt x="72" y="114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84" y="108"/>
                    </a:lnTo>
                    <a:lnTo>
                      <a:pt x="96" y="108"/>
                    </a:lnTo>
                    <a:lnTo>
                      <a:pt x="132" y="84"/>
                    </a:lnTo>
                    <a:lnTo>
                      <a:pt x="138" y="90"/>
                    </a:lnTo>
                    <a:lnTo>
                      <a:pt x="162" y="90"/>
                    </a:lnTo>
                    <a:lnTo>
                      <a:pt x="186" y="78"/>
                    </a:lnTo>
                    <a:lnTo>
                      <a:pt x="198" y="66"/>
                    </a:lnTo>
                    <a:lnTo>
                      <a:pt x="210" y="60"/>
                    </a:lnTo>
                    <a:lnTo>
                      <a:pt x="252" y="18"/>
                    </a:lnTo>
                    <a:lnTo>
                      <a:pt x="228" y="0"/>
                    </a:lnTo>
                    <a:close/>
                    <a:moveTo>
                      <a:pt x="0" y="90"/>
                    </a:moveTo>
                    <a:lnTo>
                      <a:pt x="6" y="102"/>
                    </a:lnTo>
                    <a:lnTo>
                      <a:pt x="18" y="96"/>
                    </a:lnTo>
                    <a:lnTo>
                      <a:pt x="24" y="90"/>
                    </a:lnTo>
                    <a:lnTo>
                      <a:pt x="36" y="90"/>
                    </a:lnTo>
                    <a:lnTo>
                      <a:pt x="36" y="84"/>
                    </a:lnTo>
                    <a:lnTo>
                      <a:pt x="42" y="72"/>
                    </a:lnTo>
                    <a:lnTo>
                      <a:pt x="18" y="72"/>
                    </a:lnTo>
                    <a:lnTo>
                      <a:pt x="0" y="90"/>
                    </a:lnTo>
                    <a:close/>
                  </a:path>
                </a:pathLst>
              </a:custGeom>
              <a:solidFill>
                <a:srgbClr val="75A285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354" name="Djibouti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0B6489F-8A93-494B-AF09-1F0E6D0628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56334" y="4062386"/>
                <a:ext cx="52416" cy="62001"/>
              </a:xfrm>
              <a:custGeom>
                <a:avLst/>
                <a:gdLst>
                  <a:gd name="T0" fmla="*/ 2147483647 w 114"/>
                  <a:gd name="T1" fmla="*/ 2147483647 h 138"/>
                  <a:gd name="T2" fmla="*/ 2147483647 w 114"/>
                  <a:gd name="T3" fmla="*/ 2147483647 h 138"/>
                  <a:gd name="T4" fmla="*/ 2147483647 w 114"/>
                  <a:gd name="T5" fmla="*/ 2147483647 h 138"/>
                  <a:gd name="T6" fmla="*/ 0 w 114"/>
                  <a:gd name="T7" fmla="*/ 2147483647 h 138"/>
                  <a:gd name="T8" fmla="*/ 0 w 114"/>
                  <a:gd name="T9" fmla="*/ 2147483647 h 138"/>
                  <a:gd name="T10" fmla="*/ 2147483647 w 114"/>
                  <a:gd name="T11" fmla="*/ 2147483647 h 138"/>
                  <a:gd name="T12" fmla="*/ 2147483647 w 114"/>
                  <a:gd name="T13" fmla="*/ 2147483647 h 138"/>
                  <a:gd name="T14" fmla="*/ 2147483647 w 114"/>
                  <a:gd name="T15" fmla="*/ 2147483647 h 138"/>
                  <a:gd name="T16" fmla="*/ 2147483647 w 114"/>
                  <a:gd name="T17" fmla="*/ 2147483647 h 138"/>
                  <a:gd name="T18" fmla="*/ 2147483647 w 114"/>
                  <a:gd name="T19" fmla="*/ 2147483647 h 138"/>
                  <a:gd name="T20" fmla="*/ 2147483647 w 114"/>
                  <a:gd name="T21" fmla="*/ 2147483647 h 138"/>
                  <a:gd name="T22" fmla="*/ 2147483647 w 114"/>
                  <a:gd name="T23" fmla="*/ 2147483647 h 138"/>
                  <a:gd name="T24" fmla="*/ 2147483647 w 114"/>
                  <a:gd name="T25" fmla="*/ 2147483647 h 138"/>
                  <a:gd name="T26" fmla="*/ 2147483647 w 114"/>
                  <a:gd name="T27" fmla="*/ 2147483647 h 138"/>
                  <a:gd name="T28" fmla="*/ 2147483647 w 114"/>
                  <a:gd name="T29" fmla="*/ 2147483647 h 138"/>
                  <a:gd name="T30" fmla="*/ 2147483647 w 114"/>
                  <a:gd name="T31" fmla="*/ 2147483647 h 138"/>
                  <a:gd name="T32" fmla="*/ 2147483647 w 114"/>
                  <a:gd name="T33" fmla="*/ 2147483647 h 138"/>
                  <a:gd name="T34" fmla="*/ 2147483647 w 114"/>
                  <a:gd name="T35" fmla="*/ 2147483647 h 138"/>
                  <a:gd name="T36" fmla="*/ 2147483647 w 114"/>
                  <a:gd name="T37" fmla="*/ 2147483647 h 138"/>
                  <a:gd name="T38" fmla="*/ 2147483647 w 114"/>
                  <a:gd name="T39" fmla="*/ 2147483647 h 138"/>
                  <a:gd name="T40" fmla="*/ 2147483647 w 114"/>
                  <a:gd name="T41" fmla="*/ 2147483647 h 138"/>
                  <a:gd name="T42" fmla="*/ 2147483647 w 114"/>
                  <a:gd name="T43" fmla="*/ 2147483647 h 138"/>
                  <a:gd name="T44" fmla="*/ 2147483647 w 114"/>
                  <a:gd name="T45" fmla="*/ 2147483647 h 138"/>
                  <a:gd name="T46" fmla="*/ 2147483647 w 114"/>
                  <a:gd name="T47" fmla="*/ 2147483647 h 138"/>
                  <a:gd name="T48" fmla="*/ 2147483647 w 114"/>
                  <a:gd name="T49" fmla="*/ 2147483647 h 138"/>
                  <a:gd name="T50" fmla="*/ 2147483647 w 114"/>
                  <a:gd name="T51" fmla="*/ 2147483647 h 138"/>
                  <a:gd name="T52" fmla="*/ 2147483647 w 114"/>
                  <a:gd name="T53" fmla="*/ 2147483647 h 138"/>
                  <a:gd name="T54" fmla="*/ 2147483647 w 114"/>
                  <a:gd name="T55" fmla="*/ 0 h 138"/>
                  <a:gd name="T56" fmla="*/ 2147483647 w 114"/>
                  <a:gd name="T57" fmla="*/ 2147483647 h 138"/>
                  <a:gd name="T58" fmla="*/ 2147483647 w 114"/>
                  <a:gd name="T59" fmla="*/ 2147483647 h 13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14"/>
                  <a:gd name="T91" fmla="*/ 0 h 138"/>
                  <a:gd name="T92" fmla="*/ 114 w 114"/>
                  <a:gd name="T93" fmla="*/ 138 h 13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14" h="138">
                    <a:moveTo>
                      <a:pt x="72" y="24"/>
                    </a:moveTo>
                    <a:lnTo>
                      <a:pt x="48" y="12"/>
                    </a:lnTo>
                    <a:lnTo>
                      <a:pt x="18" y="66"/>
                    </a:lnTo>
                    <a:lnTo>
                      <a:pt x="0" y="84"/>
                    </a:lnTo>
                    <a:lnTo>
                      <a:pt x="0" y="96"/>
                    </a:lnTo>
                    <a:lnTo>
                      <a:pt x="6" y="114"/>
                    </a:lnTo>
                    <a:lnTo>
                      <a:pt x="6" y="126"/>
                    </a:lnTo>
                    <a:lnTo>
                      <a:pt x="18" y="138"/>
                    </a:lnTo>
                    <a:lnTo>
                      <a:pt x="42" y="138"/>
                    </a:lnTo>
                    <a:lnTo>
                      <a:pt x="48" y="132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84" y="132"/>
                    </a:lnTo>
                    <a:lnTo>
                      <a:pt x="90" y="138"/>
                    </a:lnTo>
                    <a:lnTo>
                      <a:pt x="90" y="132"/>
                    </a:lnTo>
                    <a:lnTo>
                      <a:pt x="114" y="108"/>
                    </a:lnTo>
                    <a:lnTo>
                      <a:pt x="114" y="102"/>
                    </a:lnTo>
                    <a:lnTo>
                      <a:pt x="102" y="90"/>
                    </a:lnTo>
                    <a:lnTo>
                      <a:pt x="66" y="90"/>
                    </a:lnTo>
                    <a:lnTo>
                      <a:pt x="78" y="84"/>
                    </a:lnTo>
                    <a:lnTo>
                      <a:pt x="84" y="72"/>
                    </a:lnTo>
                    <a:lnTo>
                      <a:pt x="96" y="66"/>
                    </a:lnTo>
                    <a:lnTo>
                      <a:pt x="102" y="54"/>
                    </a:lnTo>
                    <a:lnTo>
                      <a:pt x="114" y="42"/>
                    </a:lnTo>
                    <a:lnTo>
                      <a:pt x="114" y="24"/>
                    </a:lnTo>
                    <a:lnTo>
                      <a:pt x="108" y="12"/>
                    </a:lnTo>
                    <a:lnTo>
                      <a:pt x="96" y="0"/>
                    </a:lnTo>
                    <a:lnTo>
                      <a:pt x="84" y="6"/>
                    </a:lnTo>
                    <a:lnTo>
                      <a:pt x="72" y="2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5" name="Cub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A9DD322-6A20-4A11-AD4C-F125F043FED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932179" y="3679758"/>
                <a:ext cx="326720" cy="122227"/>
              </a:xfrm>
              <a:custGeom>
                <a:avLst/>
                <a:gdLst>
                  <a:gd name="T0" fmla="*/ 2147483647 w 738"/>
                  <a:gd name="T1" fmla="*/ 2147483647 h 270"/>
                  <a:gd name="T2" fmla="*/ 2147483647 w 738"/>
                  <a:gd name="T3" fmla="*/ 2147483647 h 270"/>
                  <a:gd name="T4" fmla="*/ 2147483647 w 738"/>
                  <a:gd name="T5" fmla="*/ 2147483647 h 270"/>
                  <a:gd name="T6" fmla="*/ 2147483647 w 738"/>
                  <a:gd name="T7" fmla="*/ 2147483647 h 270"/>
                  <a:gd name="T8" fmla="*/ 2147483647 w 738"/>
                  <a:gd name="T9" fmla="*/ 2147483647 h 270"/>
                  <a:gd name="T10" fmla="*/ 2147483647 w 738"/>
                  <a:gd name="T11" fmla="*/ 2147483647 h 270"/>
                  <a:gd name="T12" fmla="*/ 2147483647 w 738"/>
                  <a:gd name="T13" fmla="*/ 2147483647 h 270"/>
                  <a:gd name="T14" fmla="*/ 2147483647 w 738"/>
                  <a:gd name="T15" fmla="*/ 2147483647 h 270"/>
                  <a:gd name="T16" fmla="*/ 2147483647 w 738"/>
                  <a:gd name="T17" fmla="*/ 2147483647 h 270"/>
                  <a:gd name="T18" fmla="*/ 2147483647 w 738"/>
                  <a:gd name="T19" fmla="*/ 2147483647 h 270"/>
                  <a:gd name="T20" fmla="*/ 2147483647 w 738"/>
                  <a:gd name="T21" fmla="*/ 2147483647 h 270"/>
                  <a:gd name="T22" fmla="*/ 2147483647 w 738"/>
                  <a:gd name="T23" fmla="*/ 2147483647 h 270"/>
                  <a:gd name="T24" fmla="*/ 2147483647 w 738"/>
                  <a:gd name="T25" fmla="*/ 2147483647 h 270"/>
                  <a:gd name="T26" fmla="*/ 2147483647 w 738"/>
                  <a:gd name="T27" fmla="*/ 2147483647 h 270"/>
                  <a:gd name="T28" fmla="*/ 2147483647 w 738"/>
                  <a:gd name="T29" fmla="*/ 2147483647 h 270"/>
                  <a:gd name="T30" fmla="*/ 2147483647 w 738"/>
                  <a:gd name="T31" fmla="*/ 2147483647 h 270"/>
                  <a:gd name="T32" fmla="*/ 2147483647 w 738"/>
                  <a:gd name="T33" fmla="*/ 2147483647 h 270"/>
                  <a:gd name="T34" fmla="*/ 2147483647 w 738"/>
                  <a:gd name="T35" fmla="*/ 2147483647 h 270"/>
                  <a:gd name="T36" fmla="*/ 2147483647 w 738"/>
                  <a:gd name="T37" fmla="*/ 0 h 270"/>
                  <a:gd name="T38" fmla="*/ 2147483647 w 738"/>
                  <a:gd name="T39" fmla="*/ 2147483647 h 270"/>
                  <a:gd name="T40" fmla="*/ 2147483647 w 738"/>
                  <a:gd name="T41" fmla="*/ 2147483647 h 270"/>
                  <a:gd name="T42" fmla="*/ 2147483647 w 738"/>
                  <a:gd name="T43" fmla="*/ 2147483647 h 270"/>
                  <a:gd name="T44" fmla="*/ 2147483647 w 738"/>
                  <a:gd name="T45" fmla="*/ 2147483647 h 270"/>
                  <a:gd name="T46" fmla="*/ 2147483647 w 738"/>
                  <a:gd name="T47" fmla="*/ 2147483647 h 270"/>
                  <a:gd name="T48" fmla="*/ 2147483647 w 738"/>
                  <a:gd name="T49" fmla="*/ 2147483647 h 270"/>
                  <a:gd name="T50" fmla="*/ 2147483647 w 738"/>
                  <a:gd name="T51" fmla="*/ 2147483647 h 270"/>
                  <a:gd name="T52" fmla="*/ 2147483647 w 738"/>
                  <a:gd name="T53" fmla="*/ 2147483647 h 270"/>
                  <a:gd name="T54" fmla="*/ 2147483647 w 738"/>
                  <a:gd name="T55" fmla="*/ 2147483647 h 270"/>
                  <a:gd name="T56" fmla="*/ 2147483647 w 738"/>
                  <a:gd name="T57" fmla="*/ 2147483647 h 270"/>
                  <a:gd name="T58" fmla="*/ 2147483647 w 738"/>
                  <a:gd name="T59" fmla="*/ 2147483647 h 270"/>
                  <a:gd name="T60" fmla="*/ 2147483647 w 738"/>
                  <a:gd name="T61" fmla="*/ 2147483647 h 270"/>
                  <a:gd name="T62" fmla="*/ 2147483647 w 738"/>
                  <a:gd name="T63" fmla="*/ 2147483647 h 270"/>
                  <a:gd name="T64" fmla="*/ 2147483647 w 738"/>
                  <a:gd name="T65" fmla="*/ 2147483647 h 270"/>
                  <a:gd name="T66" fmla="*/ 2147483647 w 738"/>
                  <a:gd name="T67" fmla="*/ 2147483647 h 270"/>
                  <a:gd name="T68" fmla="*/ 2147483647 w 738"/>
                  <a:gd name="T69" fmla="*/ 2147483647 h 270"/>
                  <a:gd name="T70" fmla="*/ 2147483647 w 738"/>
                  <a:gd name="T71" fmla="*/ 2147483647 h 270"/>
                  <a:gd name="T72" fmla="*/ 2147483647 w 738"/>
                  <a:gd name="T73" fmla="*/ 2147483647 h 270"/>
                  <a:gd name="T74" fmla="*/ 2147483647 w 738"/>
                  <a:gd name="T75" fmla="*/ 2147483647 h 270"/>
                  <a:gd name="T76" fmla="*/ 2147483647 w 738"/>
                  <a:gd name="T77" fmla="*/ 2147483647 h 270"/>
                  <a:gd name="T78" fmla="*/ 2147483647 w 738"/>
                  <a:gd name="T79" fmla="*/ 2147483647 h 270"/>
                  <a:gd name="T80" fmla="*/ 2147483647 w 738"/>
                  <a:gd name="T81" fmla="*/ 2147483647 h 270"/>
                  <a:gd name="T82" fmla="*/ 2147483647 w 738"/>
                  <a:gd name="T83" fmla="*/ 2147483647 h 270"/>
                  <a:gd name="T84" fmla="*/ 2147483647 w 738"/>
                  <a:gd name="T85" fmla="*/ 2147483647 h 270"/>
                  <a:gd name="T86" fmla="*/ 2147483647 w 738"/>
                  <a:gd name="T87" fmla="*/ 2147483647 h 270"/>
                  <a:gd name="T88" fmla="*/ 2147483647 w 738"/>
                  <a:gd name="T89" fmla="*/ 2147483647 h 270"/>
                  <a:gd name="T90" fmla="*/ 2147483647 w 738"/>
                  <a:gd name="T91" fmla="*/ 2147483647 h 270"/>
                  <a:gd name="T92" fmla="*/ 2147483647 w 738"/>
                  <a:gd name="T93" fmla="*/ 2147483647 h 270"/>
                  <a:gd name="T94" fmla="*/ 2147483647 w 738"/>
                  <a:gd name="T95" fmla="*/ 2147483647 h 270"/>
                  <a:gd name="T96" fmla="*/ 2147483647 w 738"/>
                  <a:gd name="T97" fmla="*/ 2147483647 h 270"/>
                  <a:gd name="T98" fmla="*/ 2147483647 w 738"/>
                  <a:gd name="T99" fmla="*/ 2147483647 h 270"/>
                  <a:gd name="T100" fmla="*/ 2147483647 w 738"/>
                  <a:gd name="T101" fmla="*/ 2147483647 h 270"/>
                  <a:gd name="T102" fmla="*/ 2147483647 w 738"/>
                  <a:gd name="T103" fmla="*/ 2147483647 h 270"/>
                  <a:gd name="T104" fmla="*/ 2147483647 w 738"/>
                  <a:gd name="T105" fmla="*/ 2147483647 h 270"/>
                  <a:gd name="T106" fmla="*/ 2147483647 w 738"/>
                  <a:gd name="T107" fmla="*/ 2147483647 h 270"/>
                  <a:gd name="T108" fmla="*/ 2147483647 w 738"/>
                  <a:gd name="T109" fmla="*/ 2147483647 h 270"/>
                  <a:gd name="T110" fmla="*/ 2147483647 w 738"/>
                  <a:gd name="T111" fmla="*/ 2147483647 h 270"/>
                  <a:gd name="T112" fmla="*/ 2147483647 w 738"/>
                  <a:gd name="T113" fmla="*/ 2147483647 h 270"/>
                  <a:gd name="T114" fmla="*/ 2147483647 w 738"/>
                  <a:gd name="T115" fmla="*/ 2147483647 h 27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738"/>
                  <a:gd name="T175" fmla="*/ 0 h 270"/>
                  <a:gd name="T176" fmla="*/ 738 w 738"/>
                  <a:gd name="T177" fmla="*/ 270 h 27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738" h="270">
                    <a:moveTo>
                      <a:pt x="708" y="228"/>
                    </a:moveTo>
                    <a:lnTo>
                      <a:pt x="690" y="222"/>
                    </a:lnTo>
                    <a:lnTo>
                      <a:pt x="666" y="222"/>
                    </a:lnTo>
                    <a:lnTo>
                      <a:pt x="666" y="204"/>
                    </a:lnTo>
                    <a:lnTo>
                      <a:pt x="660" y="198"/>
                    </a:lnTo>
                    <a:lnTo>
                      <a:pt x="648" y="192"/>
                    </a:lnTo>
                    <a:lnTo>
                      <a:pt x="600" y="192"/>
                    </a:lnTo>
                    <a:lnTo>
                      <a:pt x="624" y="168"/>
                    </a:lnTo>
                    <a:lnTo>
                      <a:pt x="612" y="168"/>
                    </a:lnTo>
                    <a:lnTo>
                      <a:pt x="600" y="162"/>
                    </a:lnTo>
                    <a:lnTo>
                      <a:pt x="558" y="162"/>
                    </a:lnTo>
                    <a:lnTo>
                      <a:pt x="534" y="150"/>
                    </a:lnTo>
                    <a:lnTo>
                      <a:pt x="528" y="144"/>
                    </a:lnTo>
                    <a:lnTo>
                      <a:pt x="522" y="144"/>
                    </a:lnTo>
                    <a:lnTo>
                      <a:pt x="528" y="138"/>
                    </a:lnTo>
                    <a:lnTo>
                      <a:pt x="528" y="132"/>
                    </a:lnTo>
                    <a:lnTo>
                      <a:pt x="534" y="126"/>
                    </a:lnTo>
                    <a:lnTo>
                      <a:pt x="534" y="120"/>
                    </a:lnTo>
                    <a:lnTo>
                      <a:pt x="522" y="120"/>
                    </a:lnTo>
                    <a:lnTo>
                      <a:pt x="510" y="114"/>
                    </a:lnTo>
                    <a:lnTo>
                      <a:pt x="504" y="114"/>
                    </a:lnTo>
                    <a:lnTo>
                      <a:pt x="474" y="84"/>
                    </a:lnTo>
                    <a:lnTo>
                      <a:pt x="462" y="78"/>
                    </a:lnTo>
                    <a:lnTo>
                      <a:pt x="450" y="66"/>
                    </a:lnTo>
                    <a:lnTo>
                      <a:pt x="432" y="66"/>
                    </a:lnTo>
                    <a:lnTo>
                      <a:pt x="432" y="84"/>
                    </a:lnTo>
                    <a:lnTo>
                      <a:pt x="444" y="96"/>
                    </a:lnTo>
                    <a:lnTo>
                      <a:pt x="450" y="96"/>
                    </a:lnTo>
                    <a:lnTo>
                      <a:pt x="378" y="60"/>
                    </a:lnTo>
                    <a:lnTo>
                      <a:pt x="372" y="54"/>
                    </a:lnTo>
                    <a:lnTo>
                      <a:pt x="360" y="48"/>
                    </a:lnTo>
                    <a:lnTo>
                      <a:pt x="354" y="36"/>
                    </a:lnTo>
                    <a:lnTo>
                      <a:pt x="342" y="30"/>
                    </a:lnTo>
                    <a:lnTo>
                      <a:pt x="330" y="18"/>
                    </a:lnTo>
                    <a:lnTo>
                      <a:pt x="270" y="18"/>
                    </a:lnTo>
                    <a:lnTo>
                      <a:pt x="258" y="12"/>
                    </a:lnTo>
                    <a:lnTo>
                      <a:pt x="228" y="6"/>
                    </a:lnTo>
                    <a:lnTo>
                      <a:pt x="174" y="0"/>
                    </a:lnTo>
                    <a:lnTo>
                      <a:pt x="126" y="6"/>
                    </a:lnTo>
                    <a:lnTo>
                      <a:pt x="96" y="18"/>
                    </a:lnTo>
                    <a:lnTo>
                      <a:pt x="72" y="42"/>
                    </a:lnTo>
                    <a:lnTo>
                      <a:pt x="60" y="48"/>
                    </a:lnTo>
                    <a:lnTo>
                      <a:pt x="42" y="60"/>
                    </a:lnTo>
                    <a:lnTo>
                      <a:pt x="24" y="66"/>
                    </a:lnTo>
                    <a:lnTo>
                      <a:pt x="12" y="72"/>
                    </a:lnTo>
                    <a:lnTo>
                      <a:pt x="6" y="78"/>
                    </a:lnTo>
                    <a:lnTo>
                      <a:pt x="0" y="78"/>
                    </a:lnTo>
                    <a:lnTo>
                      <a:pt x="72" y="72"/>
                    </a:lnTo>
                    <a:lnTo>
                      <a:pt x="72" y="60"/>
                    </a:lnTo>
                    <a:lnTo>
                      <a:pt x="150" y="54"/>
                    </a:lnTo>
                    <a:lnTo>
                      <a:pt x="174" y="42"/>
                    </a:lnTo>
                    <a:lnTo>
                      <a:pt x="198" y="42"/>
                    </a:lnTo>
                    <a:lnTo>
                      <a:pt x="222" y="54"/>
                    </a:lnTo>
                    <a:lnTo>
                      <a:pt x="222" y="60"/>
                    </a:lnTo>
                    <a:lnTo>
                      <a:pt x="216" y="60"/>
                    </a:lnTo>
                    <a:lnTo>
                      <a:pt x="210" y="66"/>
                    </a:lnTo>
                    <a:lnTo>
                      <a:pt x="198" y="66"/>
                    </a:lnTo>
                    <a:lnTo>
                      <a:pt x="192" y="72"/>
                    </a:lnTo>
                    <a:lnTo>
                      <a:pt x="186" y="72"/>
                    </a:lnTo>
                    <a:lnTo>
                      <a:pt x="204" y="78"/>
                    </a:lnTo>
                    <a:lnTo>
                      <a:pt x="210" y="78"/>
                    </a:lnTo>
                    <a:lnTo>
                      <a:pt x="216" y="84"/>
                    </a:lnTo>
                    <a:lnTo>
                      <a:pt x="228" y="90"/>
                    </a:lnTo>
                    <a:lnTo>
                      <a:pt x="246" y="96"/>
                    </a:lnTo>
                    <a:lnTo>
                      <a:pt x="258" y="102"/>
                    </a:lnTo>
                    <a:lnTo>
                      <a:pt x="276" y="102"/>
                    </a:lnTo>
                    <a:lnTo>
                      <a:pt x="282" y="96"/>
                    </a:lnTo>
                    <a:lnTo>
                      <a:pt x="282" y="90"/>
                    </a:lnTo>
                    <a:lnTo>
                      <a:pt x="294" y="96"/>
                    </a:lnTo>
                    <a:lnTo>
                      <a:pt x="300" y="102"/>
                    </a:lnTo>
                    <a:lnTo>
                      <a:pt x="318" y="114"/>
                    </a:lnTo>
                    <a:lnTo>
                      <a:pt x="342" y="126"/>
                    </a:lnTo>
                    <a:lnTo>
                      <a:pt x="372" y="126"/>
                    </a:lnTo>
                    <a:lnTo>
                      <a:pt x="390" y="120"/>
                    </a:lnTo>
                    <a:lnTo>
                      <a:pt x="402" y="120"/>
                    </a:lnTo>
                    <a:lnTo>
                      <a:pt x="390" y="144"/>
                    </a:lnTo>
                    <a:lnTo>
                      <a:pt x="450" y="168"/>
                    </a:lnTo>
                    <a:lnTo>
                      <a:pt x="474" y="204"/>
                    </a:lnTo>
                    <a:lnTo>
                      <a:pt x="480" y="210"/>
                    </a:lnTo>
                    <a:lnTo>
                      <a:pt x="492" y="216"/>
                    </a:lnTo>
                    <a:lnTo>
                      <a:pt x="498" y="222"/>
                    </a:lnTo>
                    <a:lnTo>
                      <a:pt x="498" y="228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80" y="264"/>
                    </a:lnTo>
                    <a:lnTo>
                      <a:pt x="492" y="258"/>
                    </a:lnTo>
                    <a:lnTo>
                      <a:pt x="504" y="258"/>
                    </a:lnTo>
                    <a:lnTo>
                      <a:pt x="528" y="246"/>
                    </a:lnTo>
                    <a:lnTo>
                      <a:pt x="558" y="246"/>
                    </a:lnTo>
                    <a:lnTo>
                      <a:pt x="558" y="252"/>
                    </a:lnTo>
                    <a:lnTo>
                      <a:pt x="552" y="252"/>
                    </a:lnTo>
                    <a:lnTo>
                      <a:pt x="546" y="258"/>
                    </a:lnTo>
                    <a:lnTo>
                      <a:pt x="546" y="264"/>
                    </a:lnTo>
                    <a:lnTo>
                      <a:pt x="558" y="264"/>
                    </a:lnTo>
                    <a:lnTo>
                      <a:pt x="564" y="270"/>
                    </a:lnTo>
                    <a:lnTo>
                      <a:pt x="612" y="270"/>
                    </a:lnTo>
                    <a:lnTo>
                      <a:pt x="636" y="264"/>
                    </a:lnTo>
                    <a:lnTo>
                      <a:pt x="684" y="258"/>
                    </a:lnTo>
                    <a:lnTo>
                      <a:pt x="720" y="252"/>
                    </a:lnTo>
                    <a:lnTo>
                      <a:pt x="738" y="246"/>
                    </a:lnTo>
                    <a:lnTo>
                      <a:pt x="738" y="240"/>
                    </a:lnTo>
                    <a:lnTo>
                      <a:pt x="732" y="234"/>
                    </a:lnTo>
                    <a:lnTo>
                      <a:pt x="720" y="228"/>
                    </a:lnTo>
                    <a:lnTo>
                      <a:pt x="708" y="228"/>
                    </a:lnTo>
                    <a:close/>
                    <a:moveTo>
                      <a:pt x="114" y="126"/>
                    </a:moveTo>
                    <a:lnTo>
                      <a:pt x="114" y="132"/>
                    </a:lnTo>
                    <a:lnTo>
                      <a:pt x="120" y="138"/>
                    </a:lnTo>
                    <a:lnTo>
                      <a:pt x="132" y="144"/>
                    </a:lnTo>
                    <a:lnTo>
                      <a:pt x="144" y="138"/>
                    </a:lnTo>
                    <a:lnTo>
                      <a:pt x="150" y="138"/>
                    </a:lnTo>
                    <a:lnTo>
                      <a:pt x="156" y="126"/>
                    </a:lnTo>
                    <a:lnTo>
                      <a:pt x="156" y="120"/>
                    </a:lnTo>
                    <a:lnTo>
                      <a:pt x="150" y="114"/>
                    </a:lnTo>
                    <a:lnTo>
                      <a:pt x="138" y="114"/>
                    </a:lnTo>
                    <a:lnTo>
                      <a:pt x="126" y="120"/>
                    </a:lnTo>
                    <a:lnTo>
                      <a:pt x="120" y="120"/>
                    </a:lnTo>
                    <a:lnTo>
                      <a:pt x="114" y="12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lumMod val="50000"/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6" name="Côte d'Ivoir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81B04E0-325D-4808-B029-5EC116648B1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75139" y="4133242"/>
                <a:ext cx="193935" cy="232055"/>
              </a:xfrm>
              <a:custGeom>
                <a:avLst/>
                <a:gdLst>
                  <a:gd name="T0" fmla="*/ 2147483647 w 438"/>
                  <a:gd name="T1" fmla="*/ 2147483647 h 516"/>
                  <a:gd name="T2" fmla="*/ 2147483647 w 438"/>
                  <a:gd name="T3" fmla="*/ 2147483647 h 516"/>
                  <a:gd name="T4" fmla="*/ 2147483647 w 438"/>
                  <a:gd name="T5" fmla="*/ 2147483647 h 516"/>
                  <a:gd name="T6" fmla="*/ 2147483647 w 438"/>
                  <a:gd name="T7" fmla="*/ 2147483647 h 516"/>
                  <a:gd name="T8" fmla="*/ 2147483647 w 438"/>
                  <a:gd name="T9" fmla="*/ 2147483647 h 516"/>
                  <a:gd name="T10" fmla="*/ 2147483647 w 438"/>
                  <a:gd name="T11" fmla="*/ 2147483647 h 516"/>
                  <a:gd name="T12" fmla="*/ 2147483647 w 438"/>
                  <a:gd name="T13" fmla="*/ 2147483647 h 516"/>
                  <a:gd name="T14" fmla="*/ 2147483647 w 438"/>
                  <a:gd name="T15" fmla="*/ 2147483647 h 516"/>
                  <a:gd name="T16" fmla="*/ 2147483647 w 438"/>
                  <a:gd name="T17" fmla="*/ 2147483647 h 516"/>
                  <a:gd name="T18" fmla="*/ 2147483647 w 438"/>
                  <a:gd name="T19" fmla="*/ 2147483647 h 516"/>
                  <a:gd name="T20" fmla="*/ 2147483647 w 438"/>
                  <a:gd name="T21" fmla="*/ 2147483647 h 516"/>
                  <a:gd name="T22" fmla="*/ 2147483647 w 438"/>
                  <a:gd name="T23" fmla="*/ 2147483647 h 516"/>
                  <a:gd name="T24" fmla="*/ 2147483647 w 438"/>
                  <a:gd name="T25" fmla="*/ 2147483647 h 516"/>
                  <a:gd name="T26" fmla="*/ 2147483647 w 438"/>
                  <a:gd name="T27" fmla="*/ 2147483647 h 516"/>
                  <a:gd name="T28" fmla="*/ 2147483647 w 438"/>
                  <a:gd name="T29" fmla="*/ 2147483647 h 516"/>
                  <a:gd name="T30" fmla="*/ 2147483647 w 438"/>
                  <a:gd name="T31" fmla="*/ 2147483647 h 516"/>
                  <a:gd name="T32" fmla="*/ 2147483647 w 438"/>
                  <a:gd name="T33" fmla="*/ 0 h 516"/>
                  <a:gd name="T34" fmla="*/ 2147483647 w 438"/>
                  <a:gd name="T35" fmla="*/ 2147483647 h 516"/>
                  <a:gd name="T36" fmla="*/ 2147483647 w 438"/>
                  <a:gd name="T37" fmla="*/ 2147483647 h 516"/>
                  <a:gd name="T38" fmla="*/ 2147483647 w 438"/>
                  <a:gd name="T39" fmla="*/ 2147483647 h 516"/>
                  <a:gd name="T40" fmla="*/ 2147483647 w 438"/>
                  <a:gd name="T41" fmla="*/ 2147483647 h 516"/>
                  <a:gd name="T42" fmla="*/ 2147483647 w 438"/>
                  <a:gd name="T43" fmla="*/ 2147483647 h 516"/>
                  <a:gd name="T44" fmla="*/ 2147483647 w 438"/>
                  <a:gd name="T45" fmla="*/ 2147483647 h 516"/>
                  <a:gd name="T46" fmla="*/ 2147483647 w 438"/>
                  <a:gd name="T47" fmla="*/ 2147483647 h 516"/>
                  <a:gd name="T48" fmla="*/ 2147483647 w 438"/>
                  <a:gd name="T49" fmla="*/ 2147483647 h 516"/>
                  <a:gd name="T50" fmla="*/ 2147483647 w 438"/>
                  <a:gd name="T51" fmla="*/ 2147483647 h 516"/>
                  <a:gd name="T52" fmla="*/ 2147483647 w 438"/>
                  <a:gd name="T53" fmla="*/ 2147483647 h 516"/>
                  <a:gd name="T54" fmla="*/ 2147483647 w 438"/>
                  <a:gd name="T55" fmla="*/ 2147483647 h 516"/>
                  <a:gd name="T56" fmla="*/ 2147483647 w 438"/>
                  <a:gd name="T57" fmla="*/ 2147483647 h 516"/>
                  <a:gd name="T58" fmla="*/ 2147483647 w 438"/>
                  <a:gd name="T59" fmla="*/ 2147483647 h 516"/>
                  <a:gd name="T60" fmla="*/ 2147483647 w 438"/>
                  <a:gd name="T61" fmla="*/ 2147483647 h 516"/>
                  <a:gd name="T62" fmla="*/ 2147483647 w 438"/>
                  <a:gd name="T63" fmla="*/ 2147483647 h 516"/>
                  <a:gd name="T64" fmla="*/ 2147483647 w 438"/>
                  <a:gd name="T65" fmla="*/ 2147483647 h 516"/>
                  <a:gd name="T66" fmla="*/ 2147483647 w 438"/>
                  <a:gd name="T67" fmla="*/ 2147483647 h 516"/>
                  <a:gd name="T68" fmla="*/ 2147483647 w 438"/>
                  <a:gd name="T69" fmla="*/ 2147483647 h 516"/>
                  <a:gd name="T70" fmla="*/ 2147483647 w 438"/>
                  <a:gd name="T71" fmla="*/ 2147483647 h 516"/>
                  <a:gd name="T72" fmla="*/ 2147483647 w 438"/>
                  <a:gd name="T73" fmla="*/ 2147483647 h 516"/>
                  <a:gd name="T74" fmla="*/ 2147483647 w 438"/>
                  <a:gd name="T75" fmla="*/ 2147483647 h 516"/>
                  <a:gd name="T76" fmla="*/ 2147483647 w 438"/>
                  <a:gd name="T77" fmla="*/ 2147483647 h 516"/>
                  <a:gd name="T78" fmla="*/ 2147483647 w 438"/>
                  <a:gd name="T79" fmla="*/ 2147483647 h 516"/>
                  <a:gd name="T80" fmla="*/ 2147483647 w 438"/>
                  <a:gd name="T81" fmla="*/ 2147483647 h 516"/>
                  <a:gd name="T82" fmla="*/ 2147483647 w 438"/>
                  <a:gd name="T83" fmla="*/ 2147483647 h 516"/>
                  <a:gd name="T84" fmla="*/ 2147483647 w 438"/>
                  <a:gd name="T85" fmla="*/ 2147483647 h 516"/>
                  <a:gd name="T86" fmla="*/ 2147483647 w 438"/>
                  <a:gd name="T87" fmla="*/ 2147483647 h 516"/>
                  <a:gd name="T88" fmla="*/ 2147483647 w 438"/>
                  <a:gd name="T89" fmla="*/ 2147483647 h 51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38"/>
                  <a:gd name="T136" fmla="*/ 0 h 516"/>
                  <a:gd name="T137" fmla="*/ 438 w 438"/>
                  <a:gd name="T138" fmla="*/ 516 h 51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38" h="516">
                    <a:moveTo>
                      <a:pt x="402" y="408"/>
                    </a:moveTo>
                    <a:lnTo>
                      <a:pt x="402" y="402"/>
                    </a:lnTo>
                    <a:lnTo>
                      <a:pt x="396" y="396"/>
                    </a:lnTo>
                    <a:lnTo>
                      <a:pt x="390" y="384"/>
                    </a:lnTo>
                    <a:lnTo>
                      <a:pt x="390" y="372"/>
                    </a:lnTo>
                    <a:lnTo>
                      <a:pt x="384" y="354"/>
                    </a:lnTo>
                    <a:lnTo>
                      <a:pt x="378" y="342"/>
                    </a:lnTo>
                    <a:lnTo>
                      <a:pt x="378" y="318"/>
                    </a:lnTo>
                    <a:lnTo>
                      <a:pt x="384" y="312"/>
                    </a:lnTo>
                    <a:lnTo>
                      <a:pt x="390" y="300"/>
                    </a:lnTo>
                    <a:lnTo>
                      <a:pt x="408" y="282"/>
                    </a:lnTo>
                    <a:lnTo>
                      <a:pt x="408" y="270"/>
                    </a:lnTo>
                    <a:lnTo>
                      <a:pt x="414" y="258"/>
                    </a:lnTo>
                    <a:lnTo>
                      <a:pt x="414" y="240"/>
                    </a:lnTo>
                    <a:lnTo>
                      <a:pt x="420" y="228"/>
                    </a:lnTo>
                    <a:lnTo>
                      <a:pt x="426" y="222"/>
                    </a:lnTo>
                    <a:lnTo>
                      <a:pt x="438" y="198"/>
                    </a:lnTo>
                    <a:lnTo>
                      <a:pt x="438" y="186"/>
                    </a:lnTo>
                    <a:lnTo>
                      <a:pt x="432" y="174"/>
                    </a:lnTo>
                    <a:lnTo>
                      <a:pt x="432" y="162"/>
                    </a:lnTo>
                    <a:lnTo>
                      <a:pt x="426" y="150"/>
                    </a:lnTo>
                    <a:lnTo>
                      <a:pt x="426" y="138"/>
                    </a:lnTo>
                    <a:lnTo>
                      <a:pt x="420" y="132"/>
                    </a:lnTo>
                    <a:lnTo>
                      <a:pt x="420" y="126"/>
                    </a:lnTo>
                    <a:lnTo>
                      <a:pt x="432" y="126"/>
                    </a:lnTo>
                    <a:lnTo>
                      <a:pt x="426" y="96"/>
                    </a:lnTo>
                    <a:lnTo>
                      <a:pt x="408" y="102"/>
                    </a:lnTo>
                    <a:lnTo>
                      <a:pt x="408" y="90"/>
                    </a:lnTo>
                    <a:lnTo>
                      <a:pt x="390" y="72"/>
                    </a:lnTo>
                    <a:lnTo>
                      <a:pt x="372" y="66"/>
                    </a:lnTo>
                    <a:lnTo>
                      <a:pt x="342" y="66"/>
                    </a:lnTo>
                    <a:lnTo>
                      <a:pt x="318" y="78"/>
                    </a:lnTo>
                    <a:lnTo>
                      <a:pt x="318" y="84"/>
                    </a:lnTo>
                    <a:lnTo>
                      <a:pt x="312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2" y="84"/>
                    </a:lnTo>
                    <a:lnTo>
                      <a:pt x="276" y="78"/>
                    </a:lnTo>
                    <a:lnTo>
                      <a:pt x="264" y="72"/>
                    </a:lnTo>
                    <a:lnTo>
                      <a:pt x="258" y="60"/>
                    </a:lnTo>
                    <a:lnTo>
                      <a:pt x="258" y="48"/>
                    </a:lnTo>
                    <a:lnTo>
                      <a:pt x="252" y="42"/>
                    </a:lnTo>
                    <a:lnTo>
                      <a:pt x="252" y="36"/>
                    </a:lnTo>
                    <a:lnTo>
                      <a:pt x="228" y="42"/>
                    </a:lnTo>
                    <a:lnTo>
                      <a:pt x="228" y="18"/>
                    </a:lnTo>
                    <a:lnTo>
                      <a:pt x="216" y="18"/>
                    </a:lnTo>
                    <a:lnTo>
                      <a:pt x="210" y="24"/>
                    </a:lnTo>
                    <a:lnTo>
                      <a:pt x="204" y="36"/>
                    </a:lnTo>
                    <a:lnTo>
                      <a:pt x="198" y="42"/>
                    </a:lnTo>
                    <a:lnTo>
                      <a:pt x="174" y="36"/>
                    </a:lnTo>
                    <a:lnTo>
                      <a:pt x="174" y="0"/>
                    </a:lnTo>
                    <a:lnTo>
                      <a:pt x="162" y="24"/>
                    </a:lnTo>
                    <a:lnTo>
                      <a:pt x="150" y="6"/>
                    </a:lnTo>
                    <a:lnTo>
                      <a:pt x="144" y="30"/>
                    </a:lnTo>
                    <a:lnTo>
                      <a:pt x="126" y="30"/>
                    </a:lnTo>
                    <a:lnTo>
                      <a:pt x="120" y="48"/>
                    </a:lnTo>
                    <a:lnTo>
                      <a:pt x="102" y="30"/>
                    </a:lnTo>
                    <a:lnTo>
                      <a:pt x="84" y="24"/>
                    </a:lnTo>
                    <a:lnTo>
                      <a:pt x="72" y="24"/>
                    </a:lnTo>
                    <a:lnTo>
                      <a:pt x="66" y="30"/>
                    </a:lnTo>
                    <a:lnTo>
                      <a:pt x="66" y="48"/>
                    </a:lnTo>
                    <a:lnTo>
                      <a:pt x="54" y="42"/>
                    </a:lnTo>
                    <a:lnTo>
                      <a:pt x="36" y="66"/>
                    </a:lnTo>
                    <a:lnTo>
                      <a:pt x="42" y="102"/>
                    </a:lnTo>
                    <a:lnTo>
                      <a:pt x="60" y="108"/>
                    </a:lnTo>
                    <a:lnTo>
                      <a:pt x="48" y="126"/>
                    </a:lnTo>
                    <a:lnTo>
                      <a:pt x="66" y="132"/>
                    </a:lnTo>
                    <a:lnTo>
                      <a:pt x="60" y="138"/>
                    </a:lnTo>
                    <a:lnTo>
                      <a:pt x="54" y="150"/>
                    </a:lnTo>
                    <a:lnTo>
                      <a:pt x="54" y="162"/>
                    </a:lnTo>
                    <a:lnTo>
                      <a:pt x="60" y="162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78" y="180"/>
                    </a:lnTo>
                    <a:lnTo>
                      <a:pt x="72" y="186"/>
                    </a:lnTo>
                    <a:lnTo>
                      <a:pt x="72" y="192"/>
                    </a:lnTo>
                    <a:lnTo>
                      <a:pt x="66" y="186"/>
                    </a:lnTo>
                    <a:lnTo>
                      <a:pt x="54" y="186"/>
                    </a:lnTo>
                    <a:lnTo>
                      <a:pt x="48" y="180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36" y="204"/>
                    </a:lnTo>
                    <a:lnTo>
                      <a:pt x="48" y="210"/>
                    </a:lnTo>
                    <a:lnTo>
                      <a:pt x="54" y="222"/>
                    </a:lnTo>
                    <a:lnTo>
                      <a:pt x="36" y="222"/>
                    </a:lnTo>
                    <a:lnTo>
                      <a:pt x="36" y="228"/>
                    </a:lnTo>
                    <a:lnTo>
                      <a:pt x="42" y="234"/>
                    </a:lnTo>
                    <a:lnTo>
                      <a:pt x="42" y="252"/>
                    </a:lnTo>
                    <a:lnTo>
                      <a:pt x="36" y="258"/>
                    </a:lnTo>
                    <a:lnTo>
                      <a:pt x="30" y="258"/>
                    </a:lnTo>
                    <a:lnTo>
                      <a:pt x="18" y="252"/>
                    </a:lnTo>
                    <a:lnTo>
                      <a:pt x="12" y="246"/>
                    </a:lnTo>
                    <a:lnTo>
                      <a:pt x="6" y="246"/>
                    </a:lnTo>
                    <a:lnTo>
                      <a:pt x="24" y="282"/>
                    </a:lnTo>
                    <a:lnTo>
                      <a:pt x="24" y="306"/>
                    </a:lnTo>
                    <a:lnTo>
                      <a:pt x="18" y="324"/>
                    </a:lnTo>
                    <a:lnTo>
                      <a:pt x="6" y="330"/>
                    </a:lnTo>
                    <a:lnTo>
                      <a:pt x="0" y="342"/>
                    </a:lnTo>
                    <a:lnTo>
                      <a:pt x="6" y="348"/>
                    </a:lnTo>
                    <a:lnTo>
                      <a:pt x="24" y="348"/>
                    </a:lnTo>
                    <a:lnTo>
                      <a:pt x="24" y="360"/>
                    </a:lnTo>
                    <a:lnTo>
                      <a:pt x="60" y="354"/>
                    </a:lnTo>
                    <a:lnTo>
                      <a:pt x="60" y="384"/>
                    </a:lnTo>
                    <a:lnTo>
                      <a:pt x="90" y="414"/>
                    </a:lnTo>
                    <a:lnTo>
                      <a:pt x="90" y="438"/>
                    </a:lnTo>
                    <a:lnTo>
                      <a:pt x="84" y="450"/>
                    </a:lnTo>
                    <a:lnTo>
                      <a:pt x="84" y="462"/>
                    </a:lnTo>
                    <a:lnTo>
                      <a:pt x="78" y="468"/>
                    </a:lnTo>
                    <a:lnTo>
                      <a:pt x="78" y="516"/>
                    </a:lnTo>
                    <a:lnTo>
                      <a:pt x="90" y="516"/>
                    </a:lnTo>
                    <a:lnTo>
                      <a:pt x="96" y="510"/>
                    </a:lnTo>
                    <a:lnTo>
                      <a:pt x="102" y="498"/>
                    </a:lnTo>
                    <a:lnTo>
                      <a:pt x="114" y="498"/>
                    </a:lnTo>
                    <a:lnTo>
                      <a:pt x="126" y="486"/>
                    </a:lnTo>
                    <a:lnTo>
                      <a:pt x="138" y="480"/>
                    </a:lnTo>
                    <a:lnTo>
                      <a:pt x="198" y="456"/>
                    </a:lnTo>
                    <a:lnTo>
                      <a:pt x="228" y="450"/>
                    </a:lnTo>
                    <a:lnTo>
                      <a:pt x="264" y="450"/>
                    </a:lnTo>
                    <a:lnTo>
                      <a:pt x="270" y="444"/>
                    </a:lnTo>
                    <a:lnTo>
                      <a:pt x="282" y="444"/>
                    </a:lnTo>
                    <a:lnTo>
                      <a:pt x="294" y="438"/>
                    </a:lnTo>
                    <a:lnTo>
                      <a:pt x="330" y="438"/>
                    </a:lnTo>
                    <a:lnTo>
                      <a:pt x="336" y="444"/>
                    </a:lnTo>
                    <a:lnTo>
                      <a:pt x="342" y="444"/>
                    </a:lnTo>
                    <a:lnTo>
                      <a:pt x="348" y="450"/>
                    </a:lnTo>
                    <a:lnTo>
                      <a:pt x="366" y="450"/>
                    </a:lnTo>
                    <a:lnTo>
                      <a:pt x="378" y="438"/>
                    </a:lnTo>
                    <a:lnTo>
                      <a:pt x="384" y="438"/>
                    </a:lnTo>
                    <a:lnTo>
                      <a:pt x="384" y="444"/>
                    </a:lnTo>
                    <a:lnTo>
                      <a:pt x="396" y="456"/>
                    </a:lnTo>
                    <a:lnTo>
                      <a:pt x="408" y="462"/>
                    </a:lnTo>
                    <a:lnTo>
                      <a:pt x="420" y="462"/>
                    </a:lnTo>
                    <a:lnTo>
                      <a:pt x="426" y="468"/>
                    </a:lnTo>
                    <a:lnTo>
                      <a:pt x="426" y="414"/>
                    </a:lnTo>
                    <a:lnTo>
                      <a:pt x="402" y="40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7" name="Cong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BA294B1-7103-43B7-90D8-FB7D429952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5570" y="4326323"/>
                <a:ext cx="597534" cy="681993"/>
              </a:xfrm>
              <a:custGeom>
                <a:avLst/>
                <a:gdLst>
                  <a:gd name="T0" fmla="*/ 2147483647 w 1350"/>
                  <a:gd name="T1" fmla="*/ 2147483647 h 1518"/>
                  <a:gd name="T2" fmla="*/ 2147483647 w 1350"/>
                  <a:gd name="T3" fmla="*/ 2147483647 h 1518"/>
                  <a:gd name="T4" fmla="*/ 2147483647 w 1350"/>
                  <a:gd name="T5" fmla="*/ 2147483647 h 1518"/>
                  <a:gd name="T6" fmla="*/ 2147483647 w 1350"/>
                  <a:gd name="T7" fmla="*/ 2147483647 h 1518"/>
                  <a:gd name="T8" fmla="*/ 2147483647 w 1350"/>
                  <a:gd name="T9" fmla="*/ 2147483647 h 1518"/>
                  <a:gd name="T10" fmla="*/ 2147483647 w 1350"/>
                  <a:gd name="T11" fmla="*/ 2147483647 h 1518"/>
                  <a:gd name="T12" fmla="*/ 2147483647 w 1350"/>
                  <a:gd name="T13" fmla="*/ 2147483647 h 1518"/>
                  <a:gd name="T14" fmla="*/ 2147483647 w 1350"/>
                  <a:gd name="T15" fmla="*/ 2147483647 h 1518"/>
                  <a:gd name="T16" fmla="*/ 2147483647 w 1350"/>
                  <a:gd name="T17" fmla="*/ 2147483647 h 1518"/>
                  <a:gd name="T18" fmla="*/ 2147483647 w 1350"/>
                  <a:gd name="T19" fmla="*/ 2147483647 h 1518"/>
                  <a:gd name="T20" fmla="*/ 2147483647 w 1350"/>
                  <a:gd name="T21" fmla="*/ 2147483647 h 1518"/>
                  <a:gd name="T22" fmla="*/ 2147483647 w 1350"/>
                  <a:gd name="T23" fmla="*/ 2147483647 h 1518"/>
                  <a:gd name="T24" fmla="*/ 2147483647 w 1350"/>
                  <a:gd name="T25" fmla="*/ 2147483647 h 1518"/>
                  <a:gd name="T26" fmla="*/ 2147483647 w 1350"/>
                  <a:gd name="T27" fmla="*/ 2147483647 h 1518"/>
                  <a:gd name="T28" fmla="*/ 2147483647 w 1350"/>
                  <a:gd name="T29" fmla="*/ 2147483647 h 1518"/>
                  <a:gd name="T30" fmla="*/ 2147483647 w 1350"/>
                  <a:gd name="T31" fmla="*/ 2147483647 h 1518"/>
                  <a:gd name="T32" fmla="*/ 2147483647 w 1350"/>
                  <a:gd name="T33" fmla="*/ 2147483647 h 1518"/>
                  <a:gd name="T34" fmla="*/ 2147483647 w 1350"/>
                  <a:gd name="T35" fmla="*/ 2147483647 h 1518"/>
                  <a:gd name="T36" fmla="*/ 2147483647 w 1350"/>
                  <a:gd name="T37" fmla="*/ 2147483647 h 1518"/>
                  <a:gd name="T38" fmla="*/ 2147483647 w 1350"/>
                  <a:gd name="T39" fmla="*/ 2147483647 h 1518"/>
                  <a:gd name="T40" fmla="*/ 2147483647 w 1350"/>
                  <a:gd name="T41" fmla="*/ 2147483647 h 1518"/>
                  <a:gd name="T42" fmla="*/ 2147483647 w 1350"/>
                  <a:gd name="T43" fmla="*/ 2147483647 h 1518"/>
                  <a:gd name="T44" fmla="*/ 2147483647 w 1350"/>
                  <a:gd name="T45" fmla="*/ 2147483647 h 1518"/>
                  <a:gd name="T46" fmla="*/ 2147483647 w 1350"/>
                  <a:gd name="T47" fmla="*/ 2147483647 h 1518"/>
                  <a:gd name="T48" fmla="*/ 2147483647 w 1350"/>
                  <a:gd name="T49" fmla="*/ 2147483647 h 1518"/>
                  <a:gd name="T50" fmla="*/ 2147483647 w 1350"/>
                  <a:gd name="T51" fmla="*/ 2147483647 h 1518"/>
                  <a:gd name="T52" fmla="*/ 2147483647 w 1350"/>
                  <a:gd name="T53" fmla="*/ 2147483647 h 1518"/>
                  <a:gd name="T54" fmla="*/ 2147483647 w 1350"/>
                  <a:gd name="T55" fmla="*/ 2147483647 h 1518"/>
                  <a:gd name="T56" fmla="*/ 2147483647 w 1350"/>
                  <a:gd name="T57" fmla="*/ 2147483647 h 1518"/>
                  <a:gd name="T58" fmla="*/ 2147483647 w 1350"/>
                  <a:gd name="T59" fmla="*/ 2147483647 h 1518"/>
                  <a:gd name="T60" fmla="*/ 2147483647 w 1350"/>
                  <a:gd name="T61" fmla="*/ 2147483647 h 1518"/>
                  <a:gd name="T62" fmla="*/ 2147483647 w 1350"/>
                  <a:gd name="T63" fmla="*/ 2147483647 h 1518"/>
                  <a:gd name="T64" fmla="*/ 2147483647 w 1350"/>
                  <a:gd name="T65" fmla="*/ 2147483647 h 1518"/>
                  <a:gd name="T66" fmla="*/ 2147483647 w 1350"/>
                  <a:gd name="T67" fmla="*/ 2147483647 h 1518"/>
                  <a:gd name="T68" fmla="*/ 2147483647 w 1350"/>
                  <a:gd name="T69" fmla="*/ 2147483647 h 1518"/>
                  <a:gd name="T70" fmla="*/ 2147483647 w 1350"/>
                  <a:gd name="T71" fmla="*/ 2147483647 h 1518"/>
                  <a:gd name="T72" fmla="*/ 2147483647 w 1350"/>
                  <a:gd name="T73" fmla="*/ 2147483647 h 1518"/>
                  <a:gd name="T74" fmla="*/ 2147483647 w 1350"/>
                  <a:gd name="T75" fmla="*/ 2147483647 h 1518"/>
                  <a:gd name="T76" fmla="*/ 2147483647 w 1350"/>
                  <a:gd name="T77" fmla="*/ 2147483647 h 1518"/>
                  <a:gd name="T78" fmla="*/ 2147483647 w 1350"/>
                  <a:gd name="T79" fmla="*/ 2147483647 h 1518"/>
                  <a:gd name="T80" fmla="*/ 2147483647 w 1350"/>
                  <a:gd name="T81" fmla="*/ 2147483647 h 1518"/>
                  <a:gd name="T82" fmla="*/ 2147483647 w 1350"/>
                  <a:gd name="T83" fmla="*/ 2147483647 h 1518"/>
                  <a:gd name="T84" fmla="*/ 2147483647 w 1350"/>
                  <a:gd name="T85" fmla="*/ 2147483647 h 1518"/>
                  <a:gd name="T86" fmla="*/ 2147483647 w 1350"/>
                  <a:gd name="T87" fmla="*/ 2147483647 h 1518"/>
                  <a:gd name="T88" fmla="*/ 2147483647 w 1350"/>
                  <a:gd name="T89" fmla="*/ 2147483647 h 1518"/>
                  <a:gd name="T90" fmla="*/ 2147483647 w 1350"/>
                  <a:gd name="T91" fmla="*/ 2147483647 h 1518"/>
                  <a:gd name="T92" fmla="*/ 2147483647 w 1350"/>
                  <a:gd name="T93" fmla="*/ 2147483647 h 1518"/>
                  <a:gd name="T94" fmla="*/ 2147483647 w 1350"/>
                  <a:gd name="T95" fmla="*/ 2147483647 h 1518"/>
                  <a:gd name="T96" fmla="*/ 2147483647 w 1350"/>
                  <a:gd name="T97" fmla="*/ 2147483647 h 1518"/>
                  <a:gd name="T98" fmla="*/ 2147483647 w 1350"/>
                  <a:gd name="T99" fmla="*/ 2147483647 h 1518"/>
                  <a:gd name="T100" fmla="*/ 2147483647 w 1350"/>
                  <a:gd name="T101" fmla="*/ 2147483647 h 1518"/>
                  <a:gd name="T102" fmla="*/ 2147483647 w 1350"/>
                  <a:gd name="T103" fmla="*/ 2147483647 h 1518"/>
                  <a:gd name="T104" fmla="*/ 2147483647 w 1350"/>
                  <a:gd name="T105" fmla="*/ 2147483647 h 1518"/>
                  <a:gd name="T106" fmla="*/ 2147483647 w 1350"/>
                  <a:gd name="T107" fmla="*/ 2147483647 h 1518"/>
                  <a:gd name="T108" fmla="*/ 2147483647 w 1350"/>
                  <a:gd name="T109" fmla="*/ 2147483647 h 1518"/>
                  <a:gd name="T110" fmla="*/ 2147483647 w 1350"/>
                  <a:gd name="T111" fmla="*/ 2147483647 h 1518"/>
                  <a:gd name="T112" fmla="*/ 2147483647 w 1350"/>
                  <a:gd name="T113" fmla="*/ 2147483647 h 1518"/>
                  <a:gd name="T114" fmla="*/ 2147483647 w 1350"/>
                  <a:gd name="T115" fmla="*/ 2147483647 h 1518"/>
                  <a:gd name="T116" fmla="*/ 2147483647 w 1350"/>
                  <a:gd name="T117" fmla="*/ 2147483647 h 1518"/>
                  <a:gd name="T118" fmla="*/ 2147483647 w 1350"/>
                  <a:gd name="T119" fmla="*/ 2147483647 h 1518"/>
                  <a:gd name="T120" fmla="*/ 2147483647 w 1350"/>
                  <a:gd name="T121" fmla="*/ 2147483647 h 1518"/>
                  <a:gd name="T122" fmla="*/ 2147483647 w 1350"/>
                  <a:gd name="T123" fmla="*/ 2147483647 h 1518"/>
                  <a:gd name="T124" fmla="*/ 2147483647 w 1350"/>
                  <a:gd name="T125" fmla="*/ 2147483647 h 151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50"/>
                  <a:gd name="T190" fmla="*/ 0 h 1518"/>
                  <a:gd name="T191" fmla="*/ 1350 w 1350"/>
                  <a:gd name="T192" fmla="*/ 1518 h 151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50" h="1518">
                    <a:moveTo>
                      <a:pt x="1242" y="468"/>
                    </a:moveTo>
                    <a:lnTo>
                      <a:pt x="1242" y="438"/>
                    </a:lnTo>
                    <a:lnTo>
                      <a:pt x="1260" y="366"/>
                    </a:lnTo>
                    <a:lnTo>
                      <a:pt x="1278" y="354"/>
                    </a:lnTo>
                    <a:lnTo>
                      <a:pt x="1278" y="342"/>
                    </a:lnTo>
                    <a:lnTo>
                      <a:pt x="1302" y="330"/>
                    </a:lnTo>
                    <a:lnTo>
                      <a:pt x="1308" y="318"/>
                    </a:lnTo>
                    <a:lnTo>
                      <a:pt x="1320" y="312"/>
                    </a:lnTo>
                    <a:lnTo>
                      <a:pt x="1332" y="288"/>
                    </a:lnTo>
                    <a:lnTo>
                      <a:pt x="1344" y="276"/>
                    </a:lnTo>
                    <a:lnTo>
                      <a:pt x="1350" y="264"/>
                    </a:lnTo>
                    <a:lnTo>
                      <a:pt x="1350" y="252"/>
                    </a:lnTo>
                    <a:lnTo>
                      <a:pt x="1344" y="246"/>
                    </a:lnTo>
                    <a:lnTo>
                      <a:pt x="1332" y="240"/>
                    </a:lnTo>
                    <a:lnTo>
                      <a:pt x="1320" y="240"/>
                    </a:lnTo>
                    <a:lnTo>
                      <a:pt x="1314" y="234"/>
                    </a:lnTo>
                    <a:lnTo>
                      <a:pt x="1314" y="222"/>
                    </a:lnTo>
                    <a:lnTo>
                      <a:pt x="1320" y="210"/>
                    </a:lnTo>
                    <a:lnTo>
                      <a:pt x="1326" y="204"/>
                    </a:lnTo>
                    <a:lnTo>
                      <a:pt x="1326" y="198"/>
                    </a:lnTo>
                    <a:lnTo>
                      <a:pt x="1320" y="192"/>
                    </a:lnTo>
                    <a:lnTo>
                      <a:pt x="1308" y="186"/>
                    </a:lnTo>
                    <a:lnTo>
                      <a:pt x="1326" y="168"/>
                    </a:lnTo>
                    <a:lnTo>
                      <a:pt x="1320" y="144"/>
                    </a:lnTo>
                    <a:lnTo>
                      <a:pt x="1302" y="144"/>
                    </a:lnTo>
                    <a:lnTo>
                      <a:pt x="1296" y="120"/>
                    </a:lnTo>
                    <a:lnTo>
                      <a:pt x="1290" y="120"/>
                    </a:lnTo>
                    <a:lnTo>
                      <a:pt x="1284" y="114"/>
                    </a:lnTo>
                    <a:lnTo>
                      <a:pt x="1272" y="108"/>
                    </a:lnTo>
                    <a:lnTo>
                      <a:pt x="1260" y="96"/>
                    </a:lnTo>
                    <a:lnTo>
                      <a:pt x="1254" y="84"/>
                    </a:lnTo>
                    <a:lnTo>
                      <a:pt x="1248" y="66"/>
                    </a:lnTo>
                    <a:lnTo>
                      <a:pt x="1236" y="60"/>
                    </a:lnTo>
                    <a:lnTo>
                      <a:pt x="1230" y="54"/>
                    </a:lnTo>
                    <a:lnTo>
                      <a:pt x="1218" y="66"/>
                    </a:lnTo>
                    <a:lnTo>
                      <a:pt x="1218" y="72"/>
                    </a:lnTo>
                    <a:lnTo>
                      <a:pt x="1206" y="84"/>
                    </a:lnTo>
                    <a:lnTo>
                      <a:pt x="1200" y="84"/>
                    </a:lnTo>
                    <a:lnTo>
                      <a:pt x="1188" y="78"/>
                    </a:lnTo>
                    <a:lnTo>
                      <a:pt x="1188" y="72"/>
                    </a:lnTo>
                    <a:lnTo>
                      <a:pt x="1176" y="66"/>
                    </a:lnTo>
                    <a:lnTo>
                      <a:pt x="1164" y="66"/>
                    </a:lnTo>
                    <a:lnTo>
                      <a:pt x="1158" y="72"/>
                    </a:lnTo>
                    <a:lnTo>
                      <a:pt x="1152" y="84"/>
                    </a:lnTo>
                    <a:lnTo>
                      <a:pt x="1146" y="90"/>
                    </a:lnTo>
                    <a:lnTo>
                      <a:pt x="1098" y="66"/>
                    </a:lnTo>
                    <a:lnTo>
                      <a:pt x="1098" y="42"/>
                    </a:lnTo>
                    <a:lnTo>
                      <a:pt x="1068" y="18"/>
                    </a:lnTo>
                    <a:lnTo>
                      <a:pt x="1062" y="6"/>
                    </a:lnTo>
                    <a:lnTo>
                      <a:pt x="1044" y="24"/>
                    </a:lnTo>
                    <a:lnTo>
                      <a:pt x="1026" y="30"/>
                    </a:lnTo>
                    <a:lnTo>
                      <a:pt x="1002" y="30"/>
                    </a:lnTo>
                    <a:lnTo>
                      <a:pt x="990" y="18"/>
                    </a:lnTo>
                    <a:lnTo>
                      <a:pt x="990" y="12"/>
                    </a:lnTo>
                    <a:lnTo>
                      <a:pt x="954" y="18"/>
                    </a:lnTo>
                    <a:lnTo>
                      <a:pt x="942" y="6"/>
                    </a:lnTo>
                    <a:lnTo>
                      <a:pt x="942" y="0"/>
                    </a:lnTo>
                    <a:lnTo>
                      <a:pt x="936" y="0"/>
                    </a:lnTo>
                    <a:lnTo>
                      <a:pt x="918" y="18"/>
                    </a:lnTo>
                    <a:lnTo>
                      <a:pt x="918" y="30"/>
                    </a:lnTo>
                    <a:lnTo>
                      <a:pt x="906" y="30"/>
                    </a:lnTo>
                    <a:lnTo>
                      <a:pt x="900" y="36"/>
                    </a:lnTo>
                    <a:lnTo>
                      <a:pt x="876" y="36"/>
                    </a:lnTo>
                    <a:lnTo>
                      <a:pt x="864" y="24"/>
                    </a:lnTo>
                    <a:lnTo>
                      <a:pt x="840" y="42"/>
                    </a:lnTo>
                    <a:lnTo>
                      <a:pt x="822" y="42"/>
                    </a:lnTo>
                    <a:lnTo>
                      <a:pt x="810" y="54"/>
                    </a:lnTo>
                    <a:lnTo>
                      <a:pt x="798" y="60"/>
                    </a:lnTo>
                    <a:lnTo>
                      <a:pt x="792" y="66"/>
                    </a:lnTo>
                    <a:lnTo>
                      <a:pt x="786" y="66"/>
                    </a:lnTo>
                    <a:lnTo>
                      <a:pt x="762" y="42"/>
                    </a:lnTo>
                    <a:lnTo>
                      <a:pt x="756" y="54"/>
                    </a:lnTo>
                    <a:lnTo>
                      <a:pt x="738" y="72"/>
                    </a:lnTo>
                    <a:lnTo>
                      <a:pt x="738" y="84"/>
                    </a:lnTo>
                    <a:lnTo>
                      <a:pt x="732" y="90"/>
                    </a:lnTo>
                    <a:lnTo>
                      <a:pt x="726" y="102"/>
                    </a:lnTo>
                    <a:lnTo>
                      <a:pt x="720" y="108"/>
                    </a:lnTo>
                    <a:lnTo>
                      <a:pt x="708" y="102"/>
                    </a:lnTo>
                    <a:lnTo>
                      <a:pt x="702" y="96"/>
                    </a:lnTo>
                    <a:lnTo>
                      <a:pt x="690" y="90"/>
                    </a:lnTo>
                    <a:lnTo>
                      <a:pt x="642" y="90"/>
                    </a:lnTo>
                    <a:lnTo>
                      <a:pt x="630" y="84"/>
                    </a:lnTo>
                    <a:lnTo>
                      <a:pt x="624" y="78"/>
                    </a:lnTo>
                    <a:lnTo>
                      <a:pt x="582" y="78"/>
                    </a:lnTo>
                    <a:lnTo>
                      <a:pt x="582" y="48"/>
                    </a:lnTo>
                    <a:lnTo>
                      <a:pt x="576" y="42"/>
                    </a:lnTo>
                    <a:lnTo>
                      <a:pt x="558" y="42"/>
                    </a:lnTo>
                    <a:lnTo>
                      <a:pt x="558" y="30"/>
                    </a:lnTo>
                    <a:lnTo>
                      <a:pt x="546" y="24"/>
                    </a:lnTo>
                    <a:lnTo>
                      <a:pt x="534" y="24"/>
                    </a:lnTo>
                    <a:lnTo>
                      <a:pt x="516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86" y="30"/>
                    </a:lnTo>
                    <a:lnTo>
                      <a:pt x="486" y="36"/>
                    </a:lnTo>
                    <a:lnTo>
                      <a:pt x="480" y="48"/>
                    </a:lnTo>
                    <a:lnTo>
                      <a:pt x="480" y="54"/>
                    </a:lnTo>
                    <a:lnTo>
                      <a:pt x="474" y="66"/>
                    </a:lnTo>
                    <a:lnTo>
                      <a:pt x="462" y="78"/>
                    </a:lnTo>
                    <a:lnTo>
                      <a:pt x="456" y="78"/>
                    </a:lnTo>
                    <a:lnTo>
                      <a:pt x="444" y="90"/>
                    </a:lnTo>
                    <a:lnTo>
                      <a:pt x="444" y="102"/>
                    </a:lnTo>
                    <a:lnTo>
                      <a:pt x="450" y="102"/>
                    </a:lnTo>
                    <a:lnTo>
                      <a:pt x="450" y="120"/>
                    </a:lnTo>
                    <a:lnTo>
                      <a:pt x="438" y="138"/>
                    </a:lnTo>
                    <a:lnTo>
                      <a:pt x="450" y="150"/>
                    </a:lnTo>
                    <a:lnTo>
                      <a:pt x="450" y="186"/>
                    </a:lnTo>
                    <a:lnTo>
                      <a:pt x="444" y="198"/>
                    </a:lnTo>
                    <a:lnTo>
                      <a:pt x="438" y="216"/>
                    </a:lnTo>
                    <a:lnTo>
                      <a:pt x="426" y="228"/>
                    </a:lnTo>
                    <a:lnTo>
                      <a:pt x="414" y="252"/>
                    </a:lnTo>
                    <a:lnTo>
                      <a:pt x="408" y="258"/>
                    </a:lnTo>
                    <a:lnTo>
                      <a:pt x="408" y="288"/>
                    </a:lnTo>
                    <a:lnTo>
                      <a:pt x="414" y="300"/>
                    </a:lnTo>
                    <a:lnTo>
                      <a:pt x="414" y="324"/>
                    </a:lnTo>
                    <a:lnTo>
                      <a:pt x="396" y="360"/>
                    </a:lnTo>
                    <a:lnTo>
                      <a:pt x="396" y="372"/>
                    </a:lnTo>
                    <a:lnTo>
                      <a:pt x="402" y="378"/>
                    </a:lnTo>
                    <a:lnTo>
                      <a:pt x="408" y="390"/>
                    </a:lnTo>
                    <a:lnTo>
                      <a:pt x="408" y="414"/>
                    </a:lnTo>
                    <a:lnTo>
                      <a:pt x="402" y="426"/>
                    </a:lnTo>
                    <a:lnTo>
                      <a:pt x="390" y="432"/>
                    </a:lnTo>
                    <a:lnTo>
                      <a:pt x="390" y="486"/>
                    </a:lnTo>
                    <a:lnTo>
                      <a:pt x="384" y="492"/>
                    </a:lnTo>
                    <a:lnTo>
                      <a:pt x="372" y="498"/>
                    </a:lnTo>
                    <a:lnTo>
                      <a:pt x="366" y="510"/>
                    </a:lnTo>
                    <a:lnTo>
                      <a:pt x="318" y="534"/>
                    </a:lnTo>
                    <a:lnTo>
                      <a:pt x="312" y="540"/>
                    </a:lnTo>
                    <a:lnTo>
                      <a:pt x="306" y="552"/>
                    </a:lnTo>
                    <a:lnTo>
                      <a:pt x="306" y="588"/>
                    </a:lnTo>
                    <a:lnTo>
                      <a:pt x="282" y="612"/>
                    </a:lnTo>
                    <a:lnTo>
                      <a:pt x="276" y="612"/>
                    </a:lnTo>
                    <a:lnTo>
                      <a:pt x="282" y="714"/>
                    </a:lnTo>
                    <a:lnTo>
                      <a:pt x="252" y="756"/>
                    </a:lnTo>
                    <a:lnTo>
                      <a:pt x="246" y="762"/>
                    </a:lnTo>
                    <a:lnTo>
                      <a:pt x="228" y="762"/>
                    </a:lnTo>
                    <a:lnTo>
                      <a:pt x="216" y="774"/>
                    </a:lnTo>
                    <a:lnTo>
                      <a:pt x="210" y="786"/>
                    </a:lnTo>
                    <a:lnTo>
                      <a:pt x="192" y="804"/>
                    </a:lnTo>
                    <a:lnTo>
                      <a:pt x="186" y="816"/>
                    </a:lnTo>
                    <a:lnTo>
                      <a:pt x="180" y="822"/>
                    </a:lnTo>
                    <a:lnTo>
                      <a:pt x="168" y="828"/>
                    </a:lnTo>
                    <a:lnTo>
                      <a:pt x="150" y="828"/>
                    </a:lnTo>
                    <a:lnTo>
                      <a:pt x="144" y="822"/>
                    </a:lnTo>
                    <a:lnTo>
                      <a:pt x="150" y="810"/>
                    </a:lnTo>
                    <a:lnTo>
                      <a:pt x="150" y="780"/>
                    </a:lnTo>
                    <a:lnTo>
                      <a:pt x="144" y="780"/>
                    </a:lnTo>
                    <a:lnTo>
                      <a:pt x="126" y="798"/>
                    </a:lnTo>
                    <a:lnTo>
                      <a:pt x="102" y="792"/>
                    </a:lnTo>
                    <a:lnTo>
                      <a:pt x="102" y="810"/>
                    </a:lnTo>
                    <a:lnTo>
                      <a:pt x="96" y="822"/>
                    </a:lnTo>
                    <a:lnTo>
                      <a:pt x="90" y="828"/>
                    </a:lnTo>
                    <a:lnTo>
                      <a:pt x="78" y="828"/>
                    </a:lnTo>
                    <a:lnTo>
                      <a:pt x="72" y="822"/>
                    </a:lnTo>
                    <a:lnTo>
                      <a:pt x="72" y="816"/>
                    </a:lnTo>
                    <a:lnTo>
                      <a:pt x="66" y="810"/>
                    </a:lnTo>
                    <a:lnTo>
                      <a:pt x="66" y="804"/>
                    </a:lnTo>
                    <a:lnTo>
                      <a:pt x="54" y="804"/>
                    </a:lnTo>
                    <a:lnTo>
                      <a:pt x="48" y="816"/>
                    </a:lnTo>
                    <a:lnTo>
                      <a:pt x="12" y="846"/>
                    </a:lnTo>
                    <a:lnTo>
                      <a:pt x="18" y="858"/>
                    </a:lnTo>
                    <a:lnTo>
                      <a:pt x="18" y="864"/>
                    </a:lnTo>
                    <a:lnTo>
                      <a:pt x="24" y="876"/>
                    </a:lnTo>
                    <a:lnTo>
                      <a:pt x="24" y="882"/>
                    </a:lnTo>
                    <a:lnTo>
                      <a:pt x="18" y="888"/>
                    </a:lnTo>
                    <a:lnTo>
                      <a:pt x="6" y="894"/>
                    </a:lnTo>
                    <a:lnTo>
                      <a:pt x="0" y="900"/>
                    </a:lnTo>
                    <a:lnTo>
                      <a:pt x="6" y="906"/>
                    </a:lnTo>
                    <a:lnTo>
                      <a:pt x="6" y="912"/>
                    </a:lnTo>
                    <a:lnTo>
                      <a:pt x="18" y="918"/>
                    </a:lnTo>
                    <a:lnTo>
                      <a:pt x="18" y="924"/>
                    </a:lnTo>
                    <a:lnTo>
                      <a:pt x="54" y="906"/>
                    </a:lnTo>
                    <a:lnTo>
                      <a:pt x="78" y="912"/>
                    </a:lnTo>
                    <a:lnTo>
                      <a:pt x="84" y="906"/>
                    </a:lnTo>
                    <a:lnTo>
                      <a:pt x="96" y="912"/>
                    </a:lnTo>
                    <a:lnTo>
                      <a:pt x="120" y="906"/>
                    </a:lnTo>
                    <a:lnTo>
                      <a:pt x="132" y="912"/>
                    </a:lnTo>
                    <a:lnTo>
                      <a:pt x="162" y="912"/>
                    </a:lnTo>
                    <a:lnTo>
                      <a:pt x="174" y="906"/>
                    </a:lnTo>
                    <a:lnTo>
                      <a:pt x="186" y="906"/>
                    </a:lnTo>
                    <a:lnTo>
                      <a:pt x="198" y="912"/>
                    </a:lnTo>
                    <a:lnTo>
                      <a:pt x="228" y="912"/>
                    </a:lnTo>
                    <a:lnTo>
                      <a:pt x="246" y="906"/>
                    </a:lnTo>
                    <a:lnTo>
                      <a:pt x="270" y="906"/>
                    </a:lnTo>
                    <a:lnTo>
                      <a:pt x="276" y="900"/>
                    </a:lnTo>
                    <a:lnTo>
                      <a:pt x="294" y="900"/>
                    </a:lnTo>
                    <a:lnTo>
                      <a:pt x="300" y="906"/>
                    </a:lnTo>
                    <a:lnTo>
                      <a:pt x="306" y="918"/>
                    </a:lnTo>
                    <a:lnTo>
                      <a:pt x="318" y="930"/>
                    </a:lnTo>
                    <a:lnTo>
                      <a:pt x="318" y="972"/>
                    </a:lnTo>
                    <a:lnTo>
                      <a:pt x="336" y="990"/>
                    </a:lnTo>
                    <a:lnTo>
                      <a:pt x="336" y="1014"/>
                    </a:lnTo>
                    <a:lnTo>
                      <a:pt x="330" y="1020"/>
                    </a:lnTo>
                    <a:lnTo>
                      <a:pt x="330" y="1026"/>
                    </a:lnTo>
                    <a:lnTo>
                      <a:pt x="336" y="1032"/>
                    </a:lnTo>
                    <a:lnTo>
                      <a:pt x="342" y="1032"/>
                    </a:lnTo>
                    <a:lnTo>
                      <a:pt x="354" y="1044"/>
                    </a:lnTo>
                    <a:lnTo>
                      <a:pt x="354" y="1056"/>
                    </a:lnTo>
                    <a:lnTo>
                      <a:pt x="360" y="1062"/>
                    </a:lnTo>
                    <a:lnTo>
                      <a:pt x="372" y="1086"/>
                    </a:lnTo>
                    <a:lnTo>
                      <a:pt x="402" y="1086"/>
                    </a:lnTo>
                    <a:lnTo>
                      <a:pt x="414" y="1092"/>
                    </a:lnTo>
                    <a:lnTo>
                      <a:pt x="420" y="1080"/>
                    </a:lnTo>
                    <a:lnTo>
                      <a:pt x="444" y="1080"/>
                    </a:lnTo>
                    <a:lnTo>
                      <a:pt x="456" y="1074"/>
                    </a:lnTo>
                    <a:lnTo>
                      <a:pt x="462" y="1080"/>
                    </a:lnTo>
                    <a:lnTo>
                      <a:pt x="504" y="1074"/>
                    </a:lnTo>
                    <a:lnTo>
                      <a:pt x="504" y="1056"/>
                    </a:lnTo>
                    <a:lnTo>
                      <a:pt x="510" y="1050"/>
                    </a:lnTo>
                    <a:lnTo>
                      <a:pt x="510" y="1044"/>
                    </a:lnTo>
                    <a:lnTo>
                      <a:pt x="522" y="1044"/>
                    </a:lnTo>
                    <a:lnTo>
                      <a:pt x="522" y="1032"/>
                    </a:lnTo>
                    <a:lnTo>
                      <a:pt x="516" y="1020"/>
                    </a:lnTo>
                    <a:lnTo>
                      <a:pt x="510" y="1014"/>
                    </a:lnTo>
                    <a:lnTo>
                      <a:pt x="510" y="1008"/>
                    </a:lnTo>
                    <a:lnTo>
                      <a:pt x="516" y="1002"/>
                    </a:lnTo>
                    <a:lnTo>
                      <a:pt x="564" y="1002"/>
                    </a:lnTo>
                    <a:lnTo>
                      <a:pt x="564" y="996"/>
                    </a:lnTo>
                    <a:lnTo>
                      <a:pt x="576" y="996"/>
                    </a:lnTo>
                    <a:lnTo>
                      <a:pt x="588" y="1002"/>
                    </a:lnTo>
                    <a:lnTo>
                      <a:pt x="588" y="1026"/>
                    </a:lnTo>
                    <a:lnTo>
                      <a:pt x="678" y="1026"/>
                    </a:lnTo>
                    <a:lnTo>
                      <a:pt x="678" y="1050"/>
                    </a:lnTo>
                    <a:lnTo>
                      <a:pt x="666" y="1068"/>
                    </a:lnTo>
                    <a:lnTo>
                      <a:pt x="672" y="1086"/>
                    </a:lnTo>
                    <a:lnTo>
                      <a:pt x="684" y="1098"/>
                    </a:lnTo>
                    <a:lnTo>
                      <a:pt x="690" y="1110"/>
                    </a:lnTo>
                    <a:lnTo>
                      <a:pt x="690" y="1122"/>
                    </a:lnTo>
                    <a:lnTo>
                      <a:pt x="684" y="1134"/>
                    </a:lnTo>
                    <a:lnTo>
                      <a:pt x="678" y="1140"/>
                    </a:lnTo>
                    <a:lnTo>
                      <a:pt x="684" y="1164"/>
                    </a:lnTo>
                    <a:lnTo>
                      <a:pt x="684" y="1176"/>
                    </a:lnTo>
                    <a:lnTo>
                      <a:pt x="678" y="1182"/>
                    </a:lnTo>
                    <a:lnTo>
                      <a:pt x="678" y="1194"/>
                    </a:lnTo>
                    <a:lnTo>
                      <a:pt x="684" y="1212"/>
                    </a:lnTo>
                    <a:lnTo>
                      <a:pt x="696" y="1230"/>
                    </a:lnTo>
                    <a:lnTo>
                      <a:pt x="708" y="1254"/>
                    </a:lnTo>
                    <a:lnTo>
                      <a:pt x="714" y="1260"/>
                    </a:lnTo>
                    <a:lnTo>
                      <a:pt x="714" y="1278"/>
                    </a:lnTo>
                    <a:lnTo>
                      <a:pt x="708" y="1290"/>
                    </a:lnTo>
                    <a:lnTo>
                      <a:pt x="708" y="1302"/>
                    </a:lnTo>
                    <a:lnTo>
                      <a:pt x="702" y="1308"/>
                    </a:lnTo>
                    <a:lnTo>
                      <a:pt x="702" y="1332"/>
                    </a:lnTo>
                    <a:lnTo>
                      <a:pt x="708" y="1338"/>
                    </a:lnTo>
                    <a:lnTo>
                      <a:pt x="714" y="1338"/>
                    </a:lnTo>
                    <a:lnTo>
                      <a:pt x="720" y="1344"/>
                    </a:lnTo>
                    <a:lnTo>
                      <a:pt x="726" y="1326"/>
                    </a:lnTo>
                    <a:lnTo>
                      <a:pt x="756" y="1332"/>
                    </a:lnTo>
                    <a:lnTo>
                      <a:pt x="780" y="1326"/>
                    </a:lnTo>
                    <a:lnTo>
                      <a:pt x="780" y="1314"/>
                    </a:lnTo>
                    <a:lnTo>
                      <a:pt x="792" y="1314"/>
                    </a:lnTo>
                    <a:lnTo>
                      <a:pt x="804" y="1326"/>
                    </a:lnTo>
                    <a:lnTo>
                      <a:pt x="828" y="1326"/>
                    </a:lnTo>
                    <a:lnTo>
                      <a:pt x="834" y="1308"/>
                    </a:lnTo>
                    <a:lnTo>
                      <a:pt x="840" y="1320"/>
                    </a:lnTo>
                    <a:lnTo>
                      <a:pt x="858" y="1320"/>
                    </a:lnTo>
                    <a:lnTo>
                      <a:pt x="858" y="1350"/>
                    </a:lnTo>
                    <a:lnTo>
                      <a:pt x="864" y="1356"/>
                    </a:lnTo>
                    <a:lnTo>
                      <a:pt x="882" y="1356"/>
                    </a:lnTo>
                    <a:lnTo>
                      <a:pt x="882" y="1350"/>
                    </a:lnTo>
                    <a:lnTo>
                      <a:pt x="876" y="1344"/>
                    </a:lnTo>
                    <a:lnTo>
                      <a:pt x="918" y="1338"/>
                    </a:lnTo>
                    <a:lnTo>
                      <a:pt x="918" y="1356"/>
                    </a:lnTo>
                    <a:lnTo>
                      <a:pt x="924" y="1368"/>
                    </a:lnTo>
                    <a:lnTo>
                      <a:pt x="930" y="1374"/>
                    </a:lnTo>
                    <a:lnTo>
                      <a:pt x="948" y="1386"/>
                    </a:lnTo>
                    <a:lnTo>
                      <a:pt x="984" y="1392"/>
                    </a:lnTo>
                    <a:lnTo>
                      <a:pt x="1014" y="1398"/>
                    </a:lnTo>
                    <a:lnTo>
                      <a:pt x="1032" y="1398"/>
                    </a:lnTo>
                    <a:lnTo>
                      <a:pt x="1032" y="1392"/>
                    </a:lnTo>
                    <a:lnTo>
                      <a:pt x="1038" y="1386"/>
                    </a:lnTo>
                    <a:lnTo>
                      <a:pt x="1038" y="1368"/>
                    </a:lnTo>
                    <a:lnTo>
                      <a:pt x="1044" y="1362"/>
                    </a:lnTo>
                    <a:lnTo>
                      <a:pt x="1050" y="1362"/>
                    </a:lnTo>
                    <a:lnTo>
                      <a:pt x="1062" y="1374"/>
                    </a:lnTo>
                    <a:lnTo>
                      <a:pt x="1062" y="1386"/>
                    </a:lnTo>
                    <a:lnTo>
                      <a:pt x="1068" y="1392"/>
                    </a:lnTo>
                    <a:lnTo>
                      <a:pt x="1080" y="1392"/>
                    </a:lnTo>
                    <a:lnTo>
                      <a:pt x="1080" y="1404"/>
                    </a:lnTo>
                    <a:lnTo>
                      <a:pt x="1074" y="1404"/>
                    </a:lnTo>
                    <a:lnTo>
                      <a:pt x="1074" y="1416"/>
                    </a:lnTo>
                    <a:lnTo>
                      <a:pt x="1104" y="1416"/>
                    </a:lnTo>
                    <a:lnTo>
                      <a:pt x="1110" y="1422"/>
                    </a:lnTo>
                    <a:lnTo>
                      <a:pt x="1110" y="1434"/>
                    </a:lnTo>
                    <a:lnTo>
                      <a:pt x="1122" y="1434"/>
                    </a:lnTo>
                    <a:lnTo>
                      <a:pt x="1128" y="1428"/>
                    </a:lnTo>
                    <a:lnTo>
                      <a:pt x="1134" y="1428"/>
                    </a:lnTo>
                    <a:lnTo>
                      <a:pt x="1140" y="1434"/>
                    </a:lnTo>
                    <a:lnTo>
                      <a:pt x="1146" y="1446"/>
                    </a:lnTo>
                    <a:lnTo>
                      <a:pt x="1146" y="1452"/>
                    </a:lnTo>
                    <a:lnTo>
                      <a:pt x="1152" y="1464"/>
                    </a:lnTo>
                    <a:lnTo>
                      <a:pt x="1164" y="1464"/>
                    </a:lnTo>
                    <a:lnTo>
                      <a:pt x="1176" y="1476"/>
                    </a:lnTo>
                    <a:lnTo>
                      <a:pt x="1176" y="1488"/>
                    </a:lnTo>
                    <a:lnTo>
                      <a:pt x="1182" y="1500"/>
                    </a:lnTo>
                    <a:lnTo>
                      <a:pt x="1182" y="1512"/>
                    </a:lnTo>
                    <a:lnTo>
                      <a:pt x="1200" y="1512"/>
                    </a:lnTo>
                    <a:lnTo>
                      <a:pt x="1218" y="1500"/>
                    </a:lnTo>
                    <a:lnTo>
                      <a:pt x="1224" y="1512"/>
                    </a:lnTo>
                    <a:lnTo>
                      <a:pt x="1224" y="1518"/>
                    </a:lnTo>
                    <a:lnTo>
                      <a:pt x="1230" y="1518"/>
                    </a:lnTo>
                    <a:lnTo>
                      <a:pt x="1236" y="1500"/>
                    </a:lnTo>
                    <a:lnTo>
                      <a:pt x="1242" y="1464"/>
                    </a:lnTo>
                    <a:lnTo>
                      <a:pt x="1242" y="1416"/>
                    </a:lnTo>
                    <a:lnTo>
                      <a:pt x="1218" y="1416"/>
                    </a:lnTo>
                    <a:lnTo>
                      <a:pt x="1218" y="1434"/>
                    </a:lnTo>
                    <a:lnTo>
                      <a:pt x="1212" y="1440"/>
                    </a:lnTo>
                    <a:lnTo>
                      <a:pt x="1206" y="1440"/>
                    </a:lnTo>
                    <a:lnTo>
                      <a:pt x="1194" y="1434"/>
                    </a:lnTo>
                    <a:lnTo>
                      <a:pt x="1164" y="1404"/>
                    </a:lnTo>
                    <a:lnTo>
                      <a:pt x="1158" y="1404"/>
                    </a:lnTo>
                    <a:lnTo>
                      <a:pt x="1158" y="1398"/>
                    </a:lnTo>
                    <a:lnTo>
                      <a:pt x="1152" y="1398"/>
                    </a:lnTo>
                    <a:lnTo>
                      <a:pt x="1140" y="1386"/>
                    </a:lnTo>
                    <a:lnTo>
                      <a:pt x="1140" y="1362"/>
                    </a:lnTo>
                    <a:lnTo>
                      <a:pt x="1146" y="1350"/>
                    </a:lnTo>
                    <a:lnTo>
                      <a:pt x="1152" y="1332"/>
                    </a:lnTo>
                    <a:lnTo>
                      <a:pt x="1158" y="1320"/>
                    </a:lnTo>
                    <a:lnTo>
                      <a:pt x="1170" y="1308"/>
                    </a:lnTo>
                    <a:lnTo>
                      <a:pt x="1170" y="1254"/>
                    </a:lnTo>
                    <a:lnTo>
                      <a:pt x="1164" y="1236"/>
                    </a:lnTo>
                    <a:lnTo>
                      <a:pt x="1164" y="1212"/>
                    </a:lnTo>
                    <a:lnTo>
                      <a:pt x="1158" y="1206"/>
                    </a:lnTo>
                    <a:lnTo>
                      <a:pt x="1158" y="1200"/>
                    </a:lnTo>
                    <a:lnTo>
                      <a:pt x="1152" y="1194"/>
                    </a:lnTo>
                    <a:lnTo>
                      <a:pt x="1152" y="1188"/>
                    </a:lnTo>
                    <a:lnTo>
                      <a:pt x="1140" y="1176"/>
                    </a:lnTo>
                    <a:lnTo>
                      <a:pt x="1146" y="1176"/>
                    </a:lnTo>
                    <a:lnTo>
                      <a:pt x="1152" y="1170"/>
                    </a:lnTo>
                    <a:lnTo>
                      <a:pt x="1164" y="1164"/>
                    </a:lnTo>
                    <a:lnTo>
                      <a:pt x="1182" y="1146"/>
                    </a:lnTo>
                    <a:lnTo>
                      <a:pt x="1182" y="1116"/>
                    </a:lnTo>
                    <a:lnTo>
                      <a:pt x="1194" y="1116"/>
                    </a:lnTo>
                    <a:lnTo>
                      <a:pt x="1212" y="1110"/>
                    </a:lnTo>
                    <a:lnTo>
                      <a:pt x="1230" y="1110"/>
                    </a:lnTo>
                    <a:lnTo>
                      <a:pt x="1242" y="1104"/>
                    </a:lnTo>
                    <a:lnTo>
                      <a:pt x="1260" y="1104"/>
                    </a:lnTo>
                    <a:lnTo>
                      <a:pt x="1284" y="1092"/>
                    </a:lnTo>
                    <a:lnTo>
                      <a:pt x="1290" y="1092"/>
                    </a:lnTo>
                    <a:lnTo>
                      <a:pt x="1290" y="1086"/>
                    </a:lnTo>
                    <a:lnTo>
                      <a:pt x="1284" y="1074"/>
                    </a:lnTo>
                    <a:lnTo>
                      <a:pt x="1272" y="1062"/>
                    </a:lnTo>
                    <a:lnTo>
                      <a:pt x="1272" y="1014"/>
                    </a:lnTo>
                    <a:lnTo>
                      <a:pt x="1248" y="1014"/>
                    </a:lnTo>
                    <a:lnTo>
                      <a:pt x="1248" y="1008"/>
                    </a:lnTo>
                    <a:lnTo>
                      <a:pt x="1242" y="996"/>
                    </a:lnTo>
                    <a:lnTo>
                      <a:pt x="1242" y="978"/>
                    </a:lnTo>
                    <a:lnTo>
                      <a:pt x="1236" y="972"/>
                    </a:lnTo>
                    <a:lnTo>
                      <a:pt x="1224" y="966"/>
                    </a:lnTo>
                    <a:lnTo>
                      <a:pt x="1218" y="960"/>
                    </a:lnTo>
                    <a:lnTo>
                      <a:pt x="1206" y="936"/>
                    </a:lnTo>
                    <a:lnTo>
                      <a:pt x="1206" y="906"/>
                    </a:lnTo>
                    <a:lnTo>
                      <a:pt x="1212" y="900"/>
                    </a:lnTo>
                    <a:lnTo>
                      <a:pt x="1212" y="876"/>
                    </a:lnTo>
                    <a:lnTo>
                      <a:pt x="1200" y="864"/>
                    </a:lnTo>
                    <a:lnTo>
                      <a:pt x="1194" y="852"/>
                    </a:lnTo>
                    <a:lnTo>
                      <a:pt x="1194" y="804"/>
                    </a:lnTo>
                    <a:lnTo>
                      <a:pt x="1200" y="780"/>
                    </a:lnTo>
                    <a:lnTo>
                      <a:pt x="1200" y="750"/>
                    </a:lnTo>
                    <a:lnTo>
                      <a:pt x="1212" y="738"/>
                    </a:lnTo>
                    <a:lnTo>
                      <a:pt x="1218" y="744"/>
                    </a:lnTo>
                    <a:lnTo>
                      <a:pt x="1218" y="732"/>
                    </a:lnTo>
                    <a:lnTo>
                      <a:pt x="1224" y="726"/>
                    </a:lnTo>
                    <a:lnTo>
                      <a:pt x="1224" y="696"/>
                    </a:lnTo>
                    <a:lnTo>
                      <a:pt x="1218" y="690"/>
                    </a:lnTo>
                    <a:lnTo>
                      <a:pt x="1206" y="684"/>
                    </a:lnTo>
                    <a:lnTo>
                      <a:pt x="1200" y="678"/>
                    </a:lnTo>
                    <a:lnTo>
                      <a:pt x="1188" y="648"/>
                    </a:lnTo>
                    <a:lnTo>
                      <a:pt x="1182" y="642"/>
                    </a:lnTo>
                    <a:lnTo>
                      <a:pt x="1176" y="642"/>
                    </a:lnTo>
                    <a:lnTo>
                      <a:pt x="1176" y="636"/>
                    </a:lnTo>
                    <a:lnTo>
                      <a:pt x="1182" y="624"/>
                    </a:lnTo>
                    <a:lnTo>
                      <a:pt x="1194" y="618"/>
                    </a:lnTo>
                    <a:lnTo>
                      <a:pt x="1206" y="606"/>
                    </a:lnTo>
                    <a:lnTo>
                      <a:pt x="1206" y="594"/>
                    </a:lnTo>
                    <a:lnTo>
                      <a:pt x="1200" y="588"/>
                    </a:lnTo>
                    <a:lnTo>
                      <a:pt x="1194" y="576"/>
                    </a:lnTo>
                    <a:lnTo>
                      <a:pt x="1194" y="570"/>
                    </a:lnTo>
                    <a:lnTo>
                      <a:pt x="1200" y="564"/>
                    </a:lnTo>
                    <a:lnTo>
                      <a:pt x="1224" y="552"/>
                    </a:lnTo>
                    <a:lnTo>
                      <a:pt x="1230" y="546"/>
                    </a:lnTo>
                    <a:lnTo>
                      <a:pt x="1236" y="546"/>
                    </a:lnTo>
                    <a:lnTo>
                      <a:pt x="1242" y="46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8" name="Congo (Brazzaville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85CE419-4AE4-4813-89B0-E639D0755A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97134" y="4386552"/>
                <a:ext cx="237615" cy="313541"/>
              </a:xfrm>
              <a:custGeom>
                <a:avLst/>
                <a:gdLst>
                  <a:gd name="T0" fmla="*/ 2147483647 w 534"/>
                  <a:gd name="T1" fmla="*/ 2147483647 h 702"/>
                  <a:gd name="T2" fmla="*/ 2147483647 w 534"/>
                  <a:gd name="T3" fmla="*/ 2147483647 h 702"/>
                  <a:gd name="T4" fmla="*/ 2147483647 w 534"/>
                  <a:gd name="T5" fmla="*/ 2147483647 h 702"/>
                  <a:gd name="T6" fmla="*/ 2147483647 w 534"/>
                  <a:gd name="T7" fmla="*/ 2147483647 h 702"/>
                  <a:gd name="T8" fmla="*/ 2147483647 w 534"/>
                  <a:gd name="T9" fmla="*/ 2147483647 h 702"/>
                  <a:gd name="T10" fmla="*/ 2147483647 w 534"/>
                  <a:gd name="T11" fmla="*/ 2147483647 h 702"/>
                  <a:gd name="T12" fmla="*/ 2147483647 w 534"/>
                  <a:gd name="T13" fmla="*/ 2147483647 h 702"/>
                  <a:gd name="T14" fmla="*/ 2147483647 w 534"/>
                  <a:gd name="T15" fmla="*/ 2147483647 h 702"/>
                  <a:gd name="T16" fmla="*/ 2147483647 w 534"/>
                  <a:gd name="T17" fmla="*/ 2147483647 h 702"/>
                  <a:gd name="T18" fmla="*/ 2147483647 w 534"/>
                  <a:gd name="T19" fmla="*/ 2147483647 h 702"/>
                  <a:gd name="T20" fmla="*/ 2147483647 w 534"/>
                  <a:gd name="T21" fmla="*/ 2147483647 h 702"/>
                  <a:gd name="T22" fmla="*/ 2147483647 w 534"/>
                  <a:gd name="T23" fmla="*/ 2147483647 h 702"/>
                  <a:gd name="T24" fmla="*/ 2147483647 w 534"/>
                  <a:gd name="T25" fmla="*/ 2147483647 h 702"/>
                  <a:gd name="T26" fmla="*/ 2147483647 w 534"/>
                  <a:gd name="T27" fmla="*/ 2147483647 h 702"/>
                  <a:gd name="T28" fmla="*/ 2147483647 w 534"/>
                  <a:gd name="T29" fmla="*/ 2147483647 h 702"/>
                  <a:gd name="T30" fmla="*/ 2147483647 w 534"/>
                  <a:gd name="T31" fmla="*/ 2147483647 h 702"/>
                  <a:gd name="T32" fmla="*/ 2147483647 w 534"/>
                  <a:gd name="T33" fmla="*/ 2147483647 h 702"/>
                  <a:gd name="T34" fmla="*/ 2147483647 w 534"/>
                  <a:gd name="T35" fmla="*/ 2147483647 h 702"/>
                  <a:gd name="T36" fmla="*/ 2147483647 w 534"/>
                  <a:gd name="T37" fmla="*/ 2147483647 h 702"/>
                  <a:gd name="T38" fmla="*/ 2147483647 w 534"/>
                  <a:gd name="T39" fmla="*/ 2147483647 h 702"/>
                  <a:gd name="T40" fmla="*/ 2147483647 w 534"/>
                  <a:gd name="T41" fmla="*/ 2147483647 h 702"/>
                  <a:gd name="T42" fmla="*/ 2147483647 w 534"/>
                  <a:gd name="T43" fmla="*/ 2147483647 h 702"/>
                  <a:gd name="T44" fmla="*/ 2147483647 w 534"/>
                  <a:gd name="T45" fmla="*/ 2147483647 h 702"/>
                  <a:gd name="T46" fmla="*/ 2147483647 w 534"/>
                  <a:gd name="T47" fmla="*/ 2147483647 h 702"/>
                  <a:gd name="T48" fmla="*/ 2147483647 w 534"/>
                  <a:gd name="T49" fmla="*/ 2147483647 h 702"/>
                  <a:gd name="T50" fmla="*/ 0 w 534"/>
                  <a:gd name="T51" fmla="*/ 2147483647 h 702"/>
                  <a:gd name="T52" fmla="*/ 2147483647 w 534"/>
                  <a:gd name="T53" fmla="*/ 2147483647 h 702"/>
                  <a:gd name="T54" fmla="*/ 2147483647 w 534"/>
                  <a:gd name="T55" fmla="*/ 2147483647 h 702"/>
                  <a:gd name="T56" fmla="*/ 2147483647 w 534"/>
                  <a:gd name="T57" fmla="*/ 2147483647 h 702"/>
                  <a:gd name="T58" fmla="*/ 2147483647 w 534"/>
                  <a:gd name="T59" fmla="*/ 2147483647 h 702"/>
                  <a:gd name="T60" fmla="*/ 2147483647 w 534"/>
                  <a:gd name="T61" fmla="*/ 2147483647 h 702"/>
                  <a:gd name="T62" fmla="*/ 2147483647 w 534"/>
                  <a:gd name="T63" fmla="*/ 2147483647 h 702"/>
                  <a:gd name="T64" fmla="*/ 2147483647 w 534"/>
                  <a:gd name="T65" fmla="*/ 2147483647 h 702"/>
                  <a:gd name="T66" fmla="*/ 2147483647 w 534"/>
                  <a:gd name="T67" fmla="*/ 2147483647 h 702"/>
                  <a:gd name="T68" fmla="*/ 2147483647 w 534"/>
                  <a:gd name="T69" fmla="*/ 2147483647 h 702"/>
                  <a:gd name="T70" fmla="*/ 2147483647 w 534"/>
                  <a:gd name="T71" fmla="*/ 2147483647 h 702"/>
                  <a:gd name="T72" fmla="*/ 2147483647 w 534"/>
                  <a:gd name="T73" fmla="*/ 2147483647 h 702"/>
                  <a:gd name="T74" fmla="*/ 2147483647 w 534"/>
                  <a:gd name="T75" fmla="*/ 2147483647 h 702"/>
                  <a:gd name="T76" fmla="*/ 2147483647 w 534"/>
                  <a:gd name="T77" fmla="*/ 2147483647 h 702"/>
                  <a:gd name="T78" fmla="*/ 2147483647 w 534"/>
                  <a:gd name="T79" fmla="*/ 2147483647 h 702"/>
                  <a:gd name="T80" fmla="*/ 2147483647 w 534"/>
                  <a:gd name="T81" fmla="*/ 2147483647 h 702"/>
                  <a:gd name="T82" fmla="*/ 2147483647 w 534"/>
                  <a:gd name="T83" fmla="*/ 2147483647 h 702"/>
                  <a:gd name="T84" fmla="*/ 2147483647 w 534"/>
                  <a:gd name="T85" fmla="*/ 2147483647 h 702"/>
                  <a:gd name="T86" fmla="*/ 2147483647 w 534"/>
                  <a:gd name="T87" fmla="*/ 2147483647 h 702"/>
                  <a:gd name="T88" fmla="*/ 2147483647 w 534"/>
                  <a:gd name="T89" fmla="*/ 2147483647 h 702"/>
                  <a:gd name="T90" fmla="*/ 2147483647 w 534"/>
                  <a:gd name="T91" fmla="*/ 2147483647 h 702"/>
                  <a:gd name="T92" fmla="*/ 2147483647 w 534"/>
                  <a:gd name="T93" fmla="*/ 2147483647 h 702"/>
                  <a:gd name="T94" fmla="*/ 2147483647 w 534"/>
                  <a:gd name="T95" fmla="*/ 2147483647 h 702"/>
                  <a:gd name="T96" fmla="*/ 2147483647 w 534"/>
                  <a:gd name="T97" fmla="*/ 2147483647 h 702"/>
                  <a:gd name="T98" fmla="*/ 2147483647 w 534"/>
                  <a:gd name="T99" fmla="*/ 2147483647 h 702"/>
                  <a:gd name="T100" fmla="*/ 2147483647 w 534"/>
                  <a:gd name="T101" fmla="*/ 2147483647 h 702"/>
                  <a:gd name="T102" fmla="*/ 2147483647 w 534"/>
                  <a:gd name="T103" fmla="*/ 2147483647 h 70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34"/>
                  <a:gd name="T157" fmla="*/ 0 h 702"/>
                  <a:gd name="T158" fmla="*/ 534 w 534"/>
                  <a:gd name="T159" fmla="*/ 702 h 70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34" h="702">
                    <a:moveTo>
                      <a:pt x="366" y="120"/>
                    </a:moveTo>
                    <a:lnTo>
                      <a:pt x="360" y="126"/>
                    </a:lnTo>
                    <a:lnTo>
                      <a:pt x="354" y="168"/>
                    </a:lnTo>
                    <a:lnTo>
                      <a:pt x="330" y="144"/>
                    </a:lnTo>
                    <a:lnTo>
                      <a:pt x="294" y="144"/>
                    </a:lnTo>
                    <a:lnTo>
                      <a:pt x="288" y="138"/>
                    </a:lnTo>
                    <a:lnTo>
                      <a:pt x="276" y="138"/>
                    </a:lnTo>
                    <a:lnTo>
                      <a:pt x="270" y="132"/>
                    </a:lnTo>
                    <a:lnTo>
                      <a:pt x="258" y="126"/>
                    </a:lnTo>
                    <a:lnTo>
                      <a:pt x="210" y="126"/>
                    </a:lnTo>
                    <a:lnTo>
                      <a:pt x="192" y="132"/>
                    </a:lnTo>
                    <a:lnTo>
                      <a:pt x="162" y="132"/>
                    </a:lnTo>
                    <a:lnTo>
                      <a:pt x="144" y="162"/>
                    </a:lnTo>
                    <a:lnTo>
                      <a:pt x="150" y="198"/>
                    </a:lnTo>
                    <a:lnTo>
                      <a:pt x="156" y="204"/>
                    </a:lnTo>
                    <a:lnTo>
                      <a:pt x="180" y="204"/>
                    </a:lnTo>
                    <a:lnTo>
                      <a:pt x="186" y="198"/>
                    </a:lnTo>
                    <a:lnTo>
                      <a:pt x="186" y="180"/>
                    </a:lnTo>
                    <a:lnTo>
                      <a:pt x="204" y="180"/>
                    </a:lnTo>
                    <a:lnTo>
                      <a:pt x="210" y="186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28" y="198"/>
                    </a:lnTo>
                    <a:lnTo>
                      <a:pt x="228" y="216"/>
                    </a:lnTo>
                    <a:lnTo>
                      <a:pt x="240" y="222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8" y="252"/>
                    </a:lnTo>
                    <a:lnTo>
                      <a:pt x="222" y="258"/>
                    </a:lnTo>
                    <a:lnTo>
                      <a:pt x="210" y="258"/>
                    </a:lnTo>
                    <a:lnTo>
                      <a:pt x="198" y="282"/>
                    </a:lnTo>
                    <a:lnTo>
                      <a:pt x="198" y="318"/>
                    </a:lnTo>
                    <a:lnTo>
                      <a:pt x="216" y="324"/>
                    </a:lnTo>
                    <a:lnTo>
                      <a:pt x="222" y="342"/>
                    </a:lnTo>
                    <a:lnTo>
                      <a:pt x="240" y="342"/>
                    </a:lnTo>
                    <a:lnTo>
                      <a:pt x="246" y="348"/>
                    </a:lnTo>
                    <a:lnTo>
                      <a:pt x="246" y="360"/>
                    </a:lnTo>
                    <a:lnTo>
                      <a:pt x="240" y="366"/>
                    </a:lnTo>
                    <a:lnTo>
                      <a:pt x="240" y="414"/>
                    </a:lnTo>
                    <a:lnTo>
                      <a:pt x="234" y="426"/>
                    </a:lnTo>
                    <a:lnTo>
                      <a:pt x="240" y="450"/>
                    </a:lnTo>
                    <a:lnTo>
                      <a:pt x="234" y="456"/>
                    </a:lnTo>
                    <a:lnTo>
                      <a:pt x="222" y="462"/>
                    </a:lnTo>
                    <a:lnTo>
                      <a:pt x="222" y="486"/>
                    </a:lnTo>
                    <a:lnTo>
                      <a:pt x="216" y="498"/>
                    </a:lnTo>
                    <a:lnTo>
                      <a:pt x="210" y="504"/>
                    </a:lnTo>
                    <a:lnTo>
                      <a:pt x="198" y="504"/>
                    </a:lnTo>
                    <a:lnTo>
                      <a:pt x="192" y="498"/>
                    </a:lnTo>
                    <a:lnTo>
                      <a:pt x="192" y="468"/>
                    </a:lnTo>
                    <a:lnTo>
                      <a:pt x="186" y="468"/>
                    </a:lnTo>
                    <a:lnTo>
                      <a:pt x="180" y="474"/>
                    </a:lnTo>
                    <a:lnTo>
                      <a:pt x="174" y="486"/>
                    </a:lnTo>
                    <a:lnTo>
                      <a:pt x="168" y="492"/>
                    </a:lnTo>
                    <a:lnTo>
                      <a:pt x="138" y="492"/>
                    </a:lnTo>
                    <a:lnTo>
                      <a:pt x="120" y="450"/>
                    </a:lnTo>
                    <a:lnTo>
                      <a:pt x="90" y="450"/>
                    </a:lnTo>
                    <a:lnTo>
                      <a:pt x="90" y="456"/>
                    </a:lnTo>
                    <a:lnTo>
                      <a:pt x="108" y="474"/>
                    </a:lnTo>
                    <a:lnTo>
                      <a:pt x="96" y="480"/>
                    </a:lnTo>
                    <a:lnTo>
                      <a:pt x="90" y="492"/>
                    </a:lnTo>
                    <a:lnTo>
                      <a:pt x="84" y="498"/>
                    </a:lnTo>
                    <a:lnTo>
                      <a:pt x="66" y="498"/>
                    </a:lnTo>
                    <a:lnTo>
                      <a:pt x="54" y="492"/>
                    </a:lnTo>
                    <a:lnTo>
                      <a:pt x="42" y="492"/>
                    </a:lnTo>
                    <a:lnTo>
                      <a:pt x="36" y="486"/>
                    </a:lnTo>
                    <a:lnTo>
                      <a:pt x="30" y="486"/>
                    </a:lnTo>
                    <a:lnTo>
                      <a:pt x="30" y="504"/>
                    </a:lnTo>
                    <a:lnTo>
                      <a:pt x="36" y="510"/>
                    </a:lnTo>
                    <a:lnTo>
                      <a:pt x="36" y="522"/>
                    </a:lnTo>
                    <a:lnTo>
                      <a:pt x="24" y="522"/>
                    </a:lnTo>
                    <a:lnTo>
                      <a:pt x="54" y="540"/>
                    </a:lnTo>
                    <a:lnTo>
                      <a:pt x="36" y="552"/>
                    </a:lnTo>
                    <a:lnTo>
                      <a:pt x="54" y="564"/>
                    </a:lnTo>
                    <a:lnTo>
                      <a:pt x="54" y="600"/>
                    </a:lnTo>
                    <a:lnTo>
                      <a:pt x="48" y="606"/>
                    </a:lnTo>
                    <a:lnTo>
                      <a:pt x="30" y="588"/>
                    </a:lnTo>
                    <a:lnTo>
                      <a:pt x="6" y="600"/>
                    </a:lnTo>
                    <a:lnTo>
                      <a:pt x="0" y="618"/>
                    </a:lnTo>
                    <a:lnTo>
                      <a:pt x="54" y="666"/>
                    </a:lnTo>
                    <a:lnTo>
                      <a:pt x="54" y="684"/>
                    </a:lnTo>
                    <a:lnTo>
                      <a:pt x="72" y="702"/>
                    </a:lnTo>
                    <a:lnTo>
                      <a:pt x="72" y="690"/>
                    </a:lnTo>
                    <a:lnTo>
                      <a:pt x="90" y="690"/>
                    </a:lnTo>
                    <a:lnTo>
                      <a:pt x="90" y="672"/>
                    </a:lnTo>
                    <a:lnTo>
                      <a:pt x="102" y="666"/>
                    </a:lnTo>
                    <a:lnTo>
                      <a:pt x="108" y="660"/>
                    </a:lnTo>
                    <a:lnTo>
                      <a:pt x="120" y="654"/>
                    </a:lnTo>
                    <a:lnTo>
                      <a:pt x="126" y="648"/>
                    </a:lnTo>
                    <a:lnTo>
                      <a:pt x="132" y="654"/>
                    </a:lnTo>
                    <a:lnTo>
                      <a:pt x="132" y="660"/>
                    </a:lnTo>
                    <a:lnTo>
                      <a:pt x="138" y="666"/>
                    </a:lnTo>
                    <a:lnTo>
                      <a:pt x="138" y="672"/>
                    </a:lnTo>
                    <a:lnTo>
                      <a:pt x="150" y="672"/>
                    </a:lnTo>
                    <a:lnTo>
                      <a:pt x="150" y="678"/>
                    </a:lnTo>
                    <a:lnTo>
                      <a:pt x="156" y="684"/>
                    </a:lnTo>
                    <a:lnTo>
                      <a:pt x="156" y="690"/>
                    </a:lnTo>
                    <a:lnTo>
                      <a:pt x="162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86" y="678"/>
                    </a:lnTo>
                    <a:lnTo>
                      <a:pt x="186" y="660"/>
                    </a:lnTo>
                    <a:lnTo>
                      <a:pt x="210" y="666"/>
                    </a:lnTo>
                    <a:lnTo>
                      <a:pt x="228" y="648"/>
                    </a:lnTo>
                    <a:lnTo>
                      <a:pt x="234" y="648"/>
                    </a:lnTo>
                    <a:lnTo>
                      <a:pt x="234" y="678"/>
                    </a:lnTo>
                    <a:lnTo>
                      <a:pt x="228" y="690"/>
                    </a:lnTo>
                    <a:lnTo>
                      <a:pt x="234" y="696"/>
                    </a:lnTo>
                    <a:lnTo>
                      <a:pt x="252" y="696"/>
                    </a:lnTo>
                    <a:lnTo>
                      <a:pt x="264" y="690"/>
                    </a:lnTo>
                    <a:lnTo>
                      <a:pt x="270" y="684"/>
                    </a:lnTo>
                    <a:lnTo>
                      <a:pt x="276" y="672"/>
                    </a:lnTo>
                    <a:lnTo>
                      <a:pt x="294" y="654"/>
                    </a:lnTo>
                    <a:lnTo>
                      <a:pt x="300" y="642"/>
                    </a:lnTo>
                    <a:lnTo>
                      <a:pt x="312" y="630"/>
                    </a:lnTo>
                    <a:lnTo>
                      <a:pt x="330" y="630"/>
                    </a:lnTo>
                    <a:lnTo>
                      <a:pt x="336" y="624"/>
                    </a:lnTo>
                    <a:lnTo>
                      <a:pt x="366" y="582"/>
                    </a:lnTo>
                    <a:lnTo>
                      <a:pt x="360" y="480"/>
                    </a:lnTo>
                    <a:lnTo>
                      <a:pt x="366" y="480"/>
                    </a:lnTo>
                    <a:lnTo>
                      <a:pt x="390" y="456"/>
                    </a:lnTo>
                    <a:lnTo>
                      <a:pt x="390" y="420"/>
                    </a:lnTo>
                    <a:lnTo>
                      <a:pt x="396" y="408"/>
                    </a:lnTo>
                    <a:lnTo>
                      <a:pt x="402" y="402"/>
                    </a:lnTo>
                    <a:lnTo>
                      <a:pt x="450" y="378"/>
                    </a:lnTo>
                    <a:lnTo>
                      <a:pt x="456" y="366"/>
                    </a:lnTo>
                    <a:lnTo>
                      <a:pt x="468" y="360"/>
                    </a:lnTo>
                    <a:lnTo>
                      <a:pt x="474" y="354"/>
                    </a:lnTo>
                    <a:lnTo>
                      <a:pt x="474" y="300"/>
                    </a:lnTo>
                    <a:lnTo>
                      <a:pt x="486" y="294"/>
                    </a:lnTo>
                    <a:lnTo>
                      <a:pt x="492" y="282"/>
                    </a:lnTo>
                    <a:lnTo>
                      <a:pt x="492" y="258"/>
                    </a:lnTo>
                    <a:lnTo>
                      <a:pt x="486" y="246"/>
                    </a:lnTo>
                    <a:lnTo>
                      <a:pt x="480" y="240"/>
                    </a:lnTo>
                    <a:lnTo>
                      <a:pt x="480" y="228"/>
                    </a:lnTo>
                    <a:lnTo>
                      <a:pt x="498" y="192"/>
                    </a:lnTo>
                    <a:lnTo>
                      <a:pt x="498" y="168"/>
                    </a:lnTo>
                    <a:lnTo>
                      <a:pt x="492" y="156"/>
                    </a:lnTo>
                    <a:lnTo>
                      <a:pt x="492" y="126"/>
                    </a:lnTo>
                    <a:lnTo>
                      <a:pt x="498" y="120"/>
                    </a:lnTo>
                    <a:lnTo>
                      <a:pt x="510" y="96"/>
                    </a:lnTo>
                    <a:lnTo>
                      <a:pt x="522" y="84"/>
                    </a:lnTo>
                    <a:lnTo>
                      <a:pt x="528" y="66"/>
                    </a:lnTo>
                    <a:lnTo>
                      <a:pt x="534" y="54"/>
                    </a:lnTo>
                    <a:lnTo>
                      <a:pt x="534" y="18"/>
                    </a:lnTo>
                    <a:lnTo>
                      <a:pt x="522" y="6"/>
                    </a:lnTo>
                    <a:lnTo>
                      <a:pt x="510" y="18"/>
                    </a:lnTo>
                    <a:lnTo>
                      <a:pt x="498" y="18"/>
                    </a:lnTo>
                    <a:lnTo>
                      <a:pt x="462" y="0"/>
                    </a:lnTo>
                    <a:lnTo>
                      <a:pt x="444" y="0"/>
                    </a:lnTo>
                    <a:lnTo>
                      <a:pt x="426" y="18"/>
                    </a:lnTo>
                    <a:lnTo>
                      <a:pt x="396" y="18"/>
                    </a:lnTo>
                    <a:lnTo>
                      <a:pt x="378" y="48"/>
                    </a:lnTo>
                    <a:lnTo>
                      <a:pt x="390" y="60"/>
                    </a:lnTo>
                    <a:lnTo>
                      <a:pt x="390" y="84"/>
                    </a:lnTo>
                    <a:lnTo>
                      <a:pt x="384" y="96"/>
                    </a:lnTo>
                    <a:lnTo>
                      <a:pt x="378" y="102"/>
                    </a:lnTo>
                    <a:lnTo>
                      <a:pt x="372" y="114"/>
                    </a:lnTo>
                    <a:lnTo>
                      <a:pt x="366" y="12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59" name="Cha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4859F66-DC32-40A9-BCD4-77E2D0BADD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70513" y="3670902"/>
                <a:ext cx="328470" cy="579251"/>
              </a:xfrm>
              <a:custGeom>
                <a:avLst/>
                <a:gdLst>
                  <a:gd name="T0" fmla="*/ 2147483647 w 744"/>
                  <a:gd name="T1" fmla="*/ 2147483647 h 1290"/>
                  <a:gd name="T2" fmla="*/ 2147483647 w 744"/>
                  <a:gd name="T3" fmla="*/ 0 h 1290"/>
                  <a:gd name="T4" fmla="*/ 2147483647 w 744"/>
                  <a:gd name="T5" fmla="*/ 2147483647 h 1290"/>
                  <a:gd name="T6" fmla="*/ 2147483647 w 744"/>
                  <a:gd name="T7" fmla="*/ 2147483647 h 1290"/>
                  <a:gd name="T8" fmla="*/ 2147483647 w 744"/>
                  <a:gd name="T9" fmla="*/ 2147483647 h 1290"/>
                  <a:gd name="T10" fmla="*/ 2147483647 w 744"/>
                  <a:gd name="T11" fmla="*/ 2147483647 h 1290"/>
                  <a:gd name="T12" fmla="*/ 2147483647 w 744"/>
                  <a:gd name="T13" fmla="*/ 2147483647 h 1290"/>
                  <a:gd name="T14" fmla="*/ 2147483647 w 744"/>
                  <a:gd name="T15" fmla="*/ 2147483647 h 1290"/>
                  <a:gd name="T16" fmla="*/ 2147483647 w 744"/>
                  <a:gd name="T17" fmla="*/ 2147483647 h 1290"/>
                  <a:gd name="T18" fmla="*/ 0 w 744"/>
                  <a:gd name="T19" fmla="*/ 2147483647 h 1290"/>
                  <a:gd name="T20" fmla="*/ 2147483647 w 744"/>
                  <a:gd name="T21" fmla="*/ 2147483647 h 1290"/>
                  <a:gd name="T22" fmla="*/ 2147483647 w 744"/>
                  <a:gd name="T23" fmla="*/ 2147483647 h 1290"/>
                  <a:gd name="T24" fmla="*/ 2147483647 w 744"/>
                  <a:gd name="T25" fmla="*/ 2147483647 h 1290"/>
                  <a:gd name="T26" fmla="*/ 2147483647 w 744"/>
                  <a:gd name="T27" fmla="*/ 2147483647 h 1290"/>
                  <a:gd name="T28" fmla="*/ 2147483647 w 744"/>
                  <a:gd name="T29" fmla="*/ 2147483647 h 1290"/>
                  <a:gd name="T30" fmla="*/ 2147483647 w 744"/>
                  <a:gd name="T31" fmla="*/ 2147483647 h 1290"/>
                  <a:gd name="T32" fmla="*/ 2147483647 w 744"/>
                  <a:gd name="T33" fmla="*/ 2147483647 h 1290"/>
                  <a:gd name="T34" fmla="*/ 2147483647 w 744"/>
                  <a:gd name="T35" fmla="*/ 2147483647 h 1290"/>
                  <a:gd name="T36" fmla="*/ 2147483647 w 744"/>
                  <a:gd name="T37" fmla="*/ 2147483647 h 1290"/>
                  <a:gd name="T38" fmla="*/ 2147483647 w 744"/>
                  <a:gd name="T39" fmla="*/ 2147483647 h 1290"/>
                  <a:gd name="T40" fmla="*/ 2147483647 w 744"/>
                  <a:gd name="T41" fmla="*/ 2147483647 h 1290"/>
                  <a:gd name="T42" fmla="*/ 2147483647 w 744"/>
                  <a:gd name="T43" fmla="*/ 2147483647 h 1290"/>
                  <a:gd name="T44" fmla="*/ 2147483647 w 744"/>
                  <a:gd name="T45" fmla="*/ 2147483647 h 1290"/>
                  <a:gd name="T46" fmla="*/ 2147483647 w 744"/>
                  <a:gd name="T47" fmla="*/ 2147483647 h 1290"/>
                  <a:gd name="T48" fmla="*/ 2147483647 w 744"/>
                  <a:gd name="T49" fmla="*/ 2147483647 h 1290"/>
                  <a:gd name="T50" fmla="*/ 2147483647 w 744"/>
                  <a:gd name="T51" fmla="*/ 2147483647 h 1290"/>
                  <a:gd name="T52" fmla="*/ 2147483647 w 744"/>
                  <a:gd name="T53" fmla="*/ 2147483647 h 1290"/>
                  <a:gd name="T54" fmla="*/ 2147483647 w 744"/>
                  <a:gd name="T55" fmla="*/ 2147483647 h 1290"/>
                  <a:gd name="T56" fmla="*/ 2147483647 w 744"/>
                  <a:gd name="T57" fmla="*/ 2147483647 h 1290"/>
                  <a:gd name="T58" fmla="*/ 2147483647 w 744"/>
                  <a:gd name="T59" fmla="*/ 2147483647 h 1290"/>
                  <a:gd name="T60" fmla="*/ 2147483647 w 744"/>
                  <a:gd name="T61" fmla="*/ 2147483647 h 1290"/>
                  <a:gd name="T62" fmla="*/ 2147483647 w 744"/>
                  <a:gd name="T63" fmla="*/ 2147483647 h 1290"/>
                  <a:gd name="T64" fmla="*/ 2147483647 w 744"/>
                  <a:gd name="T65" fmla="*/ 2147483647 h 1290"/>
                  <a:gd name="T66" fmla="*/ 2147483647 w 744"/>
                  <a:gd name="T67" fmla="*/ 2147483647 h 1290"/>
                  <a:gd name="T68" fmla="*/ 2147483647 w 744"/>
                  <a:gd name="T69" fmla="*/ 2147483647 h 1290"/>
                  <a:gd name="T70" fmla="*/ 2147483647 w 744"/>
                  <a:gd name="T71" fmla="*/ 2147483647 h 1290"/>
                  <a:gd name="T72" fmla="*/ 2147483647 w 744"/>
                  <a:gd name="T73" fmla="*/ 2147483647 h 1290"/>
                  <a:gd name="T74" fmla="*/ 2147483647 w 744"/>
                  <a:gd name="T75" fmla="*/ 2147483647 h 1290"/>
                  <a:gd name="T76" fmla="*/ 2147483647 w 744"/>
                  <a:gd name="T77" fmla="*/ 2147483647 h 1290"/>
                  <a:gd name="T78" fmla="*/ 2147483647 w 744"/>
                  <a:gd name="T79" fmla="*/ 2147483647 h 1290"/>
                  <a:gd name="T80" fmla="*/ 2147483647 w 744"/>
                  <a:gd name="T81" fmla="*/ 2147483647 h 1290"/>
                  <a:gd name="T82" fmla="*/ 2147483647 w 744"/>
                  <a:gd name="T83" fmla="*/ 2147483647 h 1290"/>
                  <a:gd name="T84" fmla="*/ 2147483647 w 744"/>
                  <a:gd name="T85" fmla="*/ 2147483647 h 1290"/>
                  <a:gd name="T86" fmla="*/ 2147483647 w 744"/>
                  <a:gd name="T87" fmla="*/ 2147483647 h 1290"/>
                  <a:gd name="T88" fmla="*/ 2147483647 w 744"/>
                  <a:gd name="T89" fmla="*/ 2147483647 h 1290"/>
                  <a:gd name="T90" fmla="*/ 2147483647 w 744"/>
                  <a:gd name="T91" fmla="*/ 2147483647 h 1290"/>
                  <a:gd name="T92" fmla="*/ 2147483647 w 744"/>
                  <a:gd name="T93" fmla="*/ 2147483647 h 129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744"/>
                  <a:gd name="T142" fmla="*/ 0 h 1290"/>
                  <a:gd name="T143" fmla="*/ 744 w 744"/>
                  <a:gd name="T144" fmla="*/ 1290 h 129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744" h="1290">
                    <a:moveTo>
                      <a:pt x="678" y="624"/>
                    </a:moveTo>
                    <a:lnTo>
                      <a:pt x="720" y="624"/>
                    </a:lnTo>
                    <a:lnTo>
                      <a:pt x="732" y="630"/>
                    </a:lnTo>
                    <a:lnTo>
                      <a:pt x="744" y="630"/>
                    </a:lnTo>
                    <a:lnTo>
                      <a:pt x="738" y="324"/>
                    </a:lnTo>
                    <a:lnTo>
                      <a:pt x="180" y="0"/>
                    </a:lnTo>
                    <a:lnTo>
                      <a:pt x="156" y="12"/>
                    </a:lnTo>
                    <a:lnTo>
                      <a:pt x="144" y="24"/>
                    </a:lnTo>
                    <a:lnTo>
                      <a:pt x="126" y="30"/>
                    </a:lnTo>
                    <a:lnTo>
                      <a:pt x="108" y="42"/>
                    </a:lnTo>
                    <a:lnTo>
                      <a:pt x="126" y="108"/>
                    </a:lnTo>
                    <a:lnTo>
                      <a:pt x="114" y="156"/>
                    </a:lnTo>
                    <a:lnTo>
                      <a:pt x="144" y="192"/>
                    </a:lnTo>
                    <a:lnTo>
                      <a:pt x="150" y="216"/>
                    </a:lnTo>
                    <a:lnTo>
                      <a:pt x="180" y="252"/>
                    </a:lnTo>
                    <a:lnTo>
                      <a:pt x="162" y="288"/>
                    </a:lnTo>
                    <a:lnTo>
                      <a:pt x="144" y="534"/>
                    </a:lnTo>
                    <a:lnTo>
                      <a:pt x="138" y="540"/>
                    </a:lnTo>
                    <a:lnTo>
                      <a:pt x="120" y="564"/>
                    </a:lnTo>
                    <a:lnTo>
                      <a:pt x="96" y="588"/>
                    </a:lnTo>
                    <a:lnTo>
                      <a:pt x="72" y="618"/>
                    </a:lnTo>
                    <a:lnTo>
                      <a:pt x="54" y="636"/>
                    </a:lnTo>
                    <a:lnTo>
                      <a:pt x="48" y="648"/>
                    </a:lnTo>
                    <a:lnTo>
                      <a:pt x="36" y="666"/>
                    </a:lnTo>
                    <a:lnTo>
                      <a:pt x="30" y="678"/>
                    </a:lnTo>
                    <a:lnTo>
                      <a:pt x="24" y="696"/>
                    </a:lnTo>
                    <a:lnTo>
                      <a:pt x="24" y="708"/>
                    </a:lnTo>
                    <a:lnTo>
                      <a:pt x="18" y="714"/>
                    </a:lnTo>
                    <a:lnTo>
                      <a:pt x="18" y="720"/>
                    </a:lnTo>
                    <a:lnTo>
                      <a:pt x="0" y="726"/>
                    </a:lnTo>
                    <a:lnTo>
                      <a:pt x="6" y="786"/>
                    </a:lnTo>
                    <a:lnTo>
                      <a:pt x="18" y="786"/>
                    </a:lnTo>
                    <a:lnTo>
                      <a:pt x="48" y="834"/>
                    </a:lnTo>
                    <a:lnTo>
                      <a:pt x="48" y="846"/>
                    </a:lnTo>
                    <a:lnTo>
                      <a:pt x="48" y="840"/>
                    </a:lnTo>
                    <a:lnTo>
                      <a:pt x="72" y="834"/>
                    </a:lnTo>
                    <a:lnTo>
                      <a:pt x="72" y="852"/>
                    </a:lnTo>
                    <a:lnTo>
                      <a:pt x="78" y="864"/>
                    </a:lnTo>
                    <a:lnTo>
                      <a:pt x="84" y="870"/>
                    </a:lnTo>
                    <a:lnTo>
                      <a:pt x="96" y="870"/>
                    </a:lnTo>
                    <a:lnTo>
                      <a:pt x="102" y="876"/>
                    </a:lnTo>
                    <a:lnTo>
                      <a:pt x="108" y="876"/>
                    </a:lnTo>
                    <a:lnTo>
                      <a:pt x="102" y="912"/>
                    </a:lnTo>
                    <a:lnTo>
                      <a:pt x="114" y="918"/>
                    </a:lnTo>
                    <a:lnTo>
                      <a:pt x="120" y="930"/>
                    </a:lnTo>
                    <a:lnTo>
                      <a:pt x="120" y="966"/>
                    </a:lnTo>
                    <a:lnTo>
                      <a:pt x="114" y="966"/>
                    </a:lnTo>
                    <a:lnTo>
                      <a:pt x="114" y="1002"/>
                    </a:lnTo>
                    <a:lnTo>
                      <a:pt x="120" y="1020"/>
                    </a:lnTo>
                    <a:lnTo>
                      <a:pt x="120" y="1038"/>
                    </a:lnTo>
                    <a:lnTo>
                      <a:pt x="126" y="1050"/>
                    </a:lnTo>
                    <a:lnTo>
                      <a:pt x="138" y="1056"/>
                    </a:lnTo>
                    <a:lnTo>
                      <a:pt x="144" y="1068"/>
                    </a:lnTo>
                    <a:lnTo>
                      <a:pt x="162" y="1086"/>
                    </a:lnTo>
                    <a:lnTo>
                      <a:pt x="66" y="1086"/>
                    </a:lnTo>
                    <a:lnTo>
                      <a:pt x="54" y="1092"/>
                    </a:lnTo>
                    <a:lnTo>
                      <a:pt x="48" y="1098"/>
                    </a:lnTo>
                    <a:lnTo>
                      <a:pt x="48" y="1110"/>
                    </a:lnTo>
                    <a:lnTo>
                      <a:pt x="60" y="1134"/>
                    </a:lnTo>
                    <a:lnTo>
                      <a:pt x="72" y="1146"/>
                    </a:lnTo>
                    <a:lnTo>
                      <a:pt x="78" y="1158"/>
                    </a:lnTo>
                    <a:lnTo>
                      <a:pt x="90" y="1170"/>
                    </a:lnTo>
                    <a:lnTo>
                      <a:pt x="108" y="1182"/>
                    </a:lnTo>
                    <a:lnTo>
                      <a:pt x="120" y="1188"/>
                    </a:lnTo>
                    <a:lnTo>
                      <a:pt x="132" y="1200"/>
                    </a:lnTo>
                    <a:lnTo>
                      <a:pt x="144" y="1224"/>
                    </a:lnTo>
                    <a:lnTo>
                      <a:pt x="144" y="1242"/>
                    </a:lnTo>
                    <a:lnTo>
                      <a:pt x="150" y="1254"/>
                    </a:lnTo>
                    <a:lnTo>
                      <a:pt x="156" y="1272"/>
                    </a:lnTo>
                    <a:lnTo>
                      <a:pt x="156" y="1284"/>
                    </a:lnTo>
                    <a:lnTo>
                      <a:pt x="162" y="1284"/>
                    </a:lnTo>
                    <a:lnTo>
                      <a:pt x="168" y="1290"/>
                    </a:lnTo>
                    <a:lnTo>
                      <a:pt x="186" y="1290"/>
                    </a:lnTo>
                    <a:lnTo>
                      <a:pt x="198" y="1284"/>
                    </a:lnTo>
                    <a:lnTo>
                      <a:pt x="216" y="1266"/>
                    </a:lnTo>
                    <a:lnTo>
                      <a:pt x="228" y="1260"/>
                    </a:lnTo>
                    <a:lnTo>
                      <a:pt x="234" y="1254"/>
                    </a:lnTo>
                    <a:lnTo>
                      <a:pt x="234" y="1278"/>
                    </a:lnTo>
                    <a:lnTo>
                      <a:pt x="240" y="1284"/>
                    </a:lnTo>
                    <a:lnTo>
                      <a:pt x="246" y="1284"/>
                    </a:lnTo>
                    <a:lnTo>
                      <a:pt x="258" y="1278"/>
                    </a:lnTo>
                    <a:lnTo>
                      <a:pt x="270" y="1266"/>
                    </a:lnTo>
                    <a:lnTo>
                      <a:pt x="276" y="1254"/>
                    </a:lnTo>
                    <a:lnTo>
                      <a:pt x="282" y="1248"/>
                    </a:lnTo>
                    <a:lnTo>
                      <a:pt x="372" y="1248"/>
                    </a:lnTo>
                    <a:lnTo>
                      <a:pt x="378" y="1242"/>
                    </a:lnTo>
                    <a:lnTo>
                      <a:pt x="384" y="1230"/>
                    </a:lnTo>
                    <a:lnTo>
                      <a:pt x="390" y="1224"/>
                    </a:lnTo>
                    <a:lnTo>
                      <a:pt x="396" y="1212"/>
                    </a:lnTo>
                    <a:lnTo>
                      <a:pt x="402" y="1206"/>
                    </a:lnTo>
                    <a:lnTo>
                      <a:pt x="402" y="1194"/>
                    </a:lnTo>
                    <a:lnTo>
                      <a:pt x="390" y="1182"/>
                    </a:lnTo>
                    <a:lnTo>
                      <a:pt x="384" y="1182"/>
                    </a:lnTo>
                    <a:lnTo>
                      <a:pt x="402" y="1170"/>
                    </a:lnTo>
                    <a:lnTo>
                      <a:pt x="420" y="1170"/>
                    </a:lnTo>
                    <a:lnTo>
                      <a:pt x="462" y="1164"/>
                    </a:lnTo>
                    <a:lnTo>
                      <a:pt x="510" y="1146"/>
                    </a:lnTo>
                    <a:lnTo>
                      <a:pt x="528" y="1134"/>
                    </a:lnTo>
                    <a:lnTo>
                      <a:pt x="552" y="1110"/>
                    </a:lnTo>
                    <a:lnTo>
                      <a:pt x="552" y="1092"/>
                    </a:lnTo>
                    <a:lnTo>
                      <a:pt x="588" y="1068"/>
                    </a:lnTo>
                    <a:lnTo>
                      <a:pt x="594" y="1038"/>
                    </a:lnTo>
                    <a:lnTo>
                      <a:pt x="648" y="1008"/>
                    </a:lnTo>
                    <a:lnTo>
                      <a:pt x="672" y="1008"/>
                    </a:lnTo>
                    <a:lnTo>
                      <a:pt x="672" y="996"/>
                    </a:lnTo>
                    <a:lnTo>
                      <a:pt x="684" y="996"/>
                    </a:lnTo>
                    <a:lnTo>
                      <a:pt x="684" y="990"/>
                    </a:lnTo>
                    <a:lnTo>
                      <a:pt x="678" y="984"/>
                    </a:lnTo>
                    <a:lnTo>
                      <a:pt x="666" y="966"/>
                    </a:lnTo>
                    <a:lnTo>
                      <a:pt x="654" y="960"/>
                    </a:lnTo>
                    <a:lnTo>
                      <a:pt x="648" y="960"/>
                    </a:lnTo>
                    <a:lnTo>
                      <a:pt x="642" y="936"/>
                    </a:lnTo>
                    <a:lnTo>
                      <a:pt x="660" y="930"/>
                    </a:lnTo>
                    <a:lnTo>
                      <a:pt x="642" y="918"/>
                    </a:lnTo>
                    <a:lnTo>
                      <a:pt x="642" y="876"/>
                    </a:lnTo>
                    <a:lnTo>
                      <a:pt x="636" y="870"/>
                    </a:lnTo>
                    <a:lnTo>
                      <a:pt x="624" y="870"/>
                    </a:lnTo>
                    <a:lnTo>
                      <a:pt x="618" y="876"/>
                    </a:lnTo>
                    <a:lnTo>
                      <a:pt x="606" y="876"/>
                    </a:lnTo>
                    <a:lnTo>
                      <a:pt x="600" y="870"/>
                    </a:lnTo>
                    <a:lnTo>
                      <a:pt x="600" y="852"/>
                    </a:lnTo>
                    <a:lnTo>
                      <a:pt x="606" y="840"/>
                    </a:lnTo>
                    <a:lnTo>
                      <a:pt x="618" y="834"/>
                    </a:lnTo>
                    <a:lnTo>
                      <a:pt x="630" y="822"/>
                    </a:lnTo>
                    <a:lnTo>
                      <a:pt x="630" y="810"/>
                    </a:lnTo>
                    <a:lnTo>
                      <a:pt x="618" y="786"/>
                    </a:lnTo>
                    <a:lnTo>
                      <a:pt x="612" y="780"/>
                    </a:lnTo>
                    <a:lnTo>
                      <a:pt x="630" y="762"/>
                    </a:lnTo>
                    <a:lnTo>
                      <a:pt x="648" y="750"/>
                    </a:lnTo>
                    <a:lnTo>
                      <a:pt x="642" y="732"/>
                    </a:lnTo>
                    <a:lnTo>
                      <a:pt x="636" y="708"/>
                    </a:lnTo>
                    <a:lnTo>
                      <a:pt x="648" y="708"/>
                    </a:lnTo>
                    <a:lnTo>
                      <a:pt x="648" y="690"/>
                    </a:lnTo>
                    <a:lnTo>
                      <a:pt x="660" y="678"/>
                    </a:lnTo>
                    <a:lnTo>
                      <a:pt x="672" y="672"/>
                    </a:lnTo>
                    <a:lnTo>
                      <a:pt x="678" y="666"/>
                    </a:lnTo>
                    <a:lnTo>
                      <a:pt x="678" y="660"/>
                    </a:lnTo>
                    <a:lnTo>
                      <a:pt x="672" y="654"/>
                    </a:lnTo>
                    <a:lnTo>
                      <a:pt x="672" y="642"/>
                    </a:lnTo>
                    <a:lnTo>
                      <a:pt x="666" y="636"/>
                    </a:lnTo>
                    <a:lnTo>
                      <a:pt x="678" y="62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0" name="Central African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CC8C41F-1076-4C71-9009-F84797A1FC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01961" y="4124380"/>
                <a:ext cx="405345" cy="313541"/>
              </a:xfrm>
              <a:custGeom>
                <a:avLst/>
                <a:gdLst>
                  <a:gd name="T0" fmla="*/ 2147483647 w 912"/>
                  <a:gd name="T1" fmla="*/ 2147483647 h 702"/>
                  <a:gd name="T2" fmla="*/ 2147483647 w 912"/>
                  <a:gd name="T3" fmla="*/ 2147483647 h 702"/>
                  <a:gd name="T4" fmla="*/ 2147483647 w 912"/>
                  <a:gd name="T5" fmla="*/ 2147483647 h 702"/>
                  <a:gd name="T6" fmla="*/ 2147483647 w 912"/>
                  <a:gd name="T7" fmla="*/ 2147483647 h 702"/>
                  <a:gd name="T8" fmla="*/ 2147483647 w 912"/>
                  <a:gd name="T9" fmla="*/ 2147483647 h 702"/>
                  <a:gd name="T10" fmla="*/ 2147483647 w 912"/>
                  <a:gd name="T11" fmla="*/ 2147483647 h 702"/>
                  <a:gd name="T12" fmla="*/ 2147483647 w 912"/>
                  <a:gd name="T13" fmla="*/ 2147483647 h 702"/>
                  <a:gd name="T14" fmla="*/ 2147483647 w 912"/>
                  <a:gd name="T15" fmla="*/ 2147483647 h 702"/>
                  <a:gd name="T16" fmla="*/ 2147483647 w 912"/>
                  <a:gd name="T17" fmla="*/ 2147483647 h 702"/>
                  <a:gd name="T18" fmla="*/ 2147483647 w 912"/>
                  <a:gd name="T19" fmla="*/ 2147483647 h 702"/>
                  <a:gd name="T20" fmla="*/ 2147483647 w 912"/>
                  <a:gd name="T21" fmla="*/ 2147483647 h 702"/>
                  <a:gd name="T22" fmla="*/ 2147483647 w 912"/>
                  <a:gd name="T23" fmla="*/ 2147483647 h 702"/>
                  <a:gd name="T24" fmla="*/ 2147483647 w 912"/>
                  <a:gd name="T25" fmla="*/ 2147483647 h 702"/>
                  <a:gd name="T26" fmla="*/ 2147483647 w 912"/>
                  <a:gd name="T27" fmla="*/ 2147483647 h 702"/>
                  <a:gd name="T28" fmla="*/ 2147483647 w 912"/>
                  <a:gd name="T29" fmla="*/ 2147483647 h 702"/>
                  <a:gd name="T30" fmla="*/ 2147483647 w 912"/>
                  <a:gd name="T31" fmla="*/ 0 h 702"/>
                  <a:gd name="T32" fmla="*/ 2147483647 w 912"/>
                  <a:gd name="T33" fmla="*/ 2147483647 h 702"/>
                  <a:gd name="T34" fmla="*/ 2147483647 w 912"/>
                  <a:gd name="T35" fmla="*/ 2147483647 h 702"/>
                  <a:gd name="T36" fmla="*/ 2147483647 w 912"/>
                  <a:gd name="T37" fmla="*/ 2147483647 h 702"/>
                  <a:gd name="T38" fmla="*/ 2147483647 w 912"/>
                  <a:gd name="T39" fmla="*/ 2147483647 h 702"/>
                  <a:gd name="T40" fmla="*/ 2147483647 w 912"/>
                  <a:gd name="T41" fmla="*/ 2147483647 h 702"/>
                  <a:gd name="T42" fmla="*/ 2147483647 w 912"/>
                  <a:gd name="T43" fmla="*/ 2147483647 h 702"/>
                  <a:gd name="T44" fmla="*/ 2147483647 w 912"/>
                  <a:gd name="T45" fmla="*/ 2147483647 h 702"/>
                  <a:gd name="T46" fmla="*/ 2147483647 w 912"/>
                  <a:gd name="T47" fmla="*/ 2147483647 h 702"/>
                  <a:gd name="T48" fmla="*/ 2147483647 w 912"/>
                  <a:gd name="T49" fmla="*/ 2147483647 h 702"/>
                  <a:gd name="T50" fmla="*/ 2147483647 w 912"/>
                  <a:gd name="T51" fmla="*/ 2147483647 h 702"/>
                  <a:gd name="T52" fmla="*/ 2147483647 w 912"/>
                  <a:gd name="T53" fmla="*/ 2147483647 h 702"/>
                  <a:gd name="T54" fmla="*/ 2147483647 w 912"/>
                  <a:gd name="T55" fmla="*/ 2147483647 h 702"/>
                  <a:gd name="T56" fmla="*/ 2147483647 w 912"/>
                  <a:gd name="T57" fmla="*/ 2147483647 h 702"/>
                  <a:gd name="T58" fmla="*/ 2147483647 w 912"/>
                  <a:gd name="T59" fmla="*/ 2147483647 h 702"/>
                  <a:gd name="T60" fmla="*/ 0 w 912"/>
                  <a:gd name="T61" fmla="*/ 2147483647 h 702"/>
                  <a:gd name="T62" fmla="*/ 2147483647 w 912"/>
                  <a:gd name="T63" fmla="*/ 2147483647 h 702"/>
                  <a:gd name="T64" fmla="*/ 2147483647 w 912"/>
                  <a:gd name="T65" fmla="*/ 2147483647 h 702"/>
                  <a:gd name="T66" fmla="*/ 2147483647 w 912"/>
                  <a:gd name="T67" fmla="*/ 2147483647 h 702"/>
                  <a:gd name="T68" fmla="*/ 2147483647 w 912"/>
                  <a:gd name="T69" fmla="*/ 2147483647 h 702"/>
                  <a:gd name="T70" fmla="*/ 2147483647 w 912"/>
                  <a:gd name="T71" fmla="*/ 2147483647 h 702"/>
                  <a:gd name="T72" fmla="*/ 2147483647 w 912"/>
                  <a:gd name="T73" fmla="*/ 2147483647 h 702"/>
                  <a:gd name="T74" fmla="*/ 2147483647 w 912"/>
                  <a:gd name="T75" fmla="*/ 2147483647 h 702"/>
                  <a:gd name="T76" fmla="*/ 2147483647 w 912"/>
                  <a:gd name="T77" fmla="*/ 2147483647 h 702"/>
                  <a:gd name="T78" fmla="*/ 2147483647 w 912"/>
                  <a:gd name="T79" fmla="*/ 2147483647 h 702"/>
                  <a:gd name="T80" fmla="*/ 2147483647 w 912"/>
                  <a:gd name="T81" fmla="*/ 2147483647 h 702"/>
                  <a:gd name="T82" fmla="*/ 2147483647 w 912"/>
                  <a:gd name="T83" fmla="*/ 2147483647 h 702"/>
                  <a:gd name="T84" fmla="*/ 2147483647 w 912"/>
                  <a:gd name="T85" fmla="*/ 2147483647 h 702"/>
                  <a:gd name="T86" fmla="*/ 2147483647 w 912"/>
                  <a:gd name="T87" fmla="*/ 2147483647 h 702"/>
                  <a:gd name="T88" fmla="*/ 2147483647 w 912"/>
                  <a:gd name="T89" fmla="*/ 2147483647 h 702"/>
                  <a:gd name="T90" fmla="*/ 2147483647 w 912"/>
                  <a:gd name="T91" fmla="*/ 2147483647 h 702"/>
                  <a:gd name="T92" fmla="*/ 2147483647 w 912"/>
                  <a:gd name="T93" fmla="*/ 2147483647 h 702"/>
                  <a:gd name="T94" fmla="*/ 2147483647 w 912"/>
                  <a:gd name="T95" fmla="*/ 2147483647 h 702"/>
                  <a:gd name="T96" fmla="*/ 2147483647 w 912"/>
                  <a:gd name="T97" fmla="*/ 2147483647 h 702"/>
                  <a:gd name="T98" fmla="*/ 2147483647 w 912"/>
                  <a:gd name="T99" fmla="*/ 2147483647 h 702"/>
                  <a:gd name="T100" fmla="*/ 2147483647 w 912"/>
                  <a:gd name="T101" fmla="*/ 2147483647 h 702"/>
                  <a:gd name="T102" fmla="*/ 2147483647 w 912"/>
                  <a:gd name="T103" fmla="*/ 2147483647 h 702"/>
                  <a:gd name="T104" fmla="*/ 2147483647 w 912"/>
                  <a:gd name="T105" fmla="*/ 2147483647 h 702"/>
                  <a:gd name="T106" fmla="*/ 2147483647 w 912"/>
                  <a:gd name="T107" fmla="*/ 2147483647 h 702"/>
                  <a:gd name="T108" fmla="*/ 2147483647 w 912"/>
                  <a:gd name="T109" fmla="*/ 2147483647 h 702"/>
                  <a:gd name="T110" fmla="*/ 2147483647 w 912"/>
                  <a:gd name="T111" fmla="*/ 2147483647 h 702"/>
                  <a:gd name="T112" fmla="*/ 2147483647 w 912"/>
                  <a:gd name="T113" fmla="*/ 2147483647 h 702"/>
                  <a:gd name="T114" fmla="*/ 2147483647 w 912"/>
                  <a:gd name="T115" fmla="*/ 2147483647 h 702"/>
                  <a:gd name="T116" fmla="*/ 2147483647 w 912"/>
                  <a:gd name="T117" fmla="*/ 2147483647 h 702"/>
                  <a:gd name="T118" fmla="*/ 2147483647 w 912"/>
                  <a:gd name="T119" fmla="*/ 2147483647 h 702"/>
                  <a:gd name="T120" fmla="*/ 2147483647 w 912"/>
                  <a:gd name="T121" fmla="*/ 2147483647 h 70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12"/>
                  <a:gd name="T184" fmla="*/ 0 h 702"/>
                  <a:gd name="T185" fmla="*/ 912 w 912"/>
                  <a:gd name="T186" fmla="*/ 702 h 70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12" h="702">
                    <a:moveTo>
                      <a:pt x="906" y="420"/>
                    </a:moveTo>
                    <a:lnTo>
                      <a:pt x="900" y="414"/>
                    </a:lnTo>
                    <a:lnTo>
                      <a:pt x="888" y="408"/>
                    </a:lnTo>
                    <a:lnTo>
                      <a:pt x="882" y="402"/>
                    </a:lnTo>
                    <a:lnTo>
                      <a:pt x="858" y="396"/>
                    </a:lnTo>
                    <a:lnTo>
                      <a:pt x="858" y="378"/>
                    </a:lnTo>
                    <a:lnTo>
                      <a:pt x="846" y="366"/>
                    </a:lnTo>
                    <a:lnTo>
                      <a:pt x="846" y="360"/>
                    </a:lnTo>
                    <a:lnTo>
                      <a:pt x="858" y="360"/>
                    </a:lnTo>
                    <a:lnTo>
                      <a:pt x="858" y="348"/>
                    </a:lnTo>
                    <a:lnTo>
                      <a:pt x="852" y="342"/>
                    </a:lnTo>
                    <a:lnTo>
                      <a:pt x="834" y="342"/>
                    </a:lnTo>
                    <a:lnTo>
                      <a:pt x="834" y="336"/>
                    </a:lnTo>
                    <a:lnTo>
                      <a:pt x="828" y="330"/>
                    </a:lnTo>
                    <a:lnTo>
                      <a:pt x="822" y="318"/>
                    </a:lnTo>
                    <a:lnTo>
                      <a:pt x="810" y="306"/>
                    </a:lnTo>
                    <a:lnTo>
                      <a:pt x="798" y="300"/>
                    </a:lnTo>
                    <a:lnTo>
                      <a:pt x="792" y="300"/>
                    </a:lnTo>
                    <a:lnTo>
                      <a:pt x="780" y="294"/>
                    </a:lnTo>
                    <a:lnTo>
                      <a:pt x="768" y="282"/>
                    </a:lnTo>
                    <a:lnTo>
                      <a:pt x="768" y="276"/>
                    </a:lnTo>
                    <a:lnTo>
                      <a:pt x="774" y="276"/>
                    </a:lnTo>
                    <a:lnTo>
                      <a:pt x="774" y="270"/>
                    </a:lnTo>
                    <a:lnTo>
                      <a:pt x="780" y="270"/>
                    </a:lnTo>
                    <a:lnTo>
                      <a:pt x="780" y="264"/>
                    </a:lnTo>
                    <a:lnTo>
                      <a:pt x="768" y="252"/>
                    </a:lnTo>
                    <a:lnTo>
                      <a:pt x="756" y="246"/>
                    </a:lnTo>
                    <a:lnTo>
                      <a:pt x="750" y="246"/>
                    </a:lnTo>
                    <a:lnTo>
                      <a:pt x="750" y="228"/>
                    </a:lnTo>
                    <a:lnTo>
                      <a:pt x="720" y="228"/>
                    </a:lnTo>
                    <a:lnTo>
                      <a:pt x="696" y="216"/>
                    </a:lnTo>
                    <a:lnTo>
                      <a:pt x="696" y="186"/>
                    </a:lnTo>
                    <a:lnTo>
                      <a:pt x="648" y="180"/>
                    </a:lnTo>
                    <a:lnTo>
                      <a:pt x="654" y="162"/>
                    </a:lnTo>
                    <a:lnTo>
                      <a:pt x="648" y="162"/>
                    </a:lnTo>
                    <a:lnTo>
                      <a:pt x="642" y="156"/>
                    </a:lnTo>
                    <a:lnTo>
                      <a:pt x="642" y="150"/>
                    </a:lnTo>
                    <a:lnTo>
                      <a:pt x="648" y="144"/>
                    </a:lnTo>
                    <a:lnTo>
                      <a:pt x="654" y="132"/>
                    </a:lnTo>
                    <a:lnTo>
                      <a:pt x="660" y="126"/>
                    </a:lnTo>
                    <a:lnTo>
                      <a:pt x="660" y="96"/>
                    </a:lnTo>
                    <a:lnTo>
                      <a:pt x="654" y="84"/>
                    </a:lnTo>
                    <a:lnTo>
                      <a:pt x="648" y="66"/>
                    </a:lnTo>
                    <a:lnTo>
                      <a:pt x="636" y="54"/>
                    </a:lnTo>
                    <a:lnTo>
                      <a:pt x="630" y="42"/>
                    </a:lnTo>
                    <a:lnTo>
                      <a:pt x="600" y="12"/>
                    </a:lnTo>
                    <a:lnTo>
                      <a:pt x="600" y="0"/>
                    </a:lnTo>
                    <a:lnTo>
                      <a:pt x="576" y="0"/>
                    </a:lnTo>
                    <a:lnTo>
                      <a:pt x="522" y="30"/>
                    </a:lnTo>
                    <a:lnTo>
                      <a:pt x="516" y="60"/>
                    </a:lnTo>
                    <a:lnTo>
                      <a:pt x="480" y="84"/>
                    </a:lnTo>
                    <a:lnTo>
                      <a:pt x="480" y="102"/>
                    </a:lnTo>
                    <a:lnTo>
                      <a:pt x="456" y="126"/>
                    </a:lnTo>
                    <a:lnTo>
                      <a:pt x="438" y="138"/>
                    </a:lnTo>
                    <a:lnTo>
                      <a:pt x="390" y="156"/>
                    </a:lnTo>
                    <a:lnTo>
                      <a:pt x="348" y="162"/>
                    </a:lnTo>
                    <a:lnTo>
                      <a:pt x="330" y="162"/>
                    </a:lnTo>
                    <a:lnTo>
                      <a:pt x="312" y="174"/>
                    </a:lnTo>
                    <a:lnTo>
                      <a:pt x="318" y="174"/>
                    </a:lnTo>
                    <a:lnTo>
                      <a:pt x="330" y="186"/>
                    </a:lnTo>
                    <a:lnTo>
                      <a:pt x="330" y="198"/>
                    </a:lnTo>
                    <a:lnTo>
                      <a:pt x="324" y="204"/>
                    </a:lnTo>
                    <a:lnTo>
                      <a:pt x="318" y="216"/>
                    </a:lnTo>
                    <a:lnTo>
                      <a:pt x="312" y="222"/>
                    </a:lnTo>
                    <a:lnTo>
                      <a:pt x="306" y="234"/>
                    </a:lnTo>
                    <a:lnTo>
                      <a:pt x="300" y="240"/>
                    </a:lnTo>
                    <a:lnTo>
                      <a:pt x="210" y="240"/>
                    </a:lnTo>
                    <a:lnTo>
                      <a:pt x="204" y="246"/>
                    </a:lnTo>
                    <a:lnTo>
                      <a:pt x="198" y="258"/>
                    </a:lnTo>
                    <a:lnTo>
                      <a:pt x="186" y="270"/>
                    </a:lnTo>
                    <a:lnTo>
                      <a:pt x="174" y="276"/>
                    </a:lnTo>
                    <a:lnTo>
                      <a:pt x="168" y="276"/>
                    </a:lnTo>
                    <a:lnTo>
                      <a:pt x="162" y="270"/>
                    </a:lnTo>
                    <a:lnTo>
                      <a:pt x="162" y="246"/>
                    </a:lnTo>
                    <a:lnTo>
                      <a:pt x="156" y="252"/>
                    </a:lnTo>
                    <a:lnTo>
                      <a:pt x="144" y="258"/>
                    </a:lnTo>
                    <a:lnTo>
                      <a:pt x="126" y="276"/>
                    </a:lnTo>
                    <a:lnTo>
                      <a:pt x="114" y="282"/>
                    </a:lnTo>
                    <a:lnTo>
                      <a:pt x="96" y="282"/>
                    </a:lnTo>
                    <a:lnTo>
                      <a:pt x="90" y="276"/>
                    </a:lnTo>
                    <a:lnTo>
                      <a:pt x="78" y="276"/>
                    </a:lnTo>
                    <a:lnTo>
                      <a:pt x="66" y="288"/>
                    </a:lnTo>
                    <a:lnTo>
                      <a:pt x="60" y="300"/>
                    </a:lnTo>
                    <a:lnTo>
                      <a:pt x="54" y="306"/>
                    </a:lnTo>
                    <a:lnTo>
                      <a:pt x="54" y="324"/>
                    </a:lnTo>
                    <a:lnTo>
                      <a:pt x="48" y="336"/>
                    </a:lnTo>
                    <a:lnTo>
                      <a:pt x="42" y="336"/>
                    </a:lnTo>
                    <a:lnTo>
                      <a:pt x="36" y="372"/>
                    </a:lnTo>
                    <a:lnTo>
                      <a:pt x="30" y="372"/>
                    </a:lnTo>
                    <a:lnTo>
                      <a:pt x="24" y="378"/>
                    </a:lnTo>
                    <a:lnTo>
                      <a:pt x="12" y="384"/>
                    </a:lnTo>
                    <a:lnTo>
                      <a:pt x="0" y="396"/>
                    </a:lnTo>
                    <a:lnTo>
                      <a:pt x="0" y="402"/>
                    </a:lnTo>
                    <a:lnTo>
                      <a:pt x="12" y="408"/>
                    </a:lnTo>
                    <a:lnTo>
                      <a:pt x="18" y="408"/>
                    </a:lnTo>
                    <a:lnTo>
                      <a:pt x="18" y="444"/>
                    </a:lnTo>
                    <a:lnTo>
                      <a:pt x="6" y="456"/>
                    </a:lnTo>
                    <a:lnTo>
                      <a:pt x="24" y="468"/>
                    </a:lnTo>
                    <a:lnTo>
                      <a:pt x="24" y="516"/>
                    </a:lnTo>
                    <a:lnTo>
                      <a:pt x="30" y="516"/>
                    </a:lnTo>
                    <a:lnTo>
                      <a:pt x="48" y="534"/>
                    </a:lnTo>
                    <a:lnTo>
                      <a:pt x="54" y="534"/>
                    </a:lnTo>
                    <a:lnTo>
                      <a:pt x="54" y="576"/>
                    </a:lnTo>
                    <a:lnTo>
                      <a:pt x="60" y="582"/>
                    </a:lnTo>
                    <a:lnTo>
                      <a:pt x="72" y="606"/>
                    </a:lnTo>
                    <a:lnTo>
                      <a:pt x="84" y="618"/>
                    </a:lnTo>
                    <a:lnTo>
                      <a:pt x="96" y="624"/>
                    </a:lnTo>
                    <a:lnTo>
                      <a:pt x="102" y="636"/>
                    </a:lnTo>
                    <a:lnTo>
                      <a:pt x="114" y="642"/>
                    </a:lnTo>
                    <a:lnTo>
                      <a:pt x="120" y="660"/>
                    </a:lnTo>
                    <a:lnTo>
                      <a:pt x="120" y="690"/>
                    </a:lnTo>
                    <a:lnTo>
                      <a:pt x="132" y="702"/>
                    </a:lnTo>
                    <a:lnTo>
                      <a:pt x="138" y="696"/>
                    </a:lnTo>
                    <a:lnTo>
                      <a:pt x="144" y="684"/>
                    </a:lnTo>
                    <a:lnTo>
                      <a:pt x="150" y="678"/>
                    </a:lnTo>
                    <a:lnTo>
                      <a:pt x="156" y="666"/>
                    </a:lnTo>
                    <a:lnTo>
                      <a:pt x="156" y="642"/>
                    </a:lnTo>
                    <a:lnTo>
                      <a:pt x="144" y="630"/>
                    </a:lnTo>
                    <a:lnTo>
                      <a:pt x="162" y="600"/>
                    </a:lnTo>
                    <a:lnTo>
                      <a:pt x="192" y="600"/>
                    </a:lnTo>
                    <a:lnTo>
                      <a:pt x="210" y="582"/>
                    </a:lnTo>
                    <a:lnTo>
                      <a:pt x="228" y="582"/>
                    </a:lnTo>
                    <a:lnTo>
                      <a:pt x="264" y="600"/>
                    </a:lnTo>
                    <a:lnTo>
                      <a:pt x="276" y="600"/>
                    </a:lnTo>
                    <a:lnTo>
                      <a:pt x="288" y="588"/>
                    </a:lnTo>
                    <a:lnTo>
                      <a:pt x="300" y="570"/>
                    </a:lnTo>
                    <a:lnTo>
                      <a:pt x="300" y="552"/>
                    </a:lnTo>
                    <a:lnTo>
                      <a:pt x="294" y="552"/>
                    </a:lnTo>
                    <a:lnTo>
                      <a:pt x="294" y="540"/>
                    </a:lnTo>
                    <a:lnTo>
                      <a:pt x="306" y="528"/>
                    </a:lnTo>
                    <a:lnTo>
                      <a:pt x="312" y="528"/>
                    </a:lnTo>
                    <a:lnTo>
                      <a:pt x="324" y="516"/>
                    </a:lnTo>
                    <a:lnTo>
                      <a:pt x="330" y="504"/>
                    </a:lnTo>
                    <a:lnTo>
                      <a:pt x="330" y="498"/>
                    </a:lnTo>
                    <a:lnTo>
                      <a:pt x="336" y="486"/>
                    </a:lnTo>
                    <a:lnTo>
                      <a:pt x="336" y="480"/>
                    </a:lnTo>
                    <a:lnTo>
                      <a:pt x="342" y="474"/>
                    </a:lnTo>
                    <a:lnTo>
                      <a:pt x="354" y="468"/>
                    </a:lnTo>
                    <a:lnTo>
                      <a:pt x="366" y="468"/>
                    </a:lnTo>
                    <a:lnTo>
                      <a:pt x="384" y="474"/>
                    </a:lnTo>
                    <a:lnTo>
                      <a:pt x="396" y="474"/>
                    </a:lnTo>
                    <a:lnTo>
                      <a:pt x="408" y="480"/>
                    </a:lnTo>
                    <a:lnTo>
                      <a:pt x="408" y="492"/>
                    </a:lnTo>
                    <a:lnTo>
                      <a:pt x="426" y="492"/>
                    </a:lnTo>
                    <a:lnTo>
                      <a:pt x="432" y="498"/>
                    </a:lnTo>
                    <a:lnTo>
                      <a:pt x="432" y="528"/>
                    </a:lnTo>
                    <a:lnTo>
                      <a:pt x="474" y="528"/>
                    </a:lnTo>
                    <a:lnTo>
                      <a:pt x="480" y="534"/>
                    </a:lnTo>
                    <a:lnTo>
                      <a:pt x="492" y="540"/>
                    </a:lnTo>
                    <a:lnTo>
                      <a:pt x="540" y="540"/>
                    </a:lnTo>
                    <a:lnTo>
                      <a:pt x="552" y="546"/>
                    </a:lnTo>
                    <a:lnTo>
                      <a:pt x="558" y="552"/>
                    </a:lnTo>
                    <a:lnTo>
                      <a:pt x="570" y="558"/>
                    </a:lnTo>
                    <a:lnTo>
                      <a:pt x="576" y="552"/>
                    </a:lnTo>
                    <a:lnTo>
                      <a:pt x="582" y="540"/>
                    </a:lnTo>
                    <a:lnTo>
                      <a:pt x="588" y="534"/>
                    </a:lnTo>
                    <a:lnTo>
                      <a:pt x="588" y="522"/>
                    </a:lnTo>
                    <a:lnTo>
                      <a:pt x="606" y="504"/>
                    </a:lnTo>
                    <a:lnTo>
                      <a:pt x="612" y="492"/>
                    </a:lnTo>
                    <a:lnTo>
                      <a:pt x="636" y="516"/>
                    </a:lnTo>
                    <a:lnTo>
                      <a:pt x="642" y="516"/>
                    </a:lnTo>
                    <a:lnTo>
                      <a:pt x="648" y="510"/>
                    </a:lnTo>
                    <a:lnTo>
                      <a:pt x="660" y="504"/>
                    </a:lnTo>
                    <a:lnTo>
                      <a:pt x="672" y="492"/>
                    </a:lnTo>
                    <a:lnTo>
                      <a:pt x="690" y="492"/>
                    </a:lnTo>
                    <a:lnTo>
                      <a:pt x="714" y="474"/>
                    </a:lnTo>
                    <a:lnTo>
                      <a:pt x="726" y="486"/>
                    </a:lnTo>
                    <a:lnTo>
                      <a:pt x="750" y="486"/>
                    </a:lnTo>
                    <a:lnTo>
                      <a:pt x="756" y="480"/>
                    </a:lnTo>
                    <a:lnTo>
                      <a:pt x="768" y="480"/>
                    </a:lnTo>
                    <a:lnTo>
                      <a:pt x="768" y="468"/>
                    </a:lnTo>
                    <a:lnTo>
                      <a:pt x="786" y="450"/>
                    </a:lnTo>
                    <a:lnTo>
                      <a:pt x="792" y="450"/>
                    </a:lnTo>
                    <a:lnTo>
                      <a:pt x="792" y="456"/>
                    </a:lnTo>
                    <a:lnTo>
                      <a:pt x="804" y="468"/>
                    </a:lnTo>
                    <a:lnTo>
                      <a:pt x="840" y="462"/>
                    </a:lnTo>
                    <a:lnTo>
                      <a:pt x="840" y="468"/>
                    </a:lnTo>
                    <a:lnTo>
                      <a:pt x="852" y="480"/>
                    </a:lnTo>
                    <a:lnTo>
                      <a:pt x="876" y="480"/>
                    </a:lnTo>
                    <a:lnTo>
                      <a:pt x="894" y="474"/>
                    </a:lnTo>
                    <a:lnTo>
                      <a:pt x="912" y="456"/>
                    </a:lnTo>
                    <a:lnTo>
                      <a:pt x="912" y="432"/>
                    </a:lnTo>
                    <a:lnTo>
                      <a:pt x="906" y="42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1" name="Cameroo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60EF76D-39F8-430C-919B-44581CAC75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18510" y="4044668"/>
                <a:ext cx="241111" cy="416282"/>
              </a:xfrm>
              <a:custGeom>
                <a:avLst/>
                <a:gdLst>
                  <a:gd name="T0" fmla="*/ 2147483647 w 546"/>
                  <a:gd name="T1" fmla="*/ 0 h 924"/>
                  <a:gd name="T2" fmla="*/ 2147483647 w 546"/>
                  <a:gd name="T3" fmla="*/ 2147483647 h 924"/>
                  <a:gd name="T4" fmla="*/ 2147483647 w 546"/>
                  <a:gd name="T5" fmla="*/ 2147483647 h 924"/>
                  <a:gd name="T6" fmla="*/ 2147483647 w 546"/>
                  <a:gd name="T7" fmla="*/ 2147483647 h 924"/>
                  <a:gd name="T8" fmla="*/ 2147483647 w 546"/>
                  <a:gd name="T9" fmla="*/ 2147483647 h 924"/>
                  <a:gd name="T10" fmla="*/ 2147483647 w 546"/>
                  <a:gd name="T11" fmla="*/ 2147483647 h 924"/>
                  <a:gd name="T12" fmla="*/ 2147483647 w 546"/>
                  <a:gd name="T13" fmla="*/ 2147483647 h 924"/>
                  <a:gd name="T14" fmla="*/ 2147483647 w 546"/>
                  <a:gd name="T15" fmla="*/ 2147483647 h 924"/>
                  <a:gd name="T16" fmla="*/ 2147483647 w 546"/>
                  <a:gd name="T17" fmla="*/ 2147483647 h 924"/>
                  <a:gd name="T18" fmla="*/ 2147483647 w 546"/>
                  <a:gd name="T19" fmla="*/ 2147483647 h 924"/>
                  <a:gd name="T20" fmla="*/ 2147483647 w 546"/>
                  <a:gd name="T21" fmla="*/ 2147483647 h 924"/>
                  <a:gd name="T22" fmla="*/ 2147483647 w 546"/>
                  <a:gd name="T23" fmla="*/ 2147483647 h 924"/>
                  <a:gd name="T24" fmla="*/ 2147483647 w 546"/>
                  <a:gd name="T25" fmla="*/ 2147483647 h 924"/>
                  <a:gd name="T26" fmla="*/ 2147483647 w 546"/>
                  <a:gd name="T27" fmla="*/ 2147483647 h 924"/>
                  <a:gd name="T28" fmla="*/ 2147483647 w 546"/>
                  <a:gd name="T29" fmla="*/ 2147483647 h 924"/>
                  <a:gd name="T30" fmla="*/ 2147483647 w 546"/>
                  <a:gd name="T31" fmla="*/ 2147483647 h 924"/>
                  <a:gd name="T32" fmla="*/ 2147483647 w 546"/>
                  <a:gd name="T33" fmla="*/ 2147483647 h 924"/>
                  <a:gd name="T34" fmla="*/ 2147483647 w 546"/>
                  <a:gd name="T35" fmla="*/ 2147483647 h 924"/>
                  <a:gd name="T36" fmla="*/ 2147483647 w 546"/>
                  <a:gd name="T37" fmla="*/ 2147483647 h 924"/>
                  <a:gd name="T38" fmla="*/ 2147483647 w 546"/>
                  <a:gd name="T39" fmla="*/ 2147483647 h 924"/>
                  <a:gd name="T40" fmla="*/ 2147483647 w 546"/>
                  <a:gd name="T41" fmla="*/ 2147483647 h 924"/>
                  <a:gd name="T42" fmla="*/ 2147483647 w 546"/>
                  <a:gd name="T43" fmla="*/ 2147483647 h 924"/>
                  <a:gd name="T44" fmla="*/ 2147483647 w 546"/>
                  <a:gd name="T45" fmla="*/ 2147483647 h 924"/>
                  <a:gd name="T46" fmla="*/ 2147483647 w 546"/>
                  <a:gd name="T47" fmla="*/ 2147483647 h 924"/>
                  <a:gd name="T48" fmla="*/ 2147483647 w 546"/>
                  <a:gd name="T49" fmla="*/ 2147483647 h 924"/>
                  <a:gd name="T50" fmla="*/ 2147483647 w 546"/>
                  <a:gd name="T51" fmla="*/ 2147483647 h 924"/>
                  <a:gd name="T52" fmla="*/ 2147483647 w 546"/>
                  <a:gd name="T53" fmla="*/ 2147483647 h 924"/>
                  <a:gd name="T54" fmla="*/ 2147483647 w 546"/>
                  <a:gd name="T55" fmla="*/ 2147483647 h 924"/>
                  <a:gd name="T56" fmla="*/ 2147483647 w 546"/>
                  <a:gd name="T57" fmla="*/ 2147483647 h 924"/>
                  <a:gd name="T58" fmla="*/ 2147483647 w 546"/>
                  <a:gd name="T59" fmla="*/ 2147483647 h 924"/>
                  <a:gd name="T60" fmla="*/ 2147483647 w 546"/>
                  <a:gd name="T61" fmla="*/ 2147483647 h 924"/>
                  <a:gd name="T62" fmla="*/ 2147483647 w 546"/>
                  <a:gd name="T63" fmla="*/ 2147483647 h 924"/>
                  <a:gd name="T64" fmla="*/ 2147483647 w 546"/>
                  <a:gd name="T65" fmla="*/ 2147483647 h 924"/>
                  <a:gd name="T66" fmla="*/ 2147483647 w 546"/>
                  <a:gd name="T67" fmla="*/ 2147483647 h 924"/>
                  <a:gd name="T68" fmla="*/ 2147483647 w 546"/>
                  <a:gd name="T69" fmla="*/ 2147483647 h 924"/>
                  <a:gd name="T70" fmla="*/ 2147483647 w 546"/>
                  <a:gd name="T71" fmla="*/ 2147483647 h 924"/>
                  <a:gd name="T72" fmla="*/ 2147483647 w 546"/>
                  <a:gd name="T73" fmla="*/ 2147483647 h 924"/>
                  <a:gd name="T74" fmla="*/ 2147483647 w 546"/>
                  <a:gd name="T75" fmla="*/ 2147483647 h 924"/>
                  <a:gd name="T76" fmla="*/ 2147483647 w 546"/>
                  <a:gd name="T77" fmla="*/ 2147483647 h 924"/>
                  <a:gd name="T78" fmla="*/ 2147483647 w 546"/>
                  <a:gd name="T79" fmla="*/ 2147483647 h 924"/>
                  <a:gd name="T80" fmla="*/ 2147483647 w 546"/>
                  <a:gd name="T81" fmla="*/ 2147483647 h 924"/>
                  <a:gd name="T82" fmla="*/ 2147483647 w 546"/>
                  <a:gd name="T83" fmla="*/ 2147483647 h 924"/>
                  <a:gd name="T84" fmla="*/ 2147483647 w 546"/>
                  <a:gd name="T85" fmla="*/ 2147483647 h 924"/>
                  <a:gd name="T86" fmla="*/ 2147483647 w 546"/>
                  <a:gd name="T87" fmla="*/ 2147483647 h 924"/>
                  <a:gd name="T88" fmla="*/ 2147483647 w 546"/>
                  <a:gd name="T89" fmla="*/ 2147483647 h 924"/>
                  <a:gd name="T90" fmla="*/ 2147483647 w 546"/>
                  <a:gd name="T91" fmla="*/ 2147483647 h 924"/>
                  <a:gd name="T92" fmla="*/ 2147483647 w 546"/>
                  <a:gd name="T93" fmla="*/ 2147483647 h 924"/>
                  <a:gd name="T94" fmla="*/ 2147483647 w 546"/>
                  <a:gd name="T95" fmla="*/ 2147483647 h 924"/>
                  <a:gd name="T96" fmla="*/ 2147483647 w 546"/>
                  <a:gd name="T97" fmla="*/ 2147483647 h 924"/>
                  <a:gd name="T98" fmla="*/ 2147483647 w 546"/>
                  <a:gd name="T99" fmla="*/ 2147483647 h 924"/>
                  <a:gd name="T100" fmla="*/ 2147483647 w 546"/>
                  <a:gd name="T101" fmla="*/ 2147483647 h 924"/>
                  <a:gd name="T102" fmla="*/ 2147483647 w 546"/>
                  <a:gd name="T103" fmla="*/ 2147483647 h 924"/>
                  <a:gd name="T104" fmla="*/ 2147483647 w 546"/>
                  <a:gd name="T105" fmla="*/ 2147483647 h 924"/>
                  <a:gd name="T106" fmla="*/ 2147483647 w 546"/>
                  <a:gd name="T107" fmla="*/ 2147483647 h 924"/>
                  <a:gd name="T108" fmla="*/ 2147483647 w 546"/>
                  <a:gd name="T109" fmla="*/ 2147483647 h 924"/>
                  <a:gd name="T110" fmla="*/ 2147483647 w 546"/>
                  <a:gd name="T111" fmla="*/ 2147483647 h 9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46"/>
                  <a:gd name="T169" fmla="*/ 0 h 924"/>
                  <a:gd name="T170" fmla="*/ 546 w 546"/>
                  <a:gd name="T171" fmla="*/ 924 h 92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46" h="924">
                    <a:moveTo>
                      <a:pt x="420" y="30"/>
                    </a:moveTo>
                    <a:lnTo>
                      <a:pt x="414" y="18"/>
                    </a:lnTo>
                    <a:lnTo>
                      <a:pt x="414" y="0"/>
                    </a:lnTo>
                    <a:lnTo>
                      <a:pt x="390" y="6"/>
                    </a:lnTo>
                    <a:lnTo>
                      <a:pt x="390" y="54"/>
                    </a:lnTo>
                    <a:lnTo>
                      <a:pt x="396" y="60"/>
                    </a:lnTo>
                    <a:lnTo>
                      <a:pt x="396" y="66"/>
                    </a:lnTo>
                    <a:lnTo>
                      <a:pt x="426" y="66"/>
                    </a:lnTo>
                    <a:lnTo>
                      <a:pt x="426" y="96"/>
                    </a:lnTo>
                    <a:lnTo>
                      <a:pt x="420" y="102"/>
                    </a:lnTo>
                    <a:lnTo>
                      <a:pt x="420" y="108"/>
                    </a:lnTo>
                    <a:lnTo>
                      <a:pt x="426" y="114"/>
                    </a:lnTo>
                    <a:lnTo>
                      <a:pt x="426" y="126"/>
                    </a:lnTo>
                    <a:lnTo>
                      <a:pt x="408" y="144"/>
                    </a:lnTo>
                    <a:lnTo>
                      <a:pt x="396" y="150"/>
                    </a:lnTo>
                    <a:lnTo>
                      <a:pt x="384" y="150"/>
                    </a:lnTo>
                    <a:lnTo>
                      <a:pt x="384" y="156"/>
                    </a:lnTo>
                    <a:lnTo>
                      <a:pt x="378" y="162"/>
                    </a:lnTo>
                    <a:lnTo>
                      <a:pt x="378" y="168"/>
                    </a:lnTo>
                    <a:lnTo>
                      <a:pt x="372" y="174"/>
                    </a:lnTo>
                    <a:lnTo>
                      <a:pt x="372" y="180"/>
                    </a:lnTo>
                    <a:lnTo>
                      <a:pt x="360" y="192"/>
                    </a:lnTo>
                    <a:lnTo>
                      <a:pt x="354" y="204"/>
                    </a:lnTo>
                    <a:lnTo>
                      <a:pt x="348" y="234"/>
                    </a:lnTo>
                    <a:lnTo>
                      <a:pt x="342" y="240"/>
                    </a:lnTo>
                    <a:lnTo>
                      <a:pt x="342" y="270"/>
                    </a:lnTo>
                    <a:lnTo>
                      <a:pt x="336" y="288"/>
                    </a:lnTo>
                    <a:lnTo>
                      <a:pt x="330" y="294"/>
                    </a:lnTo>
                    <a:lnTo>
                      <a:pt x="312" y="294"/>
                    </a:lnTo>
                    <a:lnTo>
                      <a:pt x="312" y="324"/>
                    </a:lnTo>
                    <a:lnTo>
                      <a:pt x="306" y="342"/>
                    </a:lnTo>
                    <a:lnTo>
                      <a:pt x="306" y="354"/>
                    </a:lnTo>
                    <a:lnTo>
                      <a:pt x="300" y="360"/>
                    </a:lnTo>
                    <a:lnTo>
                      <a:pt x="288" y="366"/>
                    </a:lnTo>
                    <a:lnTo>
                      <a:pt x="282" y="372"/>
                    </a:lnTo>
                    <a:lnTo>
                      <a:pt x="270" y="378"/>
                    </a:lnTo>
                    <a:lnTo>
                      <a:pt x="258" y="426"/>
                    </a:lnTo>
                    <a:lnTo>
                      <a:pt x="234" y="456"/>
                    </a:lnTo>
                    <a:lnTo>
                      <a:pt x="234" y="486"/>
                    </a:lnTo>
                    <a:lnTo>
                      <a:pt x="228" y="492"/>
                    </a:lnTo>
                    <a:lnTo>
                      <a:pt x="216" y="498"/>
                    </a:lnTo>
                    <a:lnTo>
                      <a:pt x="210" y="510"/>
                    </a:lnTo>
                    <a:lnTo>
                      <a:pt x="210" y="522"/>
                    </a:lnTo>
                    <a:lnTo>
                      <a:pt x="192" y="540"/>
                    </a:lnTo>
                    <a:lnTo>
                      <a:pt x="186" y="540"/>
                    </a:lnTo>
                    <a:lnTo>
                      <a:pt x="180" y="534"/>
                    </a:lnTo>
                    <a:lnTo>
                      <a:pt x="174" y="522"/>
                    </a:lnTo>
                    <a:lnTo>
                      <a:pt x="174" y="516"/>
                    </a:lnTo>
                    <a:lnTo>
                      <a:pt x="168" y="504"/>
                    </a:lnTo>
                    <a:lnTo>
                      <a:pt x="156" y="492"/>
                    </a:lnTo>
                    <a:lnTo>
                      <a:pt x="150" y="480"/>
                    </a:lnTo>
                    <a:lnTo>
                      <a:pt x="138" y="480"/>
                    </a:lnTo>
                    <a:lnTo>
                      <a:pt x="144" y="486"/>
                    </a:lnTo>
                    <a:lnTo>
                      <a:pt x="144" y="498"/>
                    </a:lnTo>
                    <a:lnTo>
                      <a:pt x="138" y="504"/>
                    </a:lnTo>
                    <a:lnTo>
                      <a:pt x="132" y="504"/>
                    </a:lnTo>
                    <a:lnTo>
                      <a:pt x="120" y="498"/>
                    </a:lnTo>
                    <a:lnTo>
                      <a:pt x="114" y="492"/>
                    </a:lnTo>
                    <a:lnTo>
                      <a:pt x="108" y="492"/>
                    </a:lnTo>
                    <a:lnTo>
                      <a:pt x="102" y="498"/>
                    </a:lnTo>
                    <a:lnTo>
                      <a:pt x="90" y="522"/>
                    </a:lnTo>
                    <a:lnTo>
                      <a:pt x="84" y="528"/>
                    </a:lnTo>
                    <a:lnTo>
                      <a:pt x="84" y="534"/>
                    </a:lnTo>
                    <a:lnTo>
                      <a:pt x="18" y="588"/>
                    </a:lnTo>
                    <a:lnTo>
                      <a:pt x="18" y="642"/>
                    </a:lnTo>
                    <a:lnTo>
                      <a:pt x="12" y="654"/>
                    </a:lnTo>
                    <a:lnTo>
                      <a:pt x="12" y="666"/>
                    </a:lnTo>
                    <a:lnTo>
                      <a:pt x="6" y="672"/>
                    </a:lnTo>
                    <a:lnTo>
                      <a:pt x="6" y="678"/>
                    </a:lnTo>
                    <a:lnTo>
                      <a:pt x="0" y="690"/>
                    </a:lnTo>
                    <a:lnTo>
                      <a:pt x="24" y="684"/>
                    </a:lnTo>
                    <a:lnTo>
                      <a:pt x="24" y="708"/>
                    </a:lnTo>
                    <a:lnTo>
                      <a:pt x="36" y="732"/>
                    </a:lnTo>
                    <a:lnTo>
                      <a:pt x="60" y="744"/>
                    </a:lnTo>
                    <a:lnTo>
                      <a:pt x="66" y="750"/>
                    </a:lnTo>
                    <a:lnTo>
                      <a:pt x="84" y="726"/>
                    </a:lnTo>
                    <a:lnTo>
                      <a:pt x="66" y="756"/>
                    </a:lnTo>
                    <a:lnTo>
                      <a:pt x="84" y="786"/>
                    </a:lnTo>
                    <a:lnTo>
                      <a:pt x="102" y="792"/>
                    </a:lnTo>
                    <a:lnTo>
                      <a:pt x="102" y="840"/>
                    </a:lnTo>
                    <a:lnTo>
                      <a:pt x="90" y="840"/>
                    </a:lnTo>
                    <a:lnTo>
                      <a:pt x="90" y="870"/>
                    </a:lnTo>
                    <a:lnTo>
                      <a:pt x="102" y="882"/>
                    </a:lnTo>
                    <a:lnTo>
                      <a:pt x="198" y="882"/>
                    </a:lnTo>
                    <a:lnTo>
                      <a:pt x="216" y="864"/>
                    </a:lnTo>
                    <a:lnTo>
                      <a:pt x="228" y="882"/>
                    </a:lnTo>
                    <a:lnTo>
                      <a:pt x="258" y="882"/>
                    </a:lnTo>
                    <a:lnTo>
                      <a:pt x="270" y="870"/>
                    </a:lnTo>
                    <a:lnTo>
                      <a:pt x="276" y="870"/>
                    </a:lnTo>
                    <a:lnTo>
                      <a:pt x="288" y="876"/>
                    </a:lnTo>
                    <a:lnTo>
                      <a:pt x="294" y="876"/>
                    </a:lnTo>
                    <a:lnTo>
                      <a:pt x="342" y="870"/>
                    </a:lnTo>
                    <a:lnTo>
                      <a:pt x="342" y="888"/>
                    </a:lnTo>
                    <a:lnTo>
                      <a:pt x="372" y="888"/>
                    </a:lnTo>
                    <a:lnTo>
                      <a:pt x="390" y="882"/>
                    </a:lnTo>
                    <a:lnTo>
                      <a:pt x="438" y="882"/>
                    </a:lnTo>
                    <a:lnTo>
                      <a:pt x="450" y="888"/>
                    </a:lnTo>
                    <a:lnTo>
                      <a:pt x="456" y="894"/>
                    </a:lnTo>
                    <a:lnTo>
                      <a:pt x="468" y="894"/>
                    </a:lnTo>
                    <a:lnTo>
                      <a:pt x="474" y="900"/>
                    </a:lnTo>
                    <a:lnTo>
                      <a:pt x="510" y="900"/>
                    </a:lnTo>
                    <a:lnTo>
                      <a:pt x="534" y="924"/>
                    </a:lnTo>
                    <a:lnTo>
                      <a:pt x="540" y="882"/>
                    </a:lnTo>
                    <a:lnTo>
                      <a:pt x="546" y="876"/>
                    </a:lnTo>
                    <a:lnTo>
                      <a:pt x="534" y="864"/>
                    </a:lnTo>
                    <a:lnTo>
                      <a:pt x="534" y="834"/>
                    </a:lnTo>
                    <a:lnTo>
                      <a:pt x="528" y="816"/>
                    </a:lnTo>
                    <a:lnTo>
                      <a:pt x="516" y="810"/>
                    </a:lnTo>
                    <a:lnTo>
                      <a:pt x="510" y="798"/>
                    </a:lnTo>
                    <a:lnTo>
                      <a:pt x="498" y="792"/>
                    </a:lnTo>
                    <a:lnTo>
                      <a:pt x="486" y="780"/>
                    </a:lnTo>
                    <a:lnTo>
                      <a:pt x="474" y="756"/>
                    </a:lnTo>
                    <a:lnTo>
                      <a:pt x="468" y="750"/>
                    </a:lnTo>
                    <a:lnTo>
                      <a:pt x="468" y="708"/>
                    </a:lnTo>
                    <a:lnTo>
                      <a:pt x="462" y="708"/>
                    </a:lnTo>
                    <a:lnTo>
                      <a:pt x="444" y="690"/>
                    </a:lnTo>
                    <a:lnTo>
                      <a:pt x="438" y="690"/>
                    </a:lnTo>
                    <a:lnTo>
                      <a:pt x="438" y="642"/>
                    </a:lnTo>
                    <a:lnTo>
                      <a:pt x="420" y="630"/>
                    </a:lnTo>
                    <a:lnTo>
                      <a:pt x="432" y="618"/>
                    </a:lnTo>
                    <a:lnTo>
                      <a:pt x="432" y="582"/>
                    </a:lnTo>
                    <a:lnTo>
                      <a:pt x="426" y="582"/>
                    </a:lnTo>
                    <a:lnTo>
                      <a:pt x="414" y="576"/>
                    </a:lnTo>
                    <a:lnTo>
                      <a:pt x="414" y="570"/>
                    </a:lnTo>
                    <a:lnTo>
                      <a:pt x="426" y="558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10"/>
                    </a:lnTo>
                    <a:lnTo>
                      <a:pt x="462" y="510"/>
                    </a:lnTo>
                    <a:lnTo>
                      <a:pt x="468" y="498"/>
                    </a:lnTo>
                    <a:lnTo>
                      <a:pt x="468" y="480"/>
                    </a:lnTo>
                    <a:lnTo>
                      <a:pt x="474" y="474"/>
                    </a:lnTo>
                    <a:lnTo>
                      <a:pt x="480" y="462"/>
                    </a:lnTo>
                    <a:lnTo>
                      <a:pt x="492" y="450"/>
                    </a:lnTo>
                    <a:lnTo>
                      <a:pt x="498" y="450"/>
                    </a:lnTo>
                    <a:lnTo>
                      <a:pt x="498" y="438"/>
                    </a:lnTo>
                    <a:lnTo>
                      <a:pt x="492" y="420"/>
                    </a:lnTo>
                    <a:lnTo>
                      <a:pt x="486" y="408"/>
                    </a:lnTo>
                    <a:lnTo>
                      <a:pt x="486" y="390"/>
                    </a:lnTo>
                    <a:lnTo>
                      <a:pt x="474" y="366"/>
                    </a:lnTo>
                    <a:lnTo>
                      <a:pt x="462" y="354"/>
                    </a:lnTo>
                    <a:lnTo>
                      <a:pt x="450" y="348"/>
                    </a:lnTo>
                    <a:lnTo>
                      <a:pt x="432" y="336"/>
                    </a:lnTo>
                    <a:lnTo>
                      <a:pt x="420" y="324"/>
                    </a:lnTo>
                    <a:lnTo>
                      <a:pt x="414" y="312"/>
                    </a:lnTo>
                    <a:lnTo>
                      <a:pt x="402" y="300"/>
                    </a:lnTo>
                    <a:lnTo>
                      <a:pt x="390" y="276"/>
                    </a:lnTo>
                    <a:lnTo>
                      <a:pt x="390" y="264"/>
                    </a:lnTo>
                    <a:lnTo>
                      <a:pt x="396" y="258"/>
                    </a:lnTo>
                    <a:lnTo>
                      <a:pt x="408" y="252"/>
                    </a:lnTo>
                    <a:lnTo>
                      <a:pt x="504" y="252"/>
                    </a:lnTo>
                    <a:lnTo>
                      <a:pt x="486" y="234"/>
                    </a:lnTo>
                    <a:lnTo>
                      <a:pt x="480" y="222"/>
                    </a:lnTo>
                    <a:lnTo>
                      <a:pt x="468" y="216"/>
                    </a:lnTo>
                    <a:lnTo>
                      <a:pt x="462" y="204"/>
                    </a:lnTo>
                    <a:lnTo>
                      <a:pt x="462" y="186"/>
                    </a:lnTo>
                    <a:lnTo>
                      <a:pt x="456" y="168"/>
                    </a:lnTo>
                    <a:lnTo>
                      <a:pt x="456" y="132"/>
                    </a:lnTo>
                    <a:lnTo>
                      <a:pt x="462" y="132"/>
                    </a:lnTo>
                    <a:lnTo>
                      <a:pt x="462" y="96"/>
                    </a:lnTo>
                    <a:lnTo>
                      <a:pt x="456" y="84"/>
                    </a:lnTo>
                    <a:lnTo>
                      <a:pt x="444" y="78"/>
                    </a:lnTo>
                    <a:lnTo>
                      <a:pt x="450" y="42"/>
                    </a:lnTo>
                    <a:lnTo>
                      <a:pt x="444" y="42"/>
                    </a:lnTo>
                    <a:lnTo>
                      <a:pt x="438" y="36"/>
                    </a:lnTo>
                    <a:lnTo>
                      <a:pt x="426" y="36"/>
                    </a:lnTo>
                    <a:lnTo>
                      <a:pt x="420" y="3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2" name="Burundi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F43433D-60A7-43DA-9A47-825F9741BF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61471" y="4609750"/>
                <a:ext cx="59404" cy="74399"/>
              </a:xfrm>
              <a:custGeom>
                <a:avLst/>
                <a:gdLst>
                  <a:gd name="T0" fmla="*/ 2147483647 w 132"/>
                  <a:gd name="T1" fmla="*/ 2147483647 h 168"/>
                  <a:gd name="T2" fmla="*/ 2147483647 w 132"/>
                  <a:gd name="T3" fmla="*/ 2147483647 h 168"/>
                  <a:gd name="T4" fmla="*/ 2147483647 w 132"/>
                  <a:gd name="T5" fmla="*/ 2147483647 h 168"/>
                  <a:gd name="T6" fmla="*/ 2147483647 w 132"/>
                  <a:gd name="T7" fmla="*/ 2147483647 h 168"/>
                  <a:gd name="T8" fmla="*/ 2147483647 w 132"/>
                  <a:gd name="T9" fmla="*/ 2147483647 h 168"/>
                  <a:gd name="T10" fmla="*/ 2147483647 w 132"/>
                  <a:gd name="T11" fmla="*/ 2147483647 h 168"/>
                  <a:gd name="T12" fmla="*/ 2147483647 w 132"/>
                  <a:gd name="T13" fmla="*/ 2147483647 h 168"/>
                  <a:gd name="T14" fmla="*/ 2147483647 w 132"/>
                  <a:gd name="T15" fmla="*/ 2147483647 h 168"/>
                  <a:gd name="T16" fmla="*/ 2147483647 w 132"/>
                  <a:gd name="T17" fmla="*/ 2147483647 h 168"/>
                  <a:gd name="T18" fmla="*/ 2147483647 w 132"/>
                  <a:gd name="T19" fmla="*/ 2147483647 h 168"/>
                  <a:gd name="T20" fmla="*/ 2147483647 w 132"/>
                  <a:gd name="T21" fmla="*/ 2147483647 h 168"/>
                  <a:gd name="T22" fmla="*/ 2147483647 w 132"/>
                  <a:gd name="T23" fmla="*/ 2147483647 h 168"/>
                  <a:gd name="T24" fmla="*/ 2147483647 w 132"/>
                  <a:gd name="T25" fmla="*/ 2147483647 h 168"/>
                  <a:gd name="T26" fmla="*/ 2147483647 w 132"/>
                  <a:gd name="T27" fmla="*/ 2147483647 h 168"/>
                  <a:gd name="T28" fmla="*/ 2147483647 w 132"/>
                  <a:gd name="T29" fmla="*/ 2147483647 h 168"/>
                  <a:gd name="T30" fmla="*/ 2147483647 w 132"/>
                  <a:gd name="T31" fmla="*/ 2147483647 h 168"/>
                  <a:gd name="T32" fmla="*/ 2147483647 w 132"/>
                  <a:gd name="T33" fmla="*/ 2147483647 h 168"/>
                  <a:gd name="T34" fmla="*/ 2147483647 w 132"/>
                  <a:gd name="T35" fmla="*/ 2147483647 h 168"/>
                  <a:gd name="T36" fmla="*/ 2147483647 w 132"/>
                  <a:gd name="T37" fmla="*/ 2147483647 h 168"/>
                  <a:gd name="T38" fmla="*/ 2147483647 w 132"/>
                  <a:gd name="T39" fmla="*/ 2147483647 h 168"/>
                  <a:gd name="T40" fmla="*/ 2147483647 w 132"/>
                  <a:gd name="T41" fmla="*/ 2147483647 h 168"/>
                  <a:gd name="T42" fmla="*/ 2147483647 w 132"/>
                  <a:gd name="T43" fmla="*/ 2147483647 h 168"/>
                  <a:gd name="T44" fmla="*/ 2147483647 w 132"/>
                  <a:gd name="T45" fmla="*/ 2147483647 h 168"/>
                  <a:gd name="T46" fmla="*/ 2147483647 w 132"/>
                  <a:gd name="T47" fmla="*/ 0 h 168"/>
                  <a:gd name="T48" fmla="*/ 2147483647 w 132"/>
                  <a:gd name="T49" fmla="*/ 0 h 168"/>
                  <a:gd name="T50" fmla="*/ 2147483647 w 132"/>
                  <a:gd name="T51" fmla="*/ 0 h 168"/>
                  <a:gd name="T52" fmla="*/ 2147483647 w 132"/>
                  <a:gd name="T53" fmla="*/ 2147483647 h 168"/>
                  <a:gd name="T54" fmla="*/ 2147483647 w 132"/>
                  <a:gd name="T55" fmla="*/ 2147483647 h 168"/>
                  <a:gd name="T56" fmla="*/ 2147483647 w 132"/>
                  <a:gd name="T57" fmla="*/ 2147483647 h 168"/>
                  <a:gd name="T58" fmla="*/ 2147483647 w 132"/>
                  <a:gd name="T59" fmla="*/ 2147483647 h 168"/>
                  <a:gd name="T60" fmla="*/ 2147483647 w 132"/>
                  <a:gd name="T61" fmla="*/ 2147483647 h 168"/>
                  <a:gd name="T62" fmla="*/ 2147483647 w 132"/>
                  <a:gd name="T63" fmla="*/ 2147483647 h 168"/>
                  <a:gd name="T64" fmla="*/ 0 w 132"/>
                  <a:gd name="T65" fmla="*/ 2147483647 h 168"/>
                  <a:gd name="T66" fmla="*/ 2147483647 w 132"/>
                  <a:gd name="T67" fmla="*/ 2147483647 h 168"/>
                  <a:gd name="T68" fmla="*/ 2147483647 w 132"/>
                  <a:gd name="T69" fmla="*/ 2147483647 h 168"/>
                  <a:gd name="T70" fmla="*/ 2147483647 w 132"/>
                  <a:gd name="T71" fmla="*/ 2147483647 h 168"/>
                  <a:gd name="T72" fmla="*/ 2147483647 w 132"/>
                  <a:gd name="T73" fmla="*/ 2147483647 h 168"/>
                  <a:gd name="T74" fmla="*/ 2147483647 w 132"/>
                  <a:gd name="T75" fmla="*/ 2147483647 h 16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32"/>
                  <a:gd name="T115" fmla="*/ 0 h 168"/>
                  <a:gd name="T116" fmla="*/ 132 w 132"/>
                  <a:gd name="T117" fmla="*/ 168 h 16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32" h="168">
                    <a:moveTo>
                      <a:pt x="36" y="72"/>
                    </a:moveTo>
                    <a:lnTo>
                      <a:pt x="36" y="96"/>
                    </a:lnTo>
                    <a:lnTo>
                      <a:pt x="30" y="102"/>
                    </a:lnTo>
                    <a:lnTo>
                      <a:pt x="30" y="138"/>
                    </a:lnTo>
                    <a:lnTo>
                      <a:pt x="36" y="156"/>
                    </a:lnTo>
                    <a:lnTo>
                      <a:pt x="42" y="168"/>
                    </a:lnTo>
                    <a:lnTo>
                      <a:pt x="54" y="168"/>
                    </a:lnTo>
                    <a:lnTo>
                      <a:pt x="60" y="162"/>
                    </a:lnTo>
                    <a:lnTo>
                      <a:pt x="72" y="156"/>
                    </a:lnTo>
                    <a:lnTo>
                      <a:pt x="84" y="144"/>
                    </a:lnTo>
                    <a:lnTo>
                      <a:pt x="90" y="132"/>
                    </a:lnTo>
                    <a:lnTo>
                      <a:pt x="90" y="114"/>
                    </a:lnTo>
                    <a:lnTo>
                      <a:pt x="96" y="102"/>
                    </a:lnTo>
                    <a:lnTo>
                      <a:pt x="114" y="84"/>
                    </a:lnTo>
                    <a:lnTo>
                      <a:pt x="126" y="84"/>
                    </a:lnTo>
                    <a:lnTo>
                      <a:pt x="120" y="72"/>
                    </a:lnTo>
                    <a:lnTo>
                      <a:pt x="132" y="66"/>
                    </a:lnTo>
                    <a:lnTo>
                      <a:pt x="132" y="48"/>
                    </a:lnTo>
                    <a:lnTo>
                      <a:pt x="114" y="48"/>
                    </a:lnTo>
                    <a:lnTo>
                      <a:pt x="108" y="42"/>
                    </a:lnTo>
                    <a:lnTo>
                      <a:pt x="102" y="42"/>
                    </a:lnTo>
                    <a:lnTo>
                      <a:pt x="102" y="24"/>
                    </a:lnTo>
                    <a:lnTo>
                      <a:pt x="108" y="12"/>
                    </a:lnTo>
                    <a:lnTo>
                      <a:pt x="108" y="0"/>
                    </a:lnTo>
                    <a:lnTo>
                      <a:pt x="120" y="0"/>
                    </a:lnTo>
                    <a:lnTo>
                      <a:pt x="66" y="0"/>
                    </a:lnTo>
                    <a:lnTo>
                      <a:pt x="60" y="24"/>
                    </a:lnTo>
                    <a:lnTo>
                      <a:pt x="48" y="30"/>
                    </a:lnTo>
                    <a:lnTo>
                      <a:pt x="42" y="36"/>
                    </a:lnTo>
                    <a:lnTo>
                      <a:pt x="30" y="36"/>
                    </a:lnTo>
                    <a:lnTo>
                      <a:pt x="24" y="30"/>
                    </a:lnTo>
                    <a:lnTo>
                      <a:pt x="18" y="18"/>
                    </a:lnTo>
                    <a:lnTo>
                      <a:pt x="0" y="18"/>
                    </a:lnTo>
                    <a:lnTo>
                      <a:pt x="12" y="48"/>
                    </a:lnTo>
                    <a:lnTo>
                      <a:pt x="18" y="54"/>
                    </a:lnTo>
                    <a:lnTo>
                      <a:pt x="30" y="60"/>
                    </a:lnTo>
                    <a:lnTo>
                      <a:pt x="36" y="66"/>
                    </a:lnTo>
                    <a:lnTo>
                      <a:pt x="36" y="7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3" name="Burkina Fas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E22C4B5-0E6E-4DFF-A203-BBCB5C2845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74726" y="3977359"/>
                <a:ext cx="253339" cy="201940"/>
              </a:xfrm>
              <a:custGeom>
                <a:avLst/>
                <a:gdLst>
                  <a:gd name="T0" fmla="*/ 2147483647 w 570"/>
                  <a:gd name="T1" fmla="*/ 2147483647 h 450"/>
                  <a:gd name="T2" fmla="*/ 2147483647 w 570"/>
                  <a:gd name="T3" fmla="*/ 2147483647 h 450"/>
                  <a:gd name="T4" fmla="*/ 2147483647 w 570"/>
                  <a:gd name="T5" fmla="*/ 2147483647 h 450"/>
                  <a:gd name="T6" fmla="*/ 2147483647 w 570"/>
                  <a:gd name="T7" fmla="*/ 2147483647 h 450"/>
                  <a:gd name="T8" fmla="*/ 2147483647 w 570"/>
                  <a:gd name="T9" fmla="*/ 2147483647 h 450"/>
                  <a:gd name="T10" fmla="*/ 2147483647 w 570"/>
                  <a:gd name="T11" fmla="*/ 2147483647 h 450"/>
                  <a:gd name="T12" fmla="*/ 2147483647 w 570"/>
                  <a:gd name="T13" fmla="*/ 2147483647 h 450"/>
                  <a:gd name="T14" fmla="*/ 2147483647 w 570"/>
                  <a:gd name="T15" fmla="*/ 2147483647 h 450"/>
                  <a:gd name="T16" fmla="*/ 2147483647 w 570"/>
                  <a:gd name="T17" fmla="*/ 2147483647 h 450"/>
                  <a:gd name="T18" fmla="*/ 2147483647 w 570"/>
                  <a:gd name="T19" fmla="*/ 2147483647 h 450"/>
                  <a:gd name="T20" fmla="*/ 2147483647 w 570"/>
                  <a:gd name="T21" fmla="*/ 2147483647 h 450"/>
                  <a:gd name="T22" fmla="*/ 2147483647 w 570"/>
                  <a:gd name="T23" fmla="*/ 2147483647 h 450"/>
                  <a:gd name="T24" fmla="*/ 2147483647 w 570"/>
                  <a:gd name="T25" fmla="*/ 2147483647 h 450"/>
                  <a:gd name="T26" fmla="*/ 2147483647 w 570"/>
                  <a:gd name="T27" fmla="*/ 2147483647 h 450"/>
                  <a:gd name="T28" fmla="*/ 2147483647 w 570"/>
                  <a:gd name="T29" fmla="*/ 2147483647 h 450"/>
                  <a:gd name="T30" fmla="*/ 2147483647 w 570"/>
                  <a:gd name="T31" fmla="*/ 2147483647 h 450"/>
                  <a:gd name="T32" fmla="*/ 2147483647 w 570"/>
                  <a:gd name="T33" fmla="*/ 2147483647 h 450"/>
                  <a:gd name="T34" fmla="*/ 2147483647 w 570"/>
                  <a:gd name="T35" fmla="*/ 2147483647 h 450"/>
                  <a:gd name="T36" fmla="*/ 2147483647 w 570"/>
                  <a:gd name="T37" fmla="*/ 2147483647 h 450"/>
                  <a:gd name="T38" fmla="*/ 2147483647 w 570"/>
                  <a:gd name="T39" fmla="*/ 2147483647 h 450"/>
                  <a:gd name="T40" fmla="*/ 2147483647 w 570"/>
                  <a:gd name="T41" fmla="*/ 2147483647 h 450"/>
                  <a:gd name="T42" fmla="*/ 2147483647 w 570"/>
                  <a:gd name="T43" fmla="*/ 2147483647 h 450"/>
                  <a:gd name="T44" fmla="*/ 2147483647 w 570"/>
                  <a:gd name="T45" fmla="*/ 2147483647 h 450"/>
                  <a:gd name="T46" fmla="*/ 2147483647 w 570"/>
                  <a:gd name="T47" fmla="*/ 2147483647 h 450"/>
                  <a:gd name="T48" fmla="*/ 2147483647 w 570"/>
                  <a:gd name="T49" fmla="*/ 2147483647 h 450"/>
                  <a:gd name="T50" fmla="*/ 2147483647 w 570"/>
                  <a:gd name="T51" fmla="*/ 2147483647 h 450"/>
                  <a:gd name="T52" fmla="*/ 2147483647 w 570"/>
                  <a:gd name="T53" fmla="*/ 2147483647 h 450"/>
                  <a:gd name="T54" fmla="*/ 2147483647 w 570"/>
                  <a:gd name="T55" fmla="*/ 2147483647 h 450"/>
                  <a:gd name="T56" fmla="*/ 2147483647 w 570"/>
                  <a:gd name="T57" fmla="*/ 2147483647 h 450"/>
                  <a:gd name="T58" fmla="*/ 2147483647 w 570"/>
                  <a:gd name="T59" fmla="*/ 2147483647 h 450"/>
                  <a:gd name="T60" fmla="*/ 2147483647 w 570"/>
                  <a:gd name="T61" fmla="*/ 2147483647 h 450"/>
                  <a:gd name="T62" fmla="*/ 2147483647 w 570"/>
                  <a:gd name="T63" fmla="*/ 2147483647 h 450"/>
                  <a:gd name="T64" fmla="*/ 2147483647 w 570"/>
                  <a:gd name="T65" fmla="*/ 2147483647 h 450"/>
                  <a:gd name="T66" fmla="*/ 2147483647 w 570"/>
                  <a:gd name="T67" fmla="*/ 0 h 450"/>
                  <a:gd name="T68" fmla="*/ 2147483647 w 570"/>
                  <a:gd name="T69" fmla="*/ 2147483647 h 450"/>
                  <a:gd name="T70" fmla="*/ 2147483647 w 570"/>
                  <a:gd name="T71" fmla="*/ 2147483647 h 450"/>
                  <a:gd name="T72" fmla="*/ 2147483647 w 570"/>
                  <a:gd name="T73" fmla="*/ 2147483647 h 450"/>
                  <a:gd name="T74" fmla="*/ 2147483647 w 570"/>
                  <a:gd name="T75" fmla="*/ 2147483647 h 450"/>
                  <a:gd name="T76" fmla="*/ 2147483647 w 570"/>
                  <a:gd name="T77" fmla="*/ 2147483647 h 450"/>
                  <a:gd name="T78" fmla="*/ 2147483647 w 570"/>
                  <a:gd name="T79" fmla="*/ 2147483647 h 450"/>
                  <a:gd name="T80" fmla="*/ 2147483647 w 570"/>
                  <a:gd name="T81" fmla="*/ 2147483647 h 450"/>
                  <a:gd name="T82" fmla="*/ 2147483647 w 570"/>
                  <a:gd name="T83" fmla="*/ 2147483647 h 450"/>
                  <a:gd name="T84" fmla="*/ 2147483647 w 570"/>
                  <a:gd name="T85" fmla="*/ 2147483647 h 450"/>
                  <a:gd name="T86" fmla="*/ 2147483647 w 570"/>
                  <a:gd name="T87" fmla="*/ 2147483647 h 450"/>
                  <a:gd name="T88" fmla="*/ 2147483647 w 570"/>
                  <a:gd name="T89" fmla="*/ 2147483647 h 450"/>
                  <a:gd name="T90" fmla="*/ 2147483647 w 570"/>
                  <a:gd name="T91" fmla="*/ 2147483647 h 450"/>
                  <a:gd name="T92" fmla="*/ 2147483647 w 570"/>
                  <a:gd name="T93" fmla="*/ 2147483647 h 450"/>
                  <a:gd name="T94" fmla="*/ 2147483647 w 570"/>
                  <a:gd name="T95" fmla="*/ 2147483647 h 450"/>
                  <a:gd name="T96" fmla="*/ 2147483647 w 570"/>
                  <a:gd name="T97" fmla="*/ 2147483647 h 450"/>
                  <a:gd name="T98" fmla="*/ 2147483647 w 570"/>
                  <a:gd name="T99" fmla="*/ 2147483647 h 450"/>
                  <a:gd name="T100" fmla="*/ 2147483647 w 570"/>
                  <a:gd name="T101" fmla="*/ 2147483647 h 450"/>
                  <a:gd name="T102" fmla="*/ 2147483647 w 570"/>
                  <a:gd name="T103" fmla="*/ 2147483647 h 45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70"/>
                  <a:gd name="T157" fmla="*/ 0 h 450"/>
                  <a:gd name="T158" fmla="*/ 570 w 570"/>
                  <a:gd name="T159" fmla="*/ 450 h 45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70" h="450">
                    <a:moveTo>
                      <a:pt x="0" y="312"/>
                    </a:moveTo>
                    <a:lnTo>
                      <a:pt x="6" y="366"/>
                    </a:lnTo>
                    <a:lnTo>
                      <a:pt x="6" y="390"/>
                    </a:lnTo>
                    <a:lnTo>
                      <a:pt x="30" y="384"/>
                    </a:lnTo>
                    <a:lnTo>
                      <a:pt x="30" y="390"/>
                    </a:lnTo>
                    <a:lnTo>
                      <a:pt x="36" y="396"/>
                    </a:lnTo>
                    <a:lnTo>
                      <a:pt x="36" y="408"/>
                    </a:lnTo>
                    <a:lnTo>
                      <a:pt x="42" y="420"/>
                    </a:lnTo>
                    <a:lnTo>
                      <a:pt x="54" y="426"/>
                    </a:lnTo>
                    <a:lnTo>
                      <a:pt x="60" y="432"/>
                    </a:lnTo>
                    <a:lnTo>
                      <a:pt x="72" y="432"/>
                    </a:lnTo>
                    <a:lnTo>
                      <a:pt x="78" y="438"/>
                    </a:lnTo>
                    <a:lnTo>
                      <a:pt x="90" y="438"/>
                    </a:lnTo>
                    <a:lnTo>
                      <a:pt x="96" y="432"/>
                    </a:lnTo>
                    <a:lnTo>
                      <a:pt x="96" y="426"/>
                    </a:lnTo>
                    <a:lnTo>
                      <a:pt x="120" y="414"/>
                    </a:lnTo>
                    <a:lnTo>
                      <a:pt x="150" y="414"/>
                    </a:lnTo>
                    <a:lnTo>
                      <a:pt x="168" y="420"/>
                    </a:lnTo>
                    <a:lnTo>
                      <a:pt x="186" y="438"/>
                    </a:lnTo>
                    <a:lnTo>
                      <a:pt x="186" y="450"/>
                    </a:lnTo>
                    <a:lnTo>
                      <a:pt x="204" y="444"/>
                    </a:lnTo>
                    <a:lnTo>
                      <a:pt x="198" y="450"/>
                    </a:lnTo>
                    <a:lnTo>
                      <a:pt x="198" y="396"/>
                    </a:lnTo>
                    <a:lnTo>
                      <a:pt x="192" y="366"/>
                    </a:lnTo>
                    <a:lnTo>
                      <a:pt x="186" y="366"/>
                    </a:lnTo>
                    <a:lnTo>
                      <a:pt x="186" y="348"/>
                    </a:lnTo>
                    <a:lnTo>
                      <a:pt x="192" y="336"/>
                    </a:lnTo>
                    <a:lnTo>
                      <a:pt x="198" y="330"/>
                    </a:lnTo>
                    <a:lnTo>
                      <a:pt x="354" y="330"/>
                    </a:lnTo>
                    <a:lnTo>
                      <a:pt x="378" y="318"/>
                    </a:lnTo>
                    <a:lnTo>
                      <a:pt x="396" y="324"/>
                    </a:lnTo>
                    <a:lnTo>
                      <a:pt x="414" y="324"/>
                    </a:lnTo>
                    <a:lnTo>
                      <a:pt x="438" y="330"/>
                    </a:lnTo>
                    <a:lnTo>
                      <a:pt x="456" y="330"/>
                    </a:lnTo>
                    <a:lnTo>
                      <a:pt x="462" y="318"/>
                    </a:lnTo>
                    <a:lnTo>
                      <a:pt x="474" y="318"/>
                    </a:lnTo>
                    <a:lnTo>
                      <a:pt x="480" y="306"/>
                    </a:lnTo>
                    <a:lnTo>
                      <a:pt x="498" y="288"/>
                    </a:lnTo>
                    <a:lnTo>
                      <a:pt x="528" y="288"/>
                    </a:lnTo>
                    <a:lnTo>
                      <a:pt x="534" y="294"/>
                    </a:lnTo>
                    <a:lnTo>
                      <a:pt x="534" y="282"/>
                    </a:lnTo>
                    <a:lnTo>
                      <a:pt x="540" y="282"/>
                    </a:lnTo>
                    <a:lnTo>
                      <a:pt x="546" y="276"/>
                    </a:lnTo>
                    <a:lnTo>
                      <a:pt x="558" y="276"/>
                    </a:lnTo>
                    <a:lnTo>
                      <a:pt x="564" y="258"/>
                    </a:lnTo>
                    <a:lnTo>
                      <a:pt x="570" y="252"/>
                    </a:lnTo>
                    <a:lnTo>
                      <a:pt x="564" y="252"/>
                    </a:lnTo>
                    <a:lnTo>
                      <a:pt x="540" y="216"/>
                    </a:lnTo>
                    <a:lnTo>
                      <a:pt x="564" y="210"/>
                    </a:lnTo>
                    <a:lnTo>
                      <a:pt x="558" y="198"/>
                    </a:lnTo>
                    <a:lnTo>
                      <a:pt x="546" y="186"/>
                    </a:lnTo>
                    <a:lnTo>
                      <a:pt x="534" y="186"/>
                    </a:lnTo>
                    <a:lnTo>
                      <a:pt x="522" y="198"/>
                    </a:lnTo>
                    <a:lnTo>
                      <a:pt x="504" y="198"/>
                    </a:lnTo>
                    <a:lnTo>
                      <a:pt x="498" y="186"/>
                    </a:lnTo>
                    <a:lnTo>
                      <a:pt x="486" y="180"/>
                    </a:lnTo>
                    <a:lnTo>
                      <a:pt x="462" y="156"/>
                    </a:lnTo>
                    <a:lnTo>
                      <a:pt x="462" y="150"/>
                    </a:lnTo>
                    <a:lnTo>
                      <a:pt x="480" y="132"/>
                    </a:lnTo>
                    <a:lnTo>
                      <a:pt x="468" y="132"/>
                    </a:lnTo>
                    <a:lnTo>
                      <a:pt x="468" y="114"/>
                    </a:lnTo>
                    <a:lnTo>
                      <a:pt x="444" y="114"/>
                    </a:lnTo>
                    <a:lnTo>
                      <a:pt x="432" y="108"/>
                    </a:lnTo>
                    <a:lnTo>
                      <a:pt x="420" y="84"/>
                    </a:lnTo>
                    <a:lnTo>
                      <a:pt x="420" y="60"/>
                    </a:lnTo>
                    <a:lnTo>
                      <a:pt x="414" y="48"/>
                    </a:lnTo>
                    <a:lnTo>
                      <a:pt x="414" y="12"/>
                    </a:lnTo>
                    <a:lnTo>
                      <a:pt x="390" y="0"/>
                    </a:lnTo>
                    <a:lnTo>
                      <a:pt x="342" y="0"/>
                    </a:lnTo>
                    <a:lnTo>
                      <a:pt x="324" y="18"/>
                    </a:lnTo>
                    <a:lnTo>
                      <a:pt x="300" y="18"/>
                    </a:lnTo>
                    <a:lnTo>
                      <a:pt x="282" y="42"/>
                    </a:lnTo>
                    <a:lnTo>
                      <a:pt x="258" y="42"/>
                    </a:lnTo>
                    <a:lnTo>
                      <a:pt x="258" y="60"/>
                    </a:lnTo>
                    <a:lnTo>
                      <a:pt x="252" y="66"/>
                    </a:lnTo>
                    <a:lnTo>
                      <a:pt x="252" y="72"/>
                    </a:lnTo>
                    <a:lnTo>
                      <a:pt x="240" y="72"/>
                    </a:lnTo>
                    <a:lnTo>
                      <a:pt x="228" y="60"/>
                    </a:lnTo>
                    <a:lnTo>
                      <a:pt x="222" y="60"/>
                    </a:lnTo>
                    <a:lnTo>
                      <a:pt x="216" y="66"/>
                    </a:lnTo>
                    <a:lnTo>
                      <a:pt x="210" y="78"/>
                    </a:lnTo>
                    <a:lnTo>
                      <a:pt x="198" y="84"/>
                    </a:lnTo>
                    <a:lnTo>
                      <a:pt x="192" y="96"/>
                    </a:lnTo>
                    <a:lnTo>
                      <a:pt x="186" y="102"/>
                    </a:lnTo>
                    <a:lnTo>
                      <a:pt x="186" y="108"/>
                    </a:lnTo>
                    <a:lnTo>
                      <a:pt x="168" y="108"/>
                    </a:lnTo>
                    <a:lnTo>
                      <a:pt x="168" y="144"/>
                    </a:lnTo>
                    <a:lnTo>
                      <a:pt x="144" y="150"/>
                    </a:lnTo>
                    <a:lnTo>
                      <a:pt x="114" y="120"/>
                    </a:lnTo>
                    <a:lnTo>
                      <a:pt x="96" y="150"/>
                    </a:lnTo>
                    <a:lnTo>
                      <a:pt x="102" y="156"/>
                    </a:lnTo>
                    <a:lnTo>
                      <a:pt x="102" y="186"/>
                    </a:lnTo>
                    <a:lnTo>
                      <a:pt x="84" y="186"/>
                    </a:lnTo>
                    <a:lnTo>
                      <a:pt x="84" y="216"/>
                    </a:lnTo>
                    <a:lnTo>
                      <a:pt x="78" y="222"/>
                    </a:lnTo>
                    <a:lnTo>
                      <a:pt x="72" y="222"/>
                    </a:lnTo>
                    <a:lnTo>
                      <a:pt x="78" y="228"/>
                    </a:lnTo>
                    <a:lnTo>
                      <a:pt x="78" y="240"/>
                    </a:lnTo>
                    <a:lnTo>
                      <a:pt x="42" y="240"/>
                    </a:lnTo>
                    <a:lnTo>
                      <a:pt x="36" y="246"/>
                    </a:lnTo>
                    <a:lnTo>
                      <a:pt x="30" y="246"/>
                    </a:lnTo>
                    <a:lnTo>
                      <a:pt x="12" y="258"/>
                    </a:lnTo>
                    <a:lnTo>
                      <a:pt x="36" y="288"/>
                    </a:lnTo>
                    <a:lnTo>
                      <a:pt x="24" y="312"/>
                    </a:lnTo>
                    <a:lnTo>
                      <a:pt x="0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4" name="Boliv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A1B9DB6-C9C6-4DD1-9672-38506E9BC5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68971" y="4871917"/>
                <a:ext cx="394861" cy="476510"/>
              </a:xfrm>
              <a:custGeom>
                <a:avLst/>
                <a:gdLst>
                  <a:gd name="T0" fmla="*/ 2147483647 w 894"/>
                  <a:gd name="T1" fmla="*/ 2147483647 h 1056"/>
                  <a:gd name="T2" fmla="*/ 2147483647 w 894"/>
                  <a:gd name="T3" fmla="*/ 2147483647 h 1056"/>
                  <a:gd name="T4" fmla="*/ 2147483647 w 894"/>
                  <a:gd name="T5" fmla="*/ 2147483647 h 1056"/>
                  <a:gd name="T6" fmla="*/ 2147483647 w 894"/>
                  <a:gd name="T7" fmla="*/ 2147483647 h 1056"/>
                  <a:gd name="T8" fmla="*/ 2147483647 w 894"/>
                  <a:gd name="T9" fmla="*/ 2147483647 h 1056"/>
                  <a:gd name="T10" fmla="*/ 2147483647 w 894"/>
                  <a:gd name="T11" fmla="*/ 2147483647 h 1056"/>
                  <a:gd name="T12" fmla="*/ 2147483647 w 894"/>
                  <a:gd name="T13" fmla="*/ 2147483647 h 1056"/>
                  <a:gd name="T14" fmla="*/ 2147483647 w 894"/>
                  <a:gd name="T15" fmla="*/ 2147483647 h 1056"/>
                  <a:gd name="T16" fmla="*/ 2147483647 w 894"/>
                  <a:gd name="T17" fmla="*/ 2147483647 h 1056"/>
                  <a:gd name="T18" fmla="*/ 2147483647 w 894"/>
                  <a:gd name="T19" fmla="*/ 2147483647 h 1056"/>
                  <a:gd name="T20" fmla="*/ 2147483647 w 894"/>
                  <a:gd name="T21" fmla="*/ 2147483647 h 1056"/>
                  <a:gd name="T22" fmla="*/ 2147483647 w 894"/>
                  <a:gd name="T23" fmla="*/ 2147483647 h 1056"/>
                  <a:gd name="T24" fmla="*/ 2147483647 w 894"/>
                  <a:gd name="T25" fmla="*/ 2147483647 h 1056"/>
                  <a:gd name="T26" fmla="*/ 2147483647 w 894"/>
                  <a:gd name="T27" fmla="*/ 2147483647 h 1056"/>
                  <a:gd name="T28" fmla="*/ 2147483647 w 894"/>
                  <a:gd name="T29" fmla="*/ 2147483647 h 1056"/>
                  <a:gd name="T30" fmla="*/ 2147483647 w 894"/>
                  <a:gd name="T31" fmla="*/ 2147483647 h 1056"/>
                  <a:gd name="T32" fmla="*/ 2147483647 w 894"/>
                  <a:gd name="T33" fmla="*/ 2147483647 h 1056"/>
                  <a:gd name="T34" fmla="*/ 2147483647 w 894"/>
                  <a:gd name="T35" fmla="*/ 2147483647 h 1056"/>
                  <a:gd name="T36" fmla="*/ 2147483647 w 894"/>
                  <a:gd name="T37" fmla="*/ 2147483647 h 1056"/>
                  <a:gd name="T38" fmla="*/ 2147483647 w 894"/>
                  <a:gd name="T39" fmla="*/ 2147483647 h 1056"/>
                  <a:gd name="T40" fmla="*/ 2147483647 w 894"/>
                  <a:gd name="T41" fmla="*/ 2147483647 h 1056"/>
                  <a:gd name="T42" fmla="*/ 2147483647 w 894"/>
                  <a:gd name="T43" fmla="*/ 2147483647 h 1056"/>
                  <a:gd name="T44" fmla="*/ 2147483647 w 894"/>
                  <a:gd name="T45" fmla="*/ 2147483647 h 1056"/>
                  <a:gd name="T46" fmla="*/ 2147483647 w 894"/>
                  <a:gd name="T47" fmla="*/ 2147483647 h 1056"/>
                  <a:gd name="T48" fmla="*/ 0 w 894"/>
                  <a:gd name="T49" fmla="*/ 2147483647 h 1056"/>
                  <a:gd name="T50" fmla="*/ 2147483647 w 894"/>
                  <a:gd name="T51" fmla="*/ 2147483647 h 1056"/>
                  <a:gd name="T52" fmla="*/ 2147483647 w 894"/>
                  <a:gd name="T53" fmla="*/ 2147483647 h 1056"/>
                  <a:gd name="T54" fmla="*/ 2147483647 w 894"/>
                  <a:gd name="T55" fmla="*/ 2147483647 h 1056"/>
                  <a:gd name="T56" fmla="*/ 2147483647 w 894"/>
                  <a:gd name="T57" fmla="*/ 2147483647 h 1056"/>
                  <a:gd name="T58" fmla="*/ 2147483647 w 894"/>
                  <a:gd name="T59" fmla="*/ 2147483647 h 1056"/>
                  <a:gd name="T60" fmla="*/ 2147483647 w 894"/>
                  <a:gd name="T61" fmla="*/ 2147483647 h 1056"/>
                  <a:gd name="T62" fmla="*/ 2147483647 w 894"/>
                  <a:gd name="T63" fmla="*/ 2147483647 h 1056"/>
                  <a:gd name="T64" fmla="*/ 2147483647 w 894"/>
                  <a:gd name="T65" fmla="*/ 2147483647 h 1056"/>
                  <a:gd name="T66" fmla="*/ 2147483647 w 894"/>
                  <a:gd name="T67" fmla="*/ 2147483647 h 1056"/>
                  <a:gd name="T68" fmla="*/ 2147483647 w 894"/>
                  <a:gd name="T69" fmla="*/ 2147483647 h 1056"/>
                  <a:gd name="T70" fmla="*/ 2147483647 w 894"/>
                  <a:gd name="T71" fmla="*/ 2147483647 h 1056"/>
                  <a:gd name="T72" fmla="*/ 2147483647 w 894"/>
                  <a:gd name="T73" fmla="*/ 2147483647 h 1056"/>
                  <a:gd name="T74" fmla="*/ 2147483647 w 894"/>
                  <a:gd name="T75" fmla="*/ 2147483647 h 1056"/>
                  <a:gd name="T76" fmla="*/ 2147483647 w 894"/>
                  <a:gd name="T77" fmla="*/ 2147483647 h 1056"/>
                  <a:gd name="T78" fmla="*/ 2147483647 w 894"/>
                  <a:gd name="T79" fmla="*/ 2147483647 h 1056"/>
                  <a:gd name="T80" fmla="*/ 2147483647 w 894"/>
                  <a:gd name="T81" fmla="*/ 2147483647 h 1056"/>
                  <a:gd name="T82" fmla="*/ 2147483647 w 894"/>
                  <a:gd name="T83" fmla="*/ 2147483647 h 1056"/>
                  <a:gd name="T84" fmla="*/ 2147483647 w 894"/>
                  <a:gd name="T85" fmla="*/ 2147483647 h 1056"/>
                  <a:gd name="T86" fmla="*/ 2147483647 w 894"/>
                  <a:gd name="T87" fmla="*/ 2147483647 h 1056"/>
                  <a:gd name="T88" fmla="*/ 2147483647 w 894"/>
                  <a:gd name="T89" fmla="*/ 2147483647 h 1056"/>
                  <a:gd name="T90" fmla="*/ 2147483647 w 894"/>
                  <a:gd name="T91" fmla="*/ 2147483647 h 1056"/>
                  <a:gd name="T92" fmla="*/ 2147483647 w 894"/>
                  <a:gd name="T93" fmla="*/ 2147483647 h 1056"/>
                  <a:gd name="T94" fmla="*/ 2147483647 w 894"/>
                  <a:gd name="T95" fmla="*/ 2147483647 h 1056"/>
                  <a:gd name="T96" fmla="*/ 2147483647 w 894"/>
                  <a:gd name="T97" fmla="*/ 2147483647 h 1056"/>
                  <a:gd name="T98" fmla="*/ 2147483647 w 894"/>
                  <a:gd name="T99" fmla="*/ 2147483647 h 1056"/>
                  <a:gd name="T100" fmla="*/ 2147483647 w 894"/>
                  <a:gd name="T101" fmla="*/ 2147483647 h 105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94"/>
                  <a:gd name="T154" fmla="*/ 0 h 1056"/>
                  <a:gd name="T155" fmla="*/ 894 w 894"/>
                  <a:gd name="T156" fmla="*/ 1056 h 105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94" h="1056">
                    <a:moveTo>
                      <a:pt x="882" y="744"/>
                    </a:moveTo>
                    <a:lnTo>
                      <a:pt x="882" y="738"/>
                    </a:lnTo>
                    <a:lnTo>
                      <a:pt x="888" y="732"/>
                    </a:lnTo>
                    <a:lnTo>
                      <a:pt x="888" y="708"/>
                    </a:lnTo>
                    <a:lnTo>
                      <a:pt x="894" y="696"/>
                    </a:lnTo>
                    <a:lnTo>
                      <a:pt x="894" y="684"/>
                    </a:lnTo>
                    <a:lnTo>
                      <a:pt x="882" y="648"/>
                    </a:lnTo>
                    <a:lnTo>
                      <a:pt x="876" y="636"/>
                    </a:lnTo>
                    <a:lnTo>
                      <a:pt x="864" y="624"/>
                    </a:lnTo>
                    <a:lnTo>
                      <a:pt x="840" y="612"/>
                    </a:lnTo>
                    <a:lnTo>
                      <a:pt x="834" y="606"/>
                    </a:lnTo>
                    <a:lnTo>
                      <a:pt x="822" y="600"/>
                    </a:lnTo>
                    <a:lnTo>
                      <a:pt x="816" y="588"/>
                    </a:lnTo>
                    <a:lnTo>
                      <a:pt x="816" y="576"/>
                    </a:lnTo>
                    <a:lnTo>
                      <a:pt x="822" y="558"/>
                    </a:lnTo>
                    <a:lnTo>
                      <a:pt x="822" y="546"/>
                    </a:lnTo>
                    <a:lnTo>
                      <a:pt x="828" y="540"/>
                    </a:lnTo>
                    <a:lnTo>
                      <a:pt x="828" y="534"/>
                    </a:lnTo>
                    <a:lnTo>
                      <a:pt x="768" y="534"/>
                    </a:lnTo>
                    <a:lnTo>
                      <a:pt x="720" y="528"/>
                    </a:lnTo>
                    <a:lnTo>
                      <a:pt x="690" y="522"/>
                    </a:lnTo>
                    <a:lnTo>
                      <a:pt x="684" y="516"/>
                    </a:lnTo>
                    <a:lnTo>
                      <a:pt x="684" y="474"/>
                    </a:lnTo>
                    <a:lnTo>
                      <a:pt x="690" y="462"/>
                    </a:lnTo>
                    <a:lnTo>
                      <a:pt x="684" y="456"/>
                    </a:lnTo>
                    <a:lnTo>
                      <a:pt x="672" y="450"/>
                    </a:lnTo>
                    <a:lnTo>
                      <a:pt x="666" y="438"/>
                    </a:lnTo>
                    <a:lnTo>
                      <a:pt x="660" y="432"/>
                    </a:lnTo>
                    <a:lnTo>
                      <a:pt x="660" y="426"/>
                    </a:lnTo>
                    <a:lnTo>
                      <a:pt x="678" y="426"/>
                    </a:lnTo>
                    <a:lnTo>
                      <a:pt x="678" y="396"/>
                    </a:lnTo>
                    <a:lnTo>
                      <a:pt x="672" y="384"/>
                    </a:lnTo>
                    <a:lnTo>
                      <a:pt x="666" y="378"/>
                    </a:lnTo>
                    <a:lnTo>
                      <a:pt x="660" y="366"/>
                    </a:lnTo>
                    <a:lnTo>
                      <a:pt x="660" y="336"/>
                    </a:lnTo>
                    <a:lnTo>
                      <a:pt x="654" y="330"/>
                    </a:lnTo>
                    <a:lnTo>
                      <a:pt x="648" y="318"/>
                    </a:lnTo>
                    <a:lnTo>
                      <a:pt x="624" y="306"/>
                    </a:lnTo>
                    <a:lnTo>
                      <a:pt x="564" y="306"/>
                    </a:lnTo>
                    <a:lnTo>
                      <a:pt x="558" y="300"/>
                    </a:lnTo>
                    <a:lnTo>
                      <a:pt x="546" y="294"/>
                    </a:lnTo>
                    <a:lnTo>
                      <a:pt x="534" y="282"/>
                    </a:lnTo>
                    <a:lnTo>
                      <a:pt x="534" y="276"/>
                    </a:lnTo>
                    <a:lnTo>
                      <a:pt x="510" y="276"/>
                    </a:lnTo>
                    <a:lnTo>
                      <a:pt x="498" y="270"/>
                    </a:lnTo>
                    <a:lnTo>
                      <a:pt x="486" y="258"/>
                    </a:lnTo>
                    <a:lnTo>
                      <a:pt x="474" y="252"/>
                    </a:lnTo>
                    <a:lnTo>
                      <a:pt x="468" y="240"/>
                    </a:lnTo>
                    <a:lnTo>
                      <a:pt x="468" y="234"/>
                    </a:lnTo>
                    <a:lnTo>
                      <a:pt x="456" y="234"/>
                    </a:lnTo>
                    <a:lnTo>
                      <a:pt x="450" y="240"/>
                    </a:lnTo>
                    <a:lnTo>
                      <a:pt x="438" y="240"/>
                    </a:lnTo>
                    <a:lnTo>
                      <a:pt x="426" y="234"/>
                    </a:lnTo>
                    <a:lnTo>
                      <a:pt x="420" y="222"/>
                    </a:lnTo>
                    <a:lnTo>
                      <a:pt x="414" y="228"/>
                    </a:lnTo>
                    <a:lnTo>
                      <a:pt x="384" y="228"/>
                    </a:lnTo>
                    <a:lnTo>
                      <a:pt x="372" y="222"/>
                    </a:lnTo>
                    <a:lnTo>
                      <a:pt x="366" y="216"/>
                    </a:lnTo>
                    <a:lnTo>
                      <a:pt x="366" y="210"/>
                    </a:lnTo>
                    <a:lnTo>
                      <a:pt x="360" y="198"/>
                    </a:lnTo>
                    <a:lnTo>
                      <a:pt x="360" y="192"/>
                    </a:lnTo>
                    <a:lnTo>
                      <a:pt x="354" y="186"/>
                    </a:lnTo>
                    <a:lnTo>
                      <a:pt x="330" y="186"/>
                    </a:lnTo>
                    <a:lnTo>
                      <a:pt x="324" y="156"/>
                    </a:lnTo>
                    <a:lnTo>
                      <a:pt x="318" y="150"/>
                    </a:lnTo>
                    <a:lnTo>
                      <a:pt x="306" y="144"/>
                    </a:lnTo>
                    <a:lnTo>
                      <a:pt x="294" y="132"/>
                    </a:lnTo>
                    <a:lnTo>
                      <a:pt x="294" y="120"/>
                    </a:lnTo>
                    <a:lnTo>
                      <a:pt x="300" y="114"/>
                    </a:lnTo>
                    <a:lnTo>
                      <a:pt x="300" y="96"/>
                    </a:lnTo>
                    <a:lnTo>
                      <a:pt x="294" y="84"/>
                    </a:lnTo>
                    <a:lnTo>
                      <a:pt x="288" y="78"/>
                    </a:lnTo>
                    <a:lnTo>
                      <a:pt x="288" y="48"/>
                    </a:lnTo>
                    <a:lnTo>
                      <a:pt x="294" y="42"/>
                    </a:lnTo>
                    <a:lnTo>
                      <a:pt x="294" y="36"/>
                    </a:lnTo>
                    <a:lnTo>
                      <a:pt x="300" y="30"/>
                    </a:lnTo>
                    <a:lnTo>
                      <a:pt x="300" y="0"/>
                    </a:lnTo>
                    <a:lnTo>
                      <a:pt x="288" y="0"/>
                    </a:lnTo>
                    <a:lnTo>
                      <a:pt x="276" y="6"/>
                    </a:lnTo>
                    <a:lnTo>
                      <a:pt x="276" y="12"/>
                    </a:lnTo>
                    <a:lnTo>
                      <a:pt x="270" y="12"/>
                    </a:lnTo>
                    <a:lnTo>
                      <a:pt x="258" y="0"/>
                    </a:lnTo>
                    <a:lnTo>
                      <a:pt x="246" y="12"/>
                    </a:lnTo>
                    <a:lnTo>
                      <a:pt x="210" y="12"/>
                    </a:lnTo>
                    <a:lnTo>
                      <a:pt x="198" y="18"/>
                    </a:lnTo>
                    <a:lnTo>
                      <a:pt x="192" y="24"/>
                    </a:lnTo>
                    <a:lnTo>
                      <a:pt x="186" y="36"/>
                    </a:lnTo>
                    <a:lnTo>
                      <a:pt x="180" y="42"/>
                    </a:lnTo>
                    <a:lnTo>
                      <a:pt x="180" y="48"/>
                    </a:lnTo>
                    <a:lnTo>
                      <a:pt x="144" y="48"/>
                    </a:lnTo>
                    <a:lnTo>
                      <a:pt x="138" y="78"/>
                    </a:lnTo>
                    <a:lnTo>
                      <a:pt x="102" y="78"/>
                    </a:lnTo>
                    <a:lnTo>
                      <a:pt x="90" y="96"/>
                    </a:lnTo>
                    <a:lnTo>
                      <a:pt x="84" y="102"/>
                    </a:lnTo>
                    <a:lnTo>
                      <a:pt x="60" y="114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36" y="102"/>
                    </a:lnTo>
                    <a:lnTo>
                      <a:pt x="12" y="102"/>
                    </a:lnTo>
                    <a:lnTo>
                      <a:pt x="0" y="96"/>
                    </a:lnTo>
                    <a:lnTo>
                      <a:pt x="0" y="114"/>
                    </a:lnTo>
                    <a:lnTo>
                      <a:pt x="6" y="132"/>
                    </a:lnTo>
                    <a:lnTo>
                      <a:pt x="18" y="144"/>
                    </a:lnTo>
                    <a:lnTo>
                      <a:pt x="30" y="162"/>
                    </a:lnTo>
                    <a:lnTo>
                      <a:pt x="42" y="174"/>
                    </a:lnTo>
                    <a:lnTo>
                      <a:pt x="54" y="192"/>
                    </a:lnTo>
                    <a:lnTo>
                      <a:pt x="66" y="216"/>
                    </a:lnTo>
                    <a:lnTo>
                      <a:pt x="66" y="228"/>
                    </a:lnTo>
                    <a:lnTo>
                      <a:pt x="60" y="234"/>
                    </a:lnTo>
                    <a:lnTo>
                      <a:pt x="54" y="246"/>
                    </a:lnTo>
                    <a:lnTo>
                      <a:pt x="48" y="252"/>
                    </a:lnTo>
                    <a:lnTo>
                      <a:pt x="60" y="300"/>
                    </a:lnTo>
                    <a:lnTo>
                      <a:pt x="42" y="330"/>
                    </a:lnTo>
                    <a:lnTo>
                      <a:pt x="48" y="330"/>
                    </a:lnTo>
                    <a:lnTo>
                      <a:pt x="60" y="342"/>
                    </a:lnTo>
                    <a:lnTo>
                      <a:pt x="66" y="354"/>
                    </a:lnTo>
                    <a:lnTo>
                      <a:pt x="66" y="360"/>
                    </a:lnTo>
                    <a:lnTo>
                      <a:pt x="60" y="372"/>
                    </a:lnTo>
                    <a:lnTo>
                      <a:pt x="48" y="384"/>
                    </a:lnTo>
                    <a:lnTo>
                      <a:pt x="36" y="408"/>
                    </a:lnTo>
                    <a:lnTo>
                      <a:pt x="42" y="426"/>
                    </a:lnTo>
                    <a:lnTo>
                      <a:pt x="48" y="438"/>
                    </a:lnTo>
                    <a:lnTo>
                      <a:pt x="54" y="444"/>
                    </a:lnTo>
                    <a:lnTo>
                      <a:pt x="54" y="450"/>
                    </a:lnTo>
                    <a:lnTo>
                      <a:pt x="42" y="468"/>
                    </a:lnTo>
                    <a:lnTo>
                      <a:pt x="54" y="480"/>
                    </a:lnTo>
                    <a:lnTo>
                      <a:pt x="78" y="498"/>
                    </a:lnTo>
                    <a:lnTo>
                      <a:pt x="78" y="516"/>
                    </a:lnTo>
                    <a:lnTo>
                      <a:pt x="102" y="528"/>
                    </a:lnTo>
                    <a:lnTo>
                      <a:pt x="90" y="558"/>
                    </a:lnTo>
                    <a:lnTo>
                      <a:pt x="78" y="546"/>
                    </a:lnTo>
                    <a:lnTo>
                      <a:pt x="78" y="558"/>
                    </a:lnTo>
                    <a:lnTo>
                      <a:pt x="66" y="582"/>
                    </a:lnTo>
                    <a:lnTo>
                      <a:pt x="54" y="588"/>
                    </a:lnTo>
                    <a:lnTo>
                      <a:pt x="36" y="606"/>
                    </a:lnTo>
                    <a:lnTo>
                      <a:pt x="48" y="630"/>
                    </a:lnTo>
                    <a:lnTo>
                      <a:pt x="42" y="636"/>
                    </a:lnTo>
                    <a:lnTo>
                      <a:pt x="60" y="666"/>
                    </a:lnTo>
                    <a:lnTo>
                      <a:pt x="84" y="666"/>
                    </a:lnTo>
                    <a:lnTo>
                      <a:pt x="96" y="744"/>
                    </a:lnTo>
                    <a:lnTo>
                      <a:pt x="108" y="750"/>
                    </a:lnTo>
                    <a:lnTo>
                      <a:pt x="114" y="750"/>
                    </a:lnTo>
                    <a:lnTo>
                      <a:pt x="138" y="762"/>
                    </a:lnTo>
                    <a:lnTo>
                      <a:pt x="144" y="774"/>
                    </a:lnTo>
                    <a:lnTo>
                      <a:pt x="144" y="780"/>
                    </a:lnTo>
                    <a:lnTo>
                      <a:pt x="138" y="792"/>
                    </a:lnTo>
                    <a:lnTo>
                      <a:pt x="126" y="804"/>
                    </a:lnTo>
                    <a:lnTo>
                      <a:pt x="144" y="822"/>
                    </a:lnTo>
                    <a:lnTo>
                      <a:pt x="138" y="828"/>
                    </a:lnTo>
                    <a:lnTo>
                      <a:pt x="132" y="840"/>
                    </a:lnTo>
                    <a:lnTo>
                      <a:pt x="126" y="846"/>
                    </a:lnTo>
                    <a:lnTo>
                      <a:pt x="126" y="858"/>
                    </a:lnTo>
                    <a:lnTo>
                      <a:pt x="132" y="870"/>
                    </a:lnTo>
                    <a:lnTo>
                      <a:pt x="138" y="876"/>
                    </a:lnTo>
                    <a:lnTo>
                      <a:pt x="138" y="900"/>
                    </a:lnTo>
                    <a:lnTo>
                      <a:pt x="144" y="900"/>
                    </a:lnTo>
                    <a:lnTo>
                      <a:pt x="150" y="906"/>
                    </a:lnTo>
                    <a:lnTo>
                      <a:pt x="162" y="912"/>
                    </a:lnTo>
                    <a:lnTo>
                      <a:pt x="168" y="918"/>
                    </a:lnTo>
                    <a:lnTo>
                      <a:pt x="180" y="924"/>
                    </a:lnTo>
                    <a:lnTo>
                      <a:pt x="186" y="930"/>
                    </a:lnTo>
                    <a:lnTo>
                      <a:pt x="186" y="996"/>
                    </a:lnTo>
                    <a:lnTo>
                      <a:pt x="210" y="1020"/>
                    </a:lnTo>
                    <a:lnTo>
                      <a:pt x="210" y="1044"/>
                    </a:lnTo>
                    <a:lnTo>
                      <a:pt x="216" y="1056"/>
                    </a:lnTo>
                    <a:lnTo>
                      <a:pt x="270" y="1056"/>
                    </a:lnTo>
                    <a:lnTo>
                      <a:pt x="270" y="1026"/>
                    </a:lnTo>
                    <a:lnTo>
                      <a:pt x="282" y="1026"/>
                    </a:lnTo>
                    <a:lnTo>
                      <a:pt x="282" y="1008"/>
                    </a:lnTo>
                    <a:lnTo>
                      <a:pt x="306" y="1002"/>
                    </a:lnTo>
                    <a:lnTo>
                      <a:pt x="318" y="978"/>
                    </a:lnTo>
                    <a:lnTo>
                      <a:pt x="324" y="984"/>
                    </a:lnTo>
                    <a:lnTo>
                      <a:pt x="348" y="996"/>
                    </a:lnTo>
                    <a:lnTo>
                      <a:pt x="360" y="996"/>
                    </a:lnTo>
                    <a:lnTo>
                      <a:pt x="378" y="1002"/>
                    </a:lnTo>
                    <a:lnTo>
                      <a:pt x="432" y="1002"/>
                    </a:lnTo>
                    <a:lnTo>
                      <a:pt x="462" y="1050"/>
                    </a:lnTo>
                    <a:lnTo>
                      <a:pt x="474" y="996"/>
                    </a:lnTo>
                    <a:lnTo>
                      <a:pt x="546" y="990"/>
                    </a:lnTo>
                    <a:lnTo>
                      <a:pt x="582" y="1014"/>
                    </a:lnTo>
                    <a:lnTo>
                      <a:pt x="582" y="996"/>
                    </a:lnTo>
                    <a:lnTo>
                      <a:pt x="594" y="924"/>
                    </a:lnTo>
                    <a:lnTo>
                      <a:pt x="594" y="900"/>
                    </a:lnTo>
                    <a:lnTo>
                      <a:pt x="588" y="894"/>
                    </a:lnTo>
                    <a:lnTo>
                      <a:pt x="588" y="888"/>
                    </a:lnTo>
                    <a:lnTo>
                      <a:pt x="576" y="864"/>
                    </a:lnTo>
                    <a:lnTo>
                      <a:pt x="576" y="852"/>
                    </a:lnTo>
                    <a:lnTo>
                      <a:pt x="582" y="846"/>
                    </a:lnTo>
                    <a:lnTo>
                      <a:pt x="594" y="840"/>
                    </a:lnTo>
                    <a:lnTo>
                      <a:pt x="606" y="828"/>
                    </a:lnTo>
                    <a:lnTo>
                      <a:pt x="612" y="798"/>
                    </a:lnTo>
                    <a:lnTo>
                      <a:pt x="714" y="780"/>
                    </a:lnTo>
                    <a:lnTo>
                      <a:pt x="792" y="768"/>
                    </a:lnTo>
                    <a:lnTo>
                      <a:pt x="846" y="810"/>
                    </a:lnTo>
                    <a:lnTo>
                      <a:pt x="864" y="846"/>
                    </a:lnTo>
                    <a:lnTo>
                      <a:pt x="864" y="840"/>
                    </a:lnTo>
                    <a:lnTo>
                      <a:pt x="870" y="834"/>
                    </a:lnTo>
                    <a:lnTo>
                      <a:pt x="882" y="828"/>
                    </a:lnTo>
                    <a:lnTo>
                      <a:pt x="888" y="822"/>
                    </a:lnTo>
                    <a:lnTo>
                      <a:pt x="876" y="816"/>
                    </a:lnTo>
                    <a:lnTo>
                      <a:pt x="870" y="810"/>
                    </a:lnTo>
                    <a:lnTo>
                      <a:pt x="870" y="786"/>
                    </a:lnTo>
                    <a:lnTo>
                      <a:pt x="876" y="774"/>
                    </a:lnTo>
                    <a:lnTo>
                      <a:pt x="882" y="768"/>
                    </a:lnTo>
                    <a:lnTo>
                      <a:pt x="888" y="756"/>
                    </a:lnTo>
                    <a:lnTo>
                      <a:pt x="882" y="74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lumMod val="50000"/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5" name="Bhu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299C140-921A-40B8-BE3E-F2F5F30AE2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269797" y="3495535"/>
                <a:ext cx="103083" cy="60228"/>
              </a:xfrm>
              <a:custGeom>
                <a:avLst/>
                <a:gdLst>
                  <a:gd name="T0" fmla="*/ 2147483647 w 234"/>
                  <a:gd name="T1" fmla="*/ 2147483647 h 132"/>
                  <a:gd name="T2" fmla="*/ 2147483647 w 234"/>
                  <a:gd name="T3" fmla="*/ 2147483647 h 132"/>
                  <a:gd name="T4" fmla="*/ 2147483647 w 234"/>
                  <a:gd name="T5" fmla="*/ 2147483647 h 132"/>
                  <a:gd name="T6" fmla="*/ 2147483647 w 234"/>
                  <a:gd name="T7" fmla="*/ 2147483647 h 132"/>
                  <a:gd name="T8" fmla="*/ 2147483647 w 234"/>
                  <a:gd name="T9" fmla="*/ 2147483647 h 132"/>
                  <a:gd name="T10" fmla="*/ 2147483647 w 234"/>
                  <a:gd name="T11" fmla="*/ 2147483647 h 132"/>
                  <a:gd name="T12" fmla="*/ 2147483647 w 234"/>
                  <a:gd name="T13" fmla="*/ 2147483647 h 132"/>
                  <a:gd name="T14" fmla="*/ 2147483647 w 234"/>
                  <a:gd name="T15" fmla="*/ 2147483647 h 132"/>
                  <a:gd name="T16" fmla="*/ 2147483647 w 234"/>
                  <a:gd name="T17" fmla="*/ 2147483647 h 132"/>
                  <a:gd name="T18" fmla="*/ 2147483647 w 234"/>
                  <a:gd name="T19" fmla="*/ 2147483647 h 132"/>
                  <a:gd name="T20" fmla="*/ 2147483647 w 234"/>
                  <a:gd name="T21" fmla="*/ 2147483647 h 132"/>
                  <a:gd name="T22" fmla="*/ 2147483647 w 234"/>
                  <a:gd name="T23" fmla="*/ 2147483647 h 132"/>
                  <a:gd name="T24" fmla="*/ 2147483647 w 234"/>
                  <a:gd name="T25" fmla="*/ 2147483647 h 132"/>
                  <a:gd name="T26" fmla="*/ 2147483647 w 234"/>
                  <a:gd name="T27" fmla="*/ 2147483647 h 132"/>
                  <a:gd name="T28" fmla="*/ 2147483647 w 234"/>
                  <a:gd name="T29" fmla="*/ 2147483647 h 132"/>
                  <a:gd name="T30" fmla="*/ 2147483647 w 234"/>
                  <a:gd name="T31" fmla="*/ 2147483647 h 132"/>
                  <a:gd name="T32" fmla="*/ 2147483647 w 234"/>
                  <a:gd name="T33" fmla="*/ 2147483647 h 132"/>
                  <a:gd name="T34" fmla="*/ 2147483647 w 234"/>
                  <a:gd name="T35" fmla="*/ 2147483647 h 132"/>
                  <a:gd name="T36" fmla="*/ 2147483647 w 234"/>
                  <a:gd name="T37" fmla="*/ 2147483647 h 132"/>
                  <a:gd name="T38" fmla="*/ 2147483647 w 234"/>
                  <a:gd name="T39" fmla="*/ 2147483647 h 132"/>
                  <a:gd name="T40" fmla="*/ 2147483647 w 234"/>
                  <a:gd name="T41" fmla="*/ 2147483647 h 132"/>
                  <a:gd name="T42" fmla="*/ 2147483647 w 234"/>
                  <a:gd name="T43" fmla="*/ 2147483647 h 132"/>
                  <a:gd name="T44" fmla="*/ 2147483647 w 234"/>
                  <a:gd name="T45" fmla="*/ 2147483647 h 132"/>
                  <a:gd name="T46" fmla="*/ 2147483647 w 234"/>
                  <a:gd name="T47" fmla="*/ 2147483647 h 132"/>
                  <a:gd name="T48" fmla="*/ 2147483647 w 234"/>
                  <a:gd name="T49" fmla="*/ 2147483647 h 132"/>
                  <a:gd name="T50" fmla="*/ 2147483647 w 234"/>
                  <a:gd name="T51" fmla="*/ 2147483647 h 132"/>
                  <a:gd name="T52" fmla="*/ 2147483647 w 234"/>
                  <a:gd name="T53" fmla="*/ 2147483647 h 132"/>
                  <a:gd name="T54" fmla="*/ 2147483647 w 234"/>
                  <a:gd name="T55" fmla="*/ 2147483647 h 132"/>
                  <a:gd name="T56" fmla="*/ 2147483647 w 234"/>
                  <a:gd name="T57" fmla="*/ 2147483647 h 132"/>
                  <a:gd name="T58" fmla="*/ 2147483647 w 234"/>
                  <a:gd name="T59" fmla="*/ 0 h 132"/>
                  <a:gd name="T60" fmla="*/ 2147483647 w 234"/>
                  <a:gd name="T61" fmla="*/ 0 h 132"/>
                  <a:gd name="T62" fmla="*/ 2147483647 w 234"/>
                  <a:gd name="T63" fmla="*/ 2147483647 h 132"/>
                  <a:gd name="T64" fmla="*/ 2147483647 w 234"/>
                  <a:gd name="T65" fmla="*/ 2147483647 h 132"/>
                  <a:gd name="T66" fmla="*/ 2147483647 w 234"/>
                  <a:gd name="T67" fmla="*/ 2147483647 h 132"/>
                  <a:gd name="T68" fmla="*/ 2147483647 w 234"/>
                  <a:gd name="T69" fmla="*/ 2147483647 h 132"/>
                  <a:gd name="T70" fmla="*/ 2147483647 w 234"/>
                  <a:gd name="T71" fmla="*/ 2147483647 h 132"/>
                  <a:gd name="T72" fmla="*/ 2147483647 w 234"/>
                  <a:gd name="T73" fmla="*/ 2147483647 h 132"/>
                  <a:gd name="T74" fmla="*/ 2147483647 w 234"/>
                  <a:gd name="T75" fmla="*/ 2147483647 h 132"/>
                  <a:gd name="T76" fmla="*/ 0 w 234"/>
                  <a:gd name="T77" fmla="*/ 2147483647 h 132"/>
                  <a:gd name="T78" fmla="*/ 0 w 234"/>
                  <a:gd name="T79" fmla="*/ 2147483647 h 132"/>
                  <a:gd name="T80" fmla="*/ 2147483647 w 234"/>
                  <a:gd name="T81" fmla="*/ 2147483647 h 132"/>
                  <a:gd name="T82" fmla="*/ 2147483647 w 234"/>
                  <a:gd name="T83" fmla="*/ 2147483647 h 132"/>
                  <a:gd name="T84" fmla="*/ 2147483647 w 234"/>
                  <a:gd name="T85" fmla="*/ 2147483647 h 132"/>
                  <a:gd name="T86" fmla="*/ 2147483647 w 234"/>
                  <a:gd name="T87" fmla="*/ 2147483647 h 132"/>
                  <a:gd name="T88" fmla="*/ 2147483647 w 234"/>
                  <a:gd name="T89" fmla="*/ 2147483647 h 132"/>
                  <a:gd name="T90" fmla="*/ 2147483647 w 234"/>
                  <a:gd name="T91" fmla="*/ 2147483647 h 132"/>
                  <a:gd name="T92" fmla="*/ 2147483647 w 234"/>
                  <a:gd name="T93" fmla="*/ 2147483647 h 13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234"/>
                  <a:gd name="T142" fmla="*/ 0 h 132"/>
                  <a:gd name="T143" fmla="*/ 234 w 234"/>
                  <a:gd name="T144" fmla="*/ 132 h 13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234" h="132">
                    <a:moveTo>
                      <a:pt x="78" y="132"/>
                    </a:moveTo>
                    <a:lnTo>
                      <a:pt x="90" y="132"/>
                    </a:lnTo>
                    <a:lnTo>
                      <a:pt x="102" y="126"/>
                    </a:lnTo>
                    <a:lnTo>
                      <a:pt x="108" y="120"/>
                    </a:lnTo>
                    <a:lnTo>
                      <a:pt x="126" y="120"/>
                    </a:lnTo>
                    <a:lnTo>
                      <a:pt x="138" y="126"/>
                    </a:lnTo>
                    <a:lnTo>
                      <a:pt x="168" y="126"/>
                    </a:lnTo>
                    <a:lnTo>
                      <a:pt x="180" y="120"/>
                    </a:lnTo>
                    <a:lnTo>
                      <a:pt x="192" y="120"/>
                    </a:lnTo>
                    <a:lnTo>
                      <a:pt x="198" y="126"/>
                    </a:lnTo>
                    <a:lnTo>
                      <a:pt x="210" y="126"/>
                    </a:lnTo>
                    <a:lnTo>
                      <a:pt x="234" y="114"/>
                    </a:lnTo>
                    <a:lnTo>
                      <a:pt x="234" y="108"/>
                    </a:lnTo>
                    <a:lnTo>
                      <a:pt x="222" y="96"/>
                    </a:lnTo>
                    <a:lnTo>
                      <a:pt x="222" y="72"/>
                    </a:lnTo>
                    <a:lnTo>
                      <a:pt x="198" y="72"/>
                    </a:lnTo>
                    <a:lnTo>
                      <a:pt x="192" y="66"/>
                    </a:lnTo>
                    <a:lnTo>
                      <a:pt x="192" y="42"/>
                    </a:lnTo>
                    <a:lnTo>
                      <a:pt x="186" y="30"/>
                    </a:lnTo>
                    <a:lnTo>
                      <a:pt x="174" y="18"/>
                    </a:lnTo>
                    <a:lnTo>
                      <a:pt x="162" y="12"/>
                    </a:lnTo>
                    <a:lnTo>
                      <a:pt x="150" y="12"/>
                    </a:lnTo>
                    <a:lnTo>
                      <a:pt x="138" y="18"/>
                    </a:lnTo>
                    <a:lnTo>
                      <a:pt x="126" y="18"/>
                    </a:lnTo>
                    <a:lnTo>
                      <a:pt x="114" y="24"/>
                    </a:lnTo>
                    <a:lnTo>
                      <a:pt x="108" y="30"/>
                    </a:lnTo>
                    <a:lnTo>
                      <a:pt x="102" y="30"/>
                    </a:lnTo>
                    <a:lnTo>
                      <a:pt x="102" y="6"/>
                    </a:lnTo>
                    <a:lnTo>
                      <a:pt x="78" y="6"/>
                    </a:lnTo>
                    <a:lnTo>
                      <a:pt x="66" y="0"/>
                    </a:lnTo>
                    <a:lnTo>
                      <a:pt x="54" y="0"/>
                    </a:lnTo>
                    <a:lnTo>
                      <a:pt x="48" y="12"/>
                    </a:lnTo>
                    <a:lnTo>
                      <a:pt x="36" y="24"/>
                    </a:lnTo>
                    <a:lnTo>
                      <a:pt x="30" y="36"/>
                    </a:lnTo>
                    <a:lnTo>
                      <a:pt x="18" y="54"/>
                    </a:lnTo>
                    <a:lnTo>
                      <a:pt x="12" y="66"/>
                    </a:lnTo>
                    <a:lnTo>
                      <a:pt x="6" y="72"/>
                    </a:lnTo>
                    <a:lnTo>
                      <a:pt x="6" y="78"/>
                    </a:lnTo>
                    <a:lnTo>
                      <a:pt x="0" y="78"/>
                    </a:lnTo>
                    <a:lnTo>
                      <a:pt x="0" y="90"/>
                    </a:lnTo>
                    <a:lnTo>
                      <a:pt x="18" y="108"/>
                    </a:lnTo>
                    <a:lnTo>
                      <a:pt x="42" y="120"/>
                    </a:lnTo>
                    <a:lnTo>
                      <a:pt x="54" y="120"/>
                    </a:lnTo>
                    <a:lnTo>
                      <a:pt x="54" y="114"/>
                    </a:lnTo>
                    <a:lnTo>
                      <a:pt x="54" y="120"/>
                    </a:lnTo>
                    <a:lnTo>
                      <a:pt x="66" y="132"/>
                    </a:lnTo>
                    <a:lnTo>
                      <a:pt x="78" y="13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6" name="Ben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55CA791-0AD4-47D1-85EC-96C8F72A25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73908" y="4073012"/>
                <a:ext cx="97842" cy="223197"/>
              </a:xfrm>
              <a:custGeom>
                <a:avLst/>
                <a:gdLst>
                  <a:gd name="T0" fmla="*/ 2147483647 w 222"/>
                  <a:gd name="T1" fmla="*/ 2147483647 h 498"/>
                  <a:gd name="T2" fmla="*/ 2147483647 w 222"/>
                  <a:gd name="T3" fmla="*/ 2147483647 h 498"/>
                  <a:gd name="T4" fmla="*/ 2147483647 w 222"/>
                  <a:gd name="T5" fmla="*/ 2147483647 h 498"/>
                  <a:gd name="T6" fmla="*/ 2147483647 w 222"/>
                  <a:gd name="T7" fmla="*/ 2147483647 h 498"/>
                  <a:gd name="T8" fmla="*/ 2147483647 w 222"/>
                  <a:gd name="T9" fmla="*/ 2147483647 h 498"/>
                  <a:gd name="T10" fmla="*/ 2147483647 w 222"/>
                  <a:gd name="T11" fmla="*/ 2147483647 h 498"/>
                  <a:gd name="T12" fmla="*/ 2147483647 w 222"/>
                  <a:gd name="T13" fmla="*/ 2147483647 h 498"/>
                  <a:gd name="T14" fmla="*/ 2147483647 w 222"/>
                  <a:gd name="T15" fmla="*/ 2147483647 h 498"/>
                  <a:gd name="T16" fmla="*/ 2147483647 w 222"/>
                  <a:gd name="T17" fmla="*/ 2147483647 h 498"/>
                  <a:gd name="T18" fmla="*/ 2147483647 w 222"/>
                  <a:gd name="T19" fmla="*/ 2147483647 h 498"/>
                  <a:gd name="T20" fmla="*/ 2147483647 w 222"/>
                  <a:gd name="T21" fmla="*/ 2147483647 h 498"/>
                  <a:gd name="T22" fmla="*/ 2147483647 w 222"/>
                  <a:gd name="T23" fmla="*/ 2147483647 h 498"/>
                  <a:gd name="T24" fmla="*/ 2147483647 w 222"/>
                  <a:gd name="T25" fmla="*/ 2147483647 h 498"/>
                  <a:gd name="T26" fmla="*/ 2147483647 w 222"/>
                  <a:gd name="T27" fmla="*/ 2147483647 h 498"/>
                  <a:gd name="T28" fmla="*/ 2147483647 w 222"/>
                  <a:gd name="T29" fmla="*/ 2147483647 h 498"/>
                  <a:gd name="T30" fmla="*/ 2147483647 w 222"/>
                  <a:gd name="T31" fmla="*/ 2147483647 h 498"/>
                  <a:gd name="T32" fmla="*/ 2147483647 w 222"/>
                  <a:gd name="T33" fmla="*/ 2147483647 h 498"/>
                  <a:gd name="T34" fmla="*/ 2147483647 w 222"/>
                  <a:gd name="T35" fmla="*/ 2147483647 h 498"/>
                  <a:gd name="T36" fmla="*/ 2147483647 w 222"/>
                  <a:gd name="T37" fmla="*/ 2147483647 h 498"/>
                  <a:gd name="T38" fmla="*/ 2147483647 w 222"/>
                  <a:gd name="T39" fmla="*/ 2147483647 h 498"/>
                  <a:gd name="T40" fmla="*/ 2147483647 w 222"/>
                  <a:gd name="T41" fmla="*/ 2147483647 h 498"/>
                  <a:gd name="T42" fmla="*/ 2147483647 w 222"/>
                  <a:gd name="T43" fmla="*/ 2147483647 h 498"/>
                  <a:gd name="T44" fmla="*/ 2147483647 w 222"/>
                  <a:gd name="T45" fmla="*/ 2147483647 h 498"/>
                  <a:gd name="T46" fmla="*/ 0 w 222"/>
                  <a:gd name="T47" fmla="*/ 2147483647 h 498"/>
                  <a:gd name="T48" fmla="*/ 2147483647 w 222"/>
                  <a:gd name="T49" fmla="*/ 2147483647 h 498"/>
                  <a:gd name="T50" fmla="*/ 2147483647 w 222"/>
                  <a:gd name="T51" fmla="*/ 2147483647 h 498"/>
                  <a:gd name="T52" fmla="*/ 2147483647 w 222"/>
                  <a:gd name="T53" fmla="*/ 2147483647 h 498"/>
                  <a:gd name="T54" fmla="*/ 2147483647 w 222"/>
                  <a:gd name="T55" fmla="*/ 2147483647 h 498"/>
                  <a:gd name="T56" fmla="*/ 2147483647 w 222"/>
                  <a:gd name="T57" fmla="*/ 2147483647 h 498"/>
                  <a:gd name="T58" fmla="*/ 2147483647 w 222"/>
                  <a:gd name="T59" fmla="*/ 2147483647 h 498"/>
                  <a:gd name="T60" fmla="*/ 2147483647 w 222"/>
                  <a:gd name="T61" fmla="*/ 2147483647 h 498"/>
                  <a:gd name="T62" fmla="*/ 2147483647 w 222"/>
                  <a:gd name="T63" fmla="*/ 2147483647 h 498"/>
                  <a:gd name="T64" fmla="*/ 2147483647 w 222"/>
                  <a:gd name="T65" fmla="*/ 2147483647 h 498"/>
                  <a:gd name="T66" fmla="*/ 2147483647 w 222"/>
                  <a:gd name="T67" fmla="*/ 2147483647 h 498"/>
                  <a:gd name="T68" fmla="*/ 2147483647 w 222"/>
                  <a:gd name="T69" fmla="*/ 2147483647 h 49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22"/>
                  <a:gd name="T106" fmla="*/ 0 h 498"/>
                  <a:gd name="T107" fmla="*/ 222 w 222"/>
                  <a:gd name="T108" fmla="*/ 498 h 49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22" h="498">
                    <a:moveTo>
                      <a:pt x="138" y="372"/>
                    </a:moveTo>
                    <a:lnTo>
                      <a:pt x="144" y="342"/>
                    </a:lnTo>
                    <a:lnTo>
                      <a:pt x="138" y="306"/>
                    </a:lnTo>
                    <a:lnTo>
                      <a:pt x="144" y="276"/>
                    </a:lnTo>
                    <a:lnTo>
                      <a:pt x="162" y="276"/>
                    </a:lnTo>
                    <a:lnTo>
                      <a:pt x="174" y="252"/>
                    </a:lnTo>
                    <a:lnTo>
                      <a:pt x="174" y="222"/>
                    </a:lnTo>
                    <a:lnTo>
                      <a:pt x="180" y="216"/>
                    </a:lnTo>
                    <a:lnTo>
                      <a:pt x="186" y="204"/>
                    </a:lnTo>
                    <a:lnTo>
                      <a:pt x="198" y="198"/>
                    </a:lnTo>
                    <a:lnTo>
                      <a:pt x="198" y="156"/>
                    </a:lnTo>
                    <a:lnTo>
                      <a:pt x="210" y="150"/>
                    </a:lnTo>
                    <a:lnTo>
                      <a:pt x="216" y="150"/>
                    </a:lnTo>
                    <a:lnTo>
                      <a:pt x="222" y="144"/>
                    </a:lnTo>
                    <a:lnTo>
                      <a:pt x="222" y="132"/>
                    </a:lnTo>
                    <a:lnTo>
                      <a:pt x="216" y="126"/>
                    </a:lnTo>
                    <a:lnTo>
                      <a:pt x="216" y="114"/>
                    </a:lnTo>
                    <a:lnTo>
                      <a:pt x="210" y="102"/>
                    </a:lnTo>
                    <a:lnTo>
                      <a:pt x="204" y="96"/>
                    </a:lnTo>
                    <a:lnTo>
                      <a:pt x="192" y="72"/>
                    </a:lnTo>
                    <a:lnTo>
                      <a:pt x="198" y="66"/>
                    </a:lnTo>
                    <a:lnTo>
                      <a:pt x="198" y="60"/>
                    </a:lnTo>
                    <a:lnTo>
                      <a:pt x="204" y="48"/>
                    </a:lnTo>
                    <a:lnTo>
                      <a:pt x="198" y="42"/>
                    </a:lnTo>
                    <a:lnTo>
                      <a:pt x="186" y="36"/>
                    </a:lnTo>
                    <a:lnTo>
                      <a:pt x="180" y="36"/>
                    </a:lnTo>
                    <a:lnTo>
                      <a:pt x="174" y="30"/>
                    </a:lnTo>
                    <a:lnTo>
                      <a:pt x="168" y="30"/>
                    </a:lnTo>
                    <a:lnTo>
                      <a:pt x="162" y="24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14" y="12"/>
                    </a:lnTo>
                    <a:lnTo>
                      <a:pt x="114" y="36"/>
                    </a:lnTo>
                    <a:lnTo>
                      <a:pt x="120" y="36"/>
                    </a:lnTo>
                    <a:lnTo>
                      <a:pt x="114" y="42"/>
                    </a:lnTo>
                    <a:lnTo>
                      <a:pt x="108" y="60"/>
                    </a:lnTo>
                    <a:lnTo>
                      <a:pt x="96" y="60"/>
                    </a:lnTo>
                    <a:lnTo>
                      <a:pt x="90" y="66"/>
                    </a:lnTo>
                    <a:lnTo>
                      <a:pt x="84" y="66"/>
                    </a:lnTo>
                    <a:lnTo>
                      <a:pt x="84" y="78"/>
                    </a:lnTo>
                    <a:lnTo>
                      <a:pt x="78" y="72"/>
                    </a:lnTo>
                    <a:lnTo>
                      <a:pt x="48" y="72"/>
                    </a:lnTo>
                    <a:lnTo>
                      <a:pt x="30" y="90"/>
                    </a:lnTo>
                    <a:lnTo>
                      <a:pt x="24" y="102"/>
                    </a:lnTo>
                    <a:lnTo>
                      <a:pt x="12" y="102"/>
                    </a:lnTo>
                    <a:lnTo>
                      <a:pt x="6" y="114"/>
                    </a:lnTo>
                    <a:lnTo>
                      <a:pt x="0" y="132"/>
                    </a:lnTo>
                    <a:lnTo>
                      <a:pt x="0" y="162"/>
                    </a:lnTo>
                    <a:lnTo>
                      <a:pt x="12" y="168"/>
                    </a:lnTo>
                    <a:lnTo>
                      <a:pt x="42" y="198"/>
                    </a:lnTo>
                    <a:lnTo>
                      <a:pt x="42" y="240"/>
                    </a:lnTo>
                    <a:lnTo>
                      <a:pt x="54" y="252"/>
                    </a:lnTo>
                    <a:lnTo>
                      <a:pt x="60" y="264"/>
                    </a:lnTo>
                    <a:lnTo>
                      <a:pt x="60" y="294"/>
                    </a:lnTo>
                    <a:lnTo>
                      <a:pt x="66" y="306"/>
                    </a:lnTo>
                    <a:lnTo>
                      <a:pt x="54" y="318"/>
                    </a:lnTo>
                    <a:lnTo>
                      <a:pt x="54" y="378"/>
                    </a:lnTo>
                    <a:lnTo>
                      <a:pt x="66" y="390"/>
                    </a:lnTo>
                    <a:lnTo>
                      <a:pt x="54" y="396"/>
                    </a:lnTo>
                    <a:lnTo>
                      <a:pt x="60" y="462"/>
                    </a:lnTo>
                    <a:lnTo>
                      <a:pt x="60" y="468"/>
                    </a:lnTo>
                    <a:lnTo>
                      <a:pt x="72" y="480"/>
                    </a:lnTo>
                    <a:lnTo>
                      <a:pt x="72" y="492"/>
                    </a:lnTo>
                    <a:lnTo>
                      <a:pt x="84" y="492"/>
                    </a:lnTo>
                    <a:lnTo>
                      <a:pt x="96" y="498"/>
                    </a:lnTo>
                    <a:lnTo>
                      <a:pt x="108" y="498"/>
                    </a:lnTo>
                    <a:lnTo>
                      <a:pt x="120" y="474"/>
                    </a:lnTo>
                    <a:lnTo>
                      <a:pt x="126" y="480"/>
                    </a:lnTo>
                    <a:lnTo>
                      <a:pt x="138" y="486"/>
                    </a:lnTo>
                    <a:lnTo>
                      <a:pt x="138" y="372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7" name="Bangladesh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CE400D1-9F36-4A71-95EA-5804969C54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255818" y="3561071"/>
                <a:ext cx="165980" cy="191312"/>
              </a:xfrm>
              <a:custGeom>
                <a:avLst/>
                <a:gdLst>
                  <a:gd name="T0" fmla="*/ 2147483647 w 372"/>
                  <a:gd name="T1" fmla="*/ 2147483647 h 426"/>
                  <a:gd name="T2" fmla="*/ 2147483647 w 372"/>
                  <a:gd name="T3" fmla="*/ 2147483647 h 426"/>
                  <a:gd name="T4" fmla="*/ 2147483647 w 372"/>
                  <a:gd name="T5" fmla="*/ 2147483647 h 426"/>
                  <a:gd name="T6" fmla="*/ 2147483647 w 372"/>
                  <a:gd name="T7" fmla="*/ 2147483647 h 426"/>
                  <a:gd name="T8" fmla="*/ 2147483647 w 372"/>
                  <a:gd name="T9" fmla="*/ 2147483647 h 426"/>
                  <a:gd name="T10" fmla="*/ 2147483647 w 372"/>
                  <a:gd name="T11" fmla="*/ 2147483647 h 426"/>
                  <a:gd name="T12" fmla="*/ 2147483647 w 372"/>
                  <a:gd name="T13" fmla="*/ 2147483647 h 426"/>
                  <a:gd name="T14" fmla="*/ 2147483647 w 372"/>
                  <a:gd name="T15" fmla="*/ 2147483647 h 426"/>
                  <a:gd name="T16" fmla="*/ 2147483647 w 372"/>
                  <a:gd name="T17" fmla="*/ 2147483647 h 426"/>
                  <a:gd name="T18" fmla="*/ 2147483647 w 372"/>
                  <a:gd name="T19" fmla="*/ 2147483647 h 426"/>
                  <a:gd name="T20" fmla="*/ 2147483647 w 372"/>
                  <a:gd name="T21" fmla="*/ 2147483647 h 426"/>
                  <a:gd name="T22" fmla="*/ 2147483647 w 372"/>
                  <a:gd name="T23" fmla="*/ 2147483647 h 426"/>
                  <a:gd name="T24" fmla="*/ 2147483647 w 372"/>
                  <a:gd name="T25" fmla="*/ 2147483647 h 426"/>
                  <a:gd name="T26" fmla="*/ 2147483647 w 372"/>
                  <a:gd name="T27" fmla="*/ 2147483647 h 426"/>
                  <a:gd name="T28" fmla="*/ 2147483647 w 372"/>
                  <a:gd name="T29" fmla="*/ 2147483647 h 426"/>
                  <a:gd name="T30" fmla="*/ 2147483647 w 372"/>
                  <a:gd name="T31" fmla="*/ 2147483647 h 426"/>
                  <a:gd name="T32" fmla="*/ 2147483647 w 372"/>
                  <a:gd name="T33" fmla="*/ 2147483647 h 426"/>
                  <a:gd name="T34" fmla="*/ 2147483647 w 372"/>
                  <a:gd name="T35" fmla="*/ 2147483647 h 426"/>
                  <a:gd name="T36" fmla="*/ 2147483647 w 372"/>
                  <a:gd name="T37" fmla="*/ 2147483647 h 426"/>
                  <a:gd name="T38" fmla="*/ 2147483647 w 372"/>
                  <a:gd name="T39" fmla="*/ 2147483647 h 426"/>
                  <a:gd name="T40" fmla="*/ 2147483647 w 372"/>
                  <a:gd name="T41" fmla="*/ 2147483647 h 426"/>
                  <a:gd name="T42" fmla="*/ 2147483647 w 372"/>
                  <a:gd name="T43" fmla="*/ 2147483647 h 426"/>
                  <a:gd name="T44" fmla="*/ 2147483647 w 372"/>
                  <a:gd name="T45" fmla="*/ 2147483647 h 426"/>
                  <a:gd name="T46" fmla="*/ 2147483647 w 372"/>
                  <a:gd name="T47" fmla="*/ 2147483647 h 426"/>
                  <a:gd name="T48" fmla="*/ 2147483647 w 372"/>
                  <a:gd name="T49" fmla="*/ 2147483647 h 426"/>
                  <a:gd name="T50" fmla="*/ 2147483647 w 372"/>
                  <a:gd name="T51" fmla="*/ 2147483647 h 426"/>
                  <a:gd name="T52" fmla="*/ 2147483647 w 372"/>
                  <a:gd name="T53" fmla="*/ 2147483647 h 426"/>
                  <a:gd name="T54" fmla="*/ 2147483647 w 372"/>
                  <a:gd name="T55" fmla="*/ 2147483647 h 426"/>
                  <a:gd name="T56" fmla="*/ 2147483647 w 372"/>
                  <a:gd name="T57" fmla="*/ 2147483647 h 426"/>
                  <a:gd name="T58" fmla="*/ 2147483647 w 372"/>
                  <a:gd name="T59" fmla="*/ 2147483647 h 426"/>
                  <a:gd name="T60" fmla="*/ 2147483647 w 372"/>
                  <a:gd name="T61" fmla="*/ 2147483647 h 426"/>
                  <a:gd name="T62" fmla="*/ 2147483647 w 372"/>
                  <a:gd name="T63" fmla="*/ 2147483647 h 426"/>
                  <a:gd name="T64" fmla="*/ 2147483647 w 372"/>
                  <a:gd name="T65" fmla="*/ 2147483647 h 426"/>
                  <a:gd name="T66" fmla="*/ 2147483647 w 372"/>
                  <a:gd name="T67" fmla="*/ 2147483647 h 426"/>
                  <a:gd name="T68" fmla="*/ 2147483647 w 372"/>
                  <a:gd name="T69" fmla="*/ 2147483647 h 426"/>
                  <a:gd name="T70" fmla="*/ 2147483647 w 372"/>
                  <a:gd name="T71" fmla="*/ 2147483647 h 426"/>
                  <a:gd name="T72" fmla="*/ 2147483647 w 372"/>
                  <a:gd name="T73" fmla="*/ 2147483647 h 426"/>
                  <a:gd name="T74" fmla="*/ 2147483647 w 372"/>
                  <a:gd name="T75" fmla="*/ 2147483647 h 426"/>
                  <a:gd name="T76" fmla="*/ 2147483647 w 372"/>
                  <a:gd name="T77" fmla="*/ 2147483647 h 426"/>
                  <a:gd name="T78" fmla="*/ 2147483647 w 372"/>
                  <a:gd name="T79" fmla="*/ 2147483647 h 426"/>
                  <a:gd name="T80" fmla="*/ 2147483647 w 372"/>
                  <a:gd name="T81" fmla="*/ 2147483647 h 426"/>
                  <a:gd name="T82" fmla="*/ 2147483647 w 372"/>
                  <a:gd name="T83" fmla="*/ 2147483647 h 426"/>
                  <a:gd name="T84" fmla="*/ 2147483647 w 372"/>
                  <a:gd name="T85" fmla="*/ 0 h 426"/>
                  <a:gd name="T86" fmla="*/ 2147483647 w 372"/>
                  <a:gd name="T87" fmla="*/ 2147483647 h 426"/>
                  <a:gd name="T88" fmla="*/ 0 w 372"/>
                  <a:gd name="T89" fmla="*/ 2147483647 h 426"/>
                  <a:gd name="T90" fmla="*/ 2147483647 w 372"/>
                  <a:gd name="T91" fmla="*/ 2147483647 h 426"/>
                  <a:gd name="T92" fmla="*/ 2147483647 w 372"/>
                  <a:gd name="T93" fmla="*/ 2147483647 h 426"/>
                  <a:gd name="T94" fmla="*/ 2147483647 w 372"/>
                  <a:gd name="T95" fmla="*/ 2147483647 h 426"/>
                  <a:gd name="T96" fmla="*/ 2147483647 w 372"/>
                  <a:gd name="T97" fmla="*/ 2147483647 h 426"/>
                  <a:gd name="T98" fmla="*/ 2147483647 w 372"/>
                  <a:gd name="T99" fmla="*/ 2147483647 h 426"/>
                  <a:gd name="T100" fmla="*/ 2147483647 w 372"/>
                  <a:gd name="T101" fmla="*/ 2147483647 h 426"/>
                  <a:gd name="T102" fmla="*/ 2147483647 w 372"/>
                  <a:gd name="T103" fmla="*/ 2147483647 h 426"/>
                  <a:gd name="T104" fmla="*/ 2147483647 w 372"/>
                  <a:gd name="T105" fmla="*/ 2147483647 h 426"/>
                  <a:gd name="T106" fmla="*/ 2147483647 w 372"/>
                  <a:gd name="T107" fmla="*/ 2147483647 h 426"/>
                  <a:gd name="T108" fmla="*/ 2147483647 w 372"/>
                  <a:gd name="T109" fmla="*/ 2147483647 h 426"/>
                  <a:gd name="T110" fmla="*/ 2147483647 w 372"/>
                  <a:gd name="T111" fmla="*/ 2147483647 h 426"/>
                  <a:gd name="T112" fmla="*/ 2147483647 w 372"/>
                  <a:gd name="T113" fmla="*/ 2147483647 h 426"/>
                  <a:gd name="T114" fmla="*/ 2147483647 w 372"/>
                  <a:gd name="T115" fmla="*/ 2147483647 h 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72"/>
                  <a:gd name="T175" fmla="*/ 0 h 426"/>
                  <a:gd name="T176" fmla="*/ 372 w 372"/>
                  <a:gd name="T177" fmla="*/ 426 h 42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72" h="426">
                    <a:moveTo>
                      <a:pt x="132" y="414"/>
                    </a:moveTo>
                    <a:lnTo>
                      <a:pt x="138" y="354"/>
                    </a:lnTo>
                    <a:lnTo>
                      <a:pt x="144" y="354"/>
                    </a:lnTo>
                    <a:lnTo>
                      <a:pt x="150" y="360"/>
                    </a:lnTo>
                    <a:lnTo>
                      <a:pt x="162" y="360"/>
                    </a:lnTo>
                    <a:lnTo>
                      <a:pt x="174" y="366"/>
                    </a:lnTo>
                    <a:lnTo>
                      <a:pt x="192" y="372"/>
                    </a:lnTo>
                    <a:lnTo>
                      <a:pt x="216" y="372"/>
                    </a:lnTo>
                    <a:lnTo>
                      <a:pt x="210" y="366"/>
                    </a:lnTo>
                    <a:lnTo>
                      <a:pt x="210" y="348"/>
                    </a:lnTo>
                    <a:lnTo>
                      <a:pt x="204" y="342"/>
                    </a:lnTo>
                    <a:lnTo>
                      <a:pt x="222" y="342"/>
                    </a:lnTo>
                    <a:lnTo>
                      <a:pt x="258" y="360"/>
                    </a:lnTo>
                    <a:lnTo>
                      <a:pt x="270" y="360"/>
                    </a:lnTo>
                    <a:lnTo>
                      <a:pt x="282" y="348"/>
                    </a:lnTo>
                    <a:lnTo>
                      <a:pt x="282" y="336"/>
                    </a:lnTo>
                    <a:lnTo>
                      <a:pt x="270" y="300"/>
                    </a:lnTo>
                    <a:lnTo>
                      <a:pt x="318" y="354"/>
                    </a:lnTo>
                    <a:lnTo>
                      <a:pt x="318" y="360"/>
                    </a:lnTo>
                    <a:lnTo>
                      <a:pt x="312" y="366"/>
                    </a:lnTo>
                    <a:lnTo>
                      <a:pt x="312" y="390"/>
                    </a:lnTo>
                    <a:lnTo>
                      <a:pt x="306" y="402"/>
                    </a:lnTo>
                    <a:lnTo>
                      <a:pt x="306" y="414"/>
                    </a:lnTo>
                    <a:lnTo>
                      <a:pt x="312" y="420"/>
                    </a:lnTo>
                    <a:lnTo>
                      <a:pt x="324" y="420"/>
                    </a:lnTo>
                    <a:lnTo>
                      <a:pt x="330" y="426"/>
                    </a:lnTo>
                    <a:lnTo>
                      <a:pt x="336" y="414"/>
                    </a:lnTo>
                    <a:lnTo>
                      <a:pt x="336" y="408"/>
                    </a:lnTo>
                    <a:lnTo>
                      <a:pt x="372" y="414"/>
                    </a:lnTo>
                    <a:lnTo>
                      <a:pt x="360" y="354"/>
                    </a:lnTo>
                    <a:lnTo>
                      <a:pt x="360" y="348"/>
                    </a:lnTo>
                    <a:lnTo>
                      <a:pt x="354" y="342"/>
                    </a:lnTo>
                    <a:lnTo>
                      <a:pt x="348" y="330"/>
                    </a:lnTo>
                    <a:lnTo>
                      <a:pt x="342" y="312"/>
                    </a:lnTo>
                    <a:lnTo>
                      <a:pt x="336" y="300"/>
                    </a:lnTo>
                    <a:lnTo>
                      <a:pt x="336" y="288"/>
                    </a:lnTo>
                    <a:lnTo>
                      <a:pt x="330" y="276"/>
                    </a:lnTo>
                    <a:lnTo>
                      <a:pt x="330" y="270"/>
                    </a:lnTo>
                    <a:lnTo>
                      <a:pt x="324" y="258"/>
                    </a:lnTo>
                    <a:lnTo>
                      <a:pt x="324" y="240"/>
                    </a:lnTo>
                    <a:lnTo>
                      <a:pt x="318" y="234"/>
                    </a:lnTo>
                    <a:lnTo>
                      <a:pt x="306" y="228"/>
                    </a:lnTo>
                    <a:lnTo>
                      <a:pt x="288" y="228"/>
                    </a:lnTo>
                    <a:lnTo>
                      <a:pt x="288" y="252"/>
                    </a:lnTo>
                    <a:lnTo>
                      <a:pt x="282" y="288"/>
                    </a:lnTo>
                    <a:lnTo>
                      <a:pt x="264" y="264"/>
                    </a:lnTo>
                    <a:lnTo>
                      <a:pt x="258" y="264"/>
                    </a:lnTo>
                    <a:lnTo>
                      <a:pt x="240" y="246"/>
                    </a:lnTo>
                    <a:lnTo>
                      <a:pt x="234" y="234"/>
                    </a:lnTo>
                    <a:lnTo>
                      <a:pt x="234" y="216"/>
                    </a:lnTo>
                    <a:lnTo>
                      <a:pt x="240" y="204"/>
                    </a:lnTo>
                    <a:lnTo>
                      <a:pt x="252" y="192"/>
                    </a:lnTo>
                    <a:lnTo>
                      <a:pt x="258" y="192"/>
                    </a:lnTo>
                    <a:lnTo>
                      <a:pt x="270" y="186"/>
                    </a:lnTo>
                    <a:lnTo>
                      <a:pt x="276" y="186"/>
                    </a:lnTo>
                    <a:lnTo>
                      <a:pt x="282" y="180"/>
                    </a:lnTo>
                    <a:lnTo>
                      <a:pt x="288" y="168"/>
                    </a:lnTo>
                    <a:lnTo>
                      <a:pt x="294" y="150"/>
                    </a:lnTo>
                    <a:lnTo>
                      <a:pt x="294" y="138"/>
                    </a:lnTo>
                    <a:lnTo>
                      <a:pt x="300" y="138"/>
                    </a:lnTo>
                    <a:lnTo>
                      <a:pt x="306" y="132"/>
                    </a:lnTo>
                    <a:lnTo>
                      <a:pt x="306" y="126"/>
                    </a:lnTo>
                    <a:lnTo>
                      <a:pt x="282" y="102"/>
                    </a:lnTo>
                    <a:lnTo>
                      <a:pt x="276" y="102"/>
                    </a:lnTo>
                    <a:lnTo>
                      <a:pt x="228" y="114"/>
                    </a:lnTo>
                    <a:lnTo>
                      <a:pt x="210" y="114"/>
                    </a:lnTo>
                    <a:lnTo>
                      <a:pt x="198" y="108"/>
                    </a:lnTo>
                    <a:lnTo>
                      <a:pt x="138" y="108"/>
                    </a:lnTo>
                    <a:lnTo>
                      <a:pt x="132" y="102"/>
                    </a:lnTo>
                    <a:lnTo>
                      <a:pt x="126" y="102"/>
                    </a:lnTo>
                    <a:lnTo>
                      <a:pt x="126" y="66"/>
                    </a:lnTo>
                    <a:lnTo>
                      <a:pt x="120" y="66"/>
                    </a:lnTo>
                    <a:lnTo>
                      <a:pt x="120" y="36"/>
                    </a:lnTo>
                    <a:lnTo>
                      <a:pt x="114" y="30"/>
                    </a:lnTo>
                    <a:lnTo>
                      <a:pt x="108" y="30"/>
                    </a:lnTo>
                    <a:lnTo>
                      <a:pt x="102" y="24"/>
                    </a:lnTo>
                    <a:lnTo>
                      <a:pt x="96" y="42"/>
                    </a:lnTo>
                    <a:lnTo>
                      <a:pt x="90" y="36"/>
                    </a:lnTo>
                    <a:lnTo>
                      <a:pt x="78" y="36"/>
                    </a:lnTo>
                    <a:lnTo>
                      <a:pt x="72" y="30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0"/>
                    </a:lnTo>
                    <a:lnTo>
                      <a:pt x="42" y="6"/>
                    </a:lnTo>
                    <a:lnTo>
                      <a:pt x="48" y="12"/>
                    </a:lnTo>
                    <a:lnTo>
                      <a:pt x="24" y="0"/>
                    </a:lnTo>
                    <a:lnTo>
                      <a:pt x="6" y="0"/>
                    </a:lnTo>
                    <a:lnTo>
                      <a:pt x="18" y="18"/>
                    </a:lnTo>
                    <a:lnTo>
                      <a:pt x="6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8" y="66"/>
                    </a:lnTo>
                    <a:lnTo>
                      <a:pt x="30" y="78"/>
                    </a:lnTo>
                    <a:lnTo>
                      <a:pt x="36" y="78"/>
                    </a:lnTo>
                    <a:lnTo>
                      <a:pt x="66" y="96"/>
                    </a:lnTo>
                    <a:lnTo>
                      <a:pt x="66" y="108"/>
                    </a:lnTo>
                    <a:lnTo>
                      <a:pt x="30" y="108"/>
                    </a:lnTo>
                    <a:lnTo>
                      <a:pt x="30" y="138"/>
                    </a:lnTo>
                    <a:lnTo>
                      <a:pt x="24" y="138"/>
                    </a:lnTo>
                    <a:lnTo>
                      <a:pt x="12" y="150"/>
                    </a:lnTo>
                    <a:lnTo>
                      <a:pt x="24" y="162"/>
                    </a:lnTo>
                    <a:lnTo>
                      <a:pt x="36" y="168"/>
                    </a:lnTo>
                    <a:lnTo>
                      <a:pt x="54" y="168"/>
                    </a:lnTo>
                    <a:lnTo>
                      <a:pt x="66" y="174"/>
                    </a:lnTo>
                    <a:lnTo>
                      <a:pt x="72" y="180"/>
                    </a:lnTo>
                    <a:lnTo>
                      <a:pt x="72" y="186"/>
                    </a:lnTo>
                    <a:lnTo>
                      <a:pt x="66" y="204"/>
                    </a:lnTo>
                    <a:lnTo>
                      <a:pt x="60" y="210"/>
                    </a:lnTo>
                    <a:lnTo>
                      <a:pt x="54" y="222"/>
                    </a:lnTo>
                    <a:lnTo>
                      <a:pt x="66" y="252"/>
                    </a:lnTo>
                    <a:lnTo>
                      <a:pt x="96" y="276"/>
                    </a:lnTo>
                    <a:lnTo>
                      <a:pt x="96" y="306"/>
                    </a:lnTo>
                    <a:lnTo>
                      <a:pt x="114" y="348"/>
                    </a:lnTo>
                    <a:lnTo>
                      <a:pt x="108" y="378"/>
                    </a:lnTo>
                    <a:lnTo>
                      <a:pt x="132" y="41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8" name="Bela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1D02B88-B9A6-4299-940A-AA8FE1B5A0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20361" y="2505313"/>
                <a:ext cx="251593" cy="166512"/>
              </a:xfrm>
              <a:custGeom>
                <a:avLst/>
                <a:gdLst>
                  <a:gd name="T0" fmla="*/ 2147483647 w 570"/>
                  <a:gd name="T1" fmla="*/ 2147483647 h 372"/>
                  <a:gd name="T2" fmla="*/ 2147483647 w 570"/>
                  <a:gd name="T3" fmla="*/ 2147483647 h 372"/>
                  <a:gd name="T4" fmla="*/ 2147483647 w 570"/>
                  <a:gd name="T5" fmla="*/ 2147483647 h 372"/>
                  <a:gd name="T6" fmla="*/ 2147483647 w 570"/>
                  <a:gd name="T7" fmla="*/ 2147483647 h 372"/>
                  <a:gd name="T8" fmla="*/ 2147483647 w 570"/>
                  <a:gd name="T9" fmla="*/ 2147483647 h 372"/>
                  <a:gd name="T10" fmla="*/ 2147483647 w 570"/>
                  <a:gd name="T11" fmla="*/ 2147483647 h 372"/>
                  <a:gd name="T12" fmla="*/ 2147483647 w 570"/>
                  <a:gd name="T13" fmla="*/ 2147483647 h 372"/>
                  <a:gd name="T14" fmla="*/ 2147483647 w 570"/>
                  <a:gd name="T15" fmla="*/ 2147483647 h 372"/>
                  <a:gd name="T16" fmla="*/ 2147483647 w 570"/>
                  <a:gd name="T17" fmla="*/ 2147483647 h 372"/>
                  <a:gd name="T18" fmla="*/ 2147483647 w 570"/>
                  <a:gd name="T19" fmla="*/ 2147483647 h 372"/>
                  <a:gd name="T20" fmla="*/ 2147483647 w 570"/>
                  <a:gd name="T21" fmla="*/ 2147483647 h 372"/>
                  <a:gd name="T22" fmla="*/ 2147483647 w 570"/>
                  <a:gd name="T23" fmla="*/ 2147483647 h 372"/>
                  <a:gd name="T24" fmla="*/ 2147483647 w 570"/>
                  <a:gd name="T25" fmla="*/ 2147483647 h 372"/>
                  <a:gd name="T26" fmla="*/ 2147483647 w 570"/>
                  <a:gd name="T27" fmla="*/ 2147483647 h 372"/>
                  <a:gd name="T28" fmla="*/ 2147483647 w 570"/>
                  <a:gd name="T29" fmla="*/ 2147483647 h 372"/>
                  <a:gd name="T30" fmla="*/ 2147483647 w 570"/>
                  <a:gd name="T31" fmla="*/ 2147483647 h 372"/>
                  <a:gd name="T32" fmla="*/ 2147483647 w 570"/>
                  <a:gd name="T33" fmla="*/ 2147483647 h 372"/>
                  <a:gd name="T34" fmla="*/ 2147483647 w 570"/>
                  <a:gd name="T35" fmla="*/ 2147483647 h 372"/>
                  <a:gd name="T36" fmla="*/ 2147483647 w 570"/>
                  <a:gd name="T37" fmla="*/ 2147483647 h 372"/>
                  <a:gd name="T38" fmla="*/ 2147483647 w 570"/>
                  <a:gd name="T39" fmla="*/ 2147483647 h 372"/>
                  <a:gd name="T40" fmla="*/ 2147483647 w 570"/>
                  <a:gd name="T41" fmla="*/ 2147483647 h 372"/>
                  <a:gd name="T42" fmla="*/ 2147483647 w 570"/>
                  <a:gd name="T43" fmla="*/ 2147483647 h 372"/>
                  <a:gd name="T44" fmla="*/ 2147483647 w 570"/>
                  <a:gd name="T45" fmla="*/ 2147483647 h 372"/>
                  <a:gd name="T46" fmla="*/ 2147483647 w 570"/>
                  <a:gd name="T47" fmla="*/ 2147483647 h 372"/>
                  <a:gd name="T48" fmla="*/ 2147483647 w 570"/>
                  <a:gd name="T49" fmla="*/ 2147483647 h 372"/>
                  <a:gd name="T50" fmla="*/ 2147483647 w 570"/>
                  <a:gd name="T51" fmla="*/ 2147483647 h 372"/>
                  <a:gd name="T52" fmla="*/ 2147483647 w 570"/>
                  <a:gd name="T53" fmla="*/ 2147483647 h 372"/>
                  <a:gd name="T54" fmla="*/ 2147483647 w 570"/>
                  <a:gd name="T55" fmla="*/ 2147483647 h 372"/>
                  <a:gd name="T56" fmla="*/ 2147483647 w 570"/>
                  <a:gd name="T57" fmla="*/ 0 h 372"/>
                  <a:gd name="T58" fmla="*/ 2147483647 w 570"/>
                  <a:gd name="T59" fmla="*/ 2147483647 h 372"/>
                  <a:gd name="T60" fmla="*/ 2147483647 w 570"/>
                  <a:gd name="T61" fmla="*/ 2147483647 h 372"/>
                  <a:gd name="T62" fmla="*/ 2147483647 w 570"/>
                  <a:gd name="T63" fmla="*/ 2147483647 h 372"/>
                  <a:gd name="T64" fmla="*/ 2147483647 w 570"/>
                  <a:gd name="T65" fmla="*/ 2147483647 h 372"/>
                  <a:gd name="T66" fmla="*/ 2147483647 w 570"/>
                  <a:gd name="T67" fmla="*/ 2147483647 h 372"/>
                  <a:gd name="T68" fmla="*/ 2147483647 w 570"/>
                  <a:gd name="T69" fmla="*/ 2147483647 h 372"/>
                  <a:gd name="T70" fmla="*/ 2147483647 w 570"/>
                  <a:gd name="T71" fmla="*/ 2147483647 h 372"/>
                  <a:gd name="T72" fmla="*/ 2147483647 w 570"/>
                  <a:gd name="T73" fmla="*/ 2147483647 h 372"/>
                  <a:gd name="T74" fmla="*/ 2147483647 w 570"/>
                  <a:gd name="T75" fmla="*/ 2147483647 h 372"/>
                  <a:gd name="T76" fmla="*/ 2147483647 w 570"/>
                  <a:gd name="T77" fmla="*/ 2147483647 h 372"/>
                  <a:gd name="T78" fmla="*/ 2147483647 w 570"/>
                  <a:gd name="T79" fmla="*/ 2147483647 h 372"/>
                  <a:gd name="T80" fmla="*/ 2147483647 w 570"/>
                  <a:gd name="T81" fmla="*/ 2147483647 h 372"/>
                  <a:gd name="T82" fmla="*/ 2147483647 w 570"/>
                  <a:gd name="T83" fmla="*/ 2147483647 h 372"/>
                  <a:gd name="T84" fmla="*/ 2147483647 w 570"/>
                  <a:gd name="T85" fmla="*/ 2147483647 h 372"/>
                  <a:gd name="T86" fmla="*/ 2147483647 w 570"/>
                  <a:gd name="T87" fmla="*/ 2147483647 h 372"/>
                  <a:gd name="T88" fmla="*/ 2147483647 w 570"/>
                  <a:gd name="T89" fmla="*/ 2147483647 h 372"/>
                  <a:gd name="T90" fmla="*/ 2147483647 w 570"/>
                  <a:gd name="T91" fmla="*/ 2147483647 h 372"/>
                  <a:gd name="T92" fmla="*/ 2147483647 w 570"/>
                  <a:gd name="T93" fmla="*/ 2147483647 h 372"/>
                  <a:gd name="T94" fmla="*/ 2147483647 w 570"/>
                  <a:gd name="T95" fmla="*/ 2147483647 h 372"/>
                  <a:gd name="T96" fmla="*/ 2147483647 w 570"/>
                  <a:gd name="T97" fmla="*/ 2147483647 h 37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70"/>
                  <a:gd name="T148" fmla="*/ 0 h 372"/>
                  <a:gd name="T149" fmla="*/ 570 w 570"/>
                  <a:gd name="T150" fmla="*/ 372 h 37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70" h="372">
                    <a:moveTo>
                      <a:pt x="24" y="312"/>
                    </a:moveTo>
                    <a:lnTo>
                      <a:pt x="24" y="342"/>
                    </a:lnTo>
                    <a:lnTo>
                      <a:pt x="30" y="354"/>
                    </a:lnTo>
                    <a:lnTo>
                      <a:pt x="36" y="360"/>
                    </a:lnTo>
                    <a:lnTo>
                      <a:pt x="48" y="360"/>
                    </a:lnTo>
                    <a:lnTo>
                      <a:pt x="60" y="354"/>
                    </a:lnTo>
                    <a:lnTo>
                      <a:pt x="72" y="342"/>
                    </a:lnTo>
                    <a:lnTo>
                      <a:pt x="72" y="336"/>
                    </a:lnTo>
                    <a:lnTo>
                      <a:pt x="108" y="336"/>
                    </a:lnTo>
                    <a:lnTo>
                      <a:pt x="120" y="330"/>
                    </a:lnTo>
                    <a:lnTo>
                      <a:pt x="126" y="324"/>
                    </a:lnTo>
                    <a:lnTo>
                      <a:pt x="174" y="324"/>
                    </a:lnTo>
                    <a:lnTo>
                      <a:pt x="174" y="330"/>
                    </a:lnTo>
                    <a:lnTo>
                      <a:pt x="180" y="336"/>
                    </a:lnTo>
                    <a:lnTo>
                      <a:pt x="216" y="336"/>
                    </a:lnTo>
                    <a:lnTo>
                      <a:pt x="240" y="342"/>
                    </a:lnTo>
                    <a:lnTo>
                      <a:pt x="258" y="354"/>
                    </a:lnTo>
                    <a:lnTo>
                      <a:pt x="264" y="348"/>
                    </a:lnTo>
                    <a:lnTo>
                      <a:pt x="282" y="360"/>
                    </a:lnTo>
                    <a:lnTo>
                      <a:pt x="294" y="348"/>
                    </a:lnTo>
                    <a:lnTo>
                      <a:pt x="300" y="360"/>
                    </a:lnTo>
                    <a:lnTo>
                      <a:pt x="318" y="354"/>
                    </a:lnTo>
                    <a:lnTo>
                      <a:pt x="324" y="360"/>
                    </a:lnTo>
                    <a:lnTo>
                      <a:pt x="336" y="354"/>
                    </a:lnTo>
                    <a:lnTo>
                      <a:pt x="348" y="366"/>
                    </a:lnTo>
                    <a:lnTo>
                      <a:pt x="348" y="360"/>
                    </a:lnTo>
                    <a:lnTo>
                      <a:pt x="354" y="354"/>
                    </a:lnTo>
                    <a:lnTo>
                      <a:pt x="372" y="354"/>
                    </a:lnTo>
                    <a:lnTo>
                      <a:pt x="378" y="360"/>
                    </a:lnTo>
                    <a:lnTo>
                      <a:pt x="378" y="372"/>
                    </a:lnTo>
                    <a:lnTo>
                      <a:pt x="384" y="372"/>
                    </a:lnTo>
                    <a:lnTo>
                      <a:pt x="396" y="366"/>
                    </a:lnTo>
                    <a:lnTo>
                      <a:pt x="420" y="366"/>
                    </a:lnTo>
                    <a:lnTo>
                      <a:pt x="426" y="372"/>
                    </a:lnTo>
                    <a:lnTo>
                      <a:pt x="444" y="372"/>
                    </a:lnTo>
                    <a:lnTo>
                      <a:pt x="450" y="366"/>
                    </a:lnTo>
                    <a:lnTo>
                      <a:pt x="450" y="354"/>
                    </a:lnTo>
                    <a:lnTo>
                      <a:pt x="444" y="348"/>
                    </a:lnTo>
                    <a:lnTo>
                      <a:pt x="450" y="336"/>
                    </a:lnTo>
                    <a:lnTo>
                      <a:pt x="456" y="330"/>
                    </a:lnTo>
                    <a:lnTo>
                      <a:pt x="468" y="324"/>
                    </a:lnTo>
                    <a:lnTo>
                      <a:pt x="474" y="312"/>
                    </a:lnTo>
                    <a:lnTo>
                      <a:pt x="498" y="312"/>
                    </a:lnTo>
                    <a:lnTo>
                      <a:pt x="516" y="318"/>
                    </a:lnTo>
                    <a:lnTo>
                      <a:pt x="516" y="300"/>
                    </a:lnTo>
                    <a:lnTo>
                      <a:pt x="510" y="288"/>
                    </a:lnTo>
                    <a:lnTo>
                      <a:pt x="504" y="282"/>
                    </a:lnTo>
                    <a:lnTo>
                      <a:pt x="504" y="264"/>
                    </a:lnTo>
                    <a:lnTo>
                      <a:pt x="480" y="240"/>
                    </a:lnTo>
                    <a:lnTo>
                      <a:pt x="480" y="234"/>
                    </a:lnTo>
                    <a:lnTo>
                      <a:pt x="486" y="228"/>
                    </a:lnTo>
                    <a:lnTo>
                      <a:pt x="510" y="228"/>
                    </a:lnTo>
                    <a:lnTo>
                      <a:pt x="510" y="234"/>
                    </a:lnTo>
                    <a:lnTo>
                      <a:pt x="516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52" y="228"/>
                    </a:lnTo>
                    <a:lnTo>
                      <a:pt x="558" y="216"/>
                    </a:lnTo>
                    <a:lnTo>
                      <a:pt x="570" y="210"/>
                    </a:lnTo>
                    <a:lnTo>
                      <a:pt x="546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46" y="186"/>
                    </a:lnTo>
                    <a:lnTo>
                      <a:pt x="540" y="180"/>
                    </a:lnTo>
                    <a:lnTo>
                      <a:pt x="504" y="180"/>
                    </a:lnTo>
                    <a:lnTo>
                      <a:pt x="504" y="156"/>
                    </a:lnTo>
                    <a:lnTo>
                      <a:pt x="474" y="144"/>
                    </a:lnTo>
                    <a:lnTo>
                      <a:pt x="474" y="132"/>
                    </a:lnTo>
                    <a:lnTo>
                      <a:pt x="456" y="114"/>
                    </a:lnTo>
                    <a:lnTo>
                      <a:pt x="444" y="108"/>
                    </a:lnTo>
                    <a:lnTo>
                      <a:pt x="438" y="102"/>
                    </a:lnTo>
                    <a:lnTo>
                      <a:pt x="444" y="84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8"/>
                    </a:lnTo>
                    <a:lnTo>
                      <a:pt x="432" y="42"/>
                    </a:lnTo>
                    <a:lnTo>
                      <a:pt x="396" y="24"/>
                    </a:lnTo>
                    <a:lnTo>
                      <a:pt x="390" y="18"/>
                    </a:lnTo>
                    <a:lnTo>
                      <a:pt x="384" y="18"/>
                    </a:lnTo>
                    <a:lnTo>
                      <a:pt x="354" y="36"/>
                    </a:lnTo>
                    <a:lnTo>
                      <a:pt x="348" y="18"/>
                    </a:lnTo>
                    <a:lnTo>
                      <a:pt x="312" y="12"/>
                    </a:lnTo>
                    <a:lnTo>
                      <a:pt x="300" y="18"/>
                    </a:lnTo>
                    <a:lnTo>
                      <a:pt x="300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70" y="0"/>
                    </a:lnTo>
                    <a:lnTo>
                      <a:pt x="258" y="0"/>
                    </a:lnTo>
                    <a:lnTo>
                      <a:pt x="252" y="6"/>
                    </a:lnTo>
                    <a:lnTo>
                      <a:pt x="246" y="18"/>
                    </a:lnTo>
                    <a:lnTo>
                      <a:pt x="240" y="24"/>
                    </a:lnTo>
                    <a:lnTo>
                      <a:pt x="234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30"/>
                    </a:lnTo>
                    <a:lnTo>
                      <a:pt x="180" y="36"/>
                    </a:lnTo>
                    <a:lnTo>
                      <a:pt x="174" y="42"/>
                    </a:lnTo>
                    <a:lnTo>
                      <a:pt x="174" y="54"/>
                    </a:lnTo>
                    <a:lnTo>
                      <a:pt x="192" y="72"/>
                    </a:lnTo>
                    <a:lnTo>
                      <a:pt x="186" y="78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56" y="72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8" y="102"/>
                    </a:lnTo>
                    <a:lnTo>
                      <a:pt x="144" y="114"/>
                    </a:lnTo>
                    <a:lnTo>
                      <a:pt x="144" y="120"/>
                    </a:lnTo>
                    <a:lnTo>
                      <a:pt x="132" y="120"/>
                    </a:lnTo>
                    <a:lnTo>
                      <a:pt x="132" y="126"/>
                    </a:lnTo>
                    <a:lnTo>
                      <a:pt x="138" y="132"/>
                    </a:lnTo>
                    <a:lnTo>
                      <a:pt x="138" y="144"/>
                    </a:lnTo>
                    <a:lnTo>
                      <a:pt x="144" y="150"/>
                    </a:lnTo>
                    <a:lnTo>
                      <a:pt x="144" y="156"/>
                    </a:lnTo>
                    <a:lnTo>
                      <a:pt x="132" y="156"/>
                    </a:lnTo>
                    <a:lnTo>
                      <a:pt x="138" y="150"/>
                    </a:lnTo>
                    <a:lnTo>
                      <a:pt x="138" y="144"/>
                    </a:lnTo>
                    <a:lnTo>
                      <a:pt x="120" y="144"/>
                    </a:lnTo>
                    <a:lnTo>
                      <a:pt x="108" y="150"/>
                    </a:lnTo>
                    <a:lnTo>
                      <a:pt x="102" y="156"/>
                    </a:lnTo>
                    <a:lnTo>
                      <a:pt x="96" y="168"/>
                    </a:lnTo>
                    <a:lnTo>
                      <a:pt x="84" y="156"/>
                    </a:lnTo>
                    <a:lnTo>
                      <a:pt x="84" y="174"/>
                    </a:lnTo>
                    <a:lnTo>
                      <a:pt x="54" y="174"/>
                    </a:lnTo>
                    <a:lnTo>
                      <a:pt x="54" y="168"/>
                    </a:lnTo>
                    <a:lnTo>
                      <a:pt x="48" y="162"/>
                    </a:lnTo>
                    <a:lnTo>
                      <a:pt x="42" y="162"/>
                    </a:lnTo>
                    <a:lnTo>
                      <a:pt x="30" y="168"/>
                    </a:lnTo>
                    <a:lnTo>
                      <a:pt x="18" y="168"/>
                    </a:lnTo>
                    <a:lnTo>
                      <a:pt x="12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8" y="192"/>
                    </a:lnTo>
                    <a:lnTo>
                      <a:pt x="18" y="204"/>
                    </a:lnTo>
                    <a:lnTo>
                      <a:pt x="24" y="210"/>
                    </a:lnTo>
                    <a:lnTo>
                      <a:pt x="36" y="234"/>
                    </a:lnTo>
                    <a:lnTo>
                      <a:pt x="42" y="240"/>
                    </a:lnTo>
                    <a:lnTo>
                      <a:pt x="42" y="246"/>
                    </a:lnTo>
                    <a:lnTo>
                      <a:pt x="36" y="252"/>
                    </a:lnTo>
                    <a:lnTo>
                      <a:pt x="36" y="264"/>
                    </a:lnTo>
                    <a:lnTo>
                      <a:pt x="12" y="270"/>
                    </a:lnTo>
                    <a:lnTo>
                      <a:pt x="12" y="288"/>
                    </a:lnTo>
                    <a:lnTo>
                      <a:pt x="0" y="288"/>
                    </a:lnTo>
                    <a:lnTo>
                      <a:pt x="0" y="294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24" y="312"/>
                    </a:lnTo>
                    <a:close/>
                  </a:path>
                </a:pathLst>
              </a:custGeom>
              <a:solidFill>
                <a:srgbClr val="008143"/>
              </a:solidFill>
              <a:ln w="0">
                <a:solidFill>
                  <a:srgbClr val="FFFFFF">
                    <a:lumMod val="75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69" name="Azerbaij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8A6458D-0E7B-47D3-9F8D-724244035C6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875552" y="3004854"/>
                <a:ext cx="160740" cy="131084"/>
              </a:xfrm>
              <a:custGeom>
                <a:avLst/>
                <a:gdLst>
                  <a:gd name="T0" fmla="*/ 2147483647 w 360"/>
                  <a:gd name="T1" fmla="*/ 2147483647 h 288"/>
                  <a:gd name="T2" fmla="*/ 2147483647 w 360"/>
                  <a:gd name="T3" fmla="*/ 2147483647 h 288"/>
                  <a:gd name="T4" fmla="*/ 2147483647 w 360"/>
                  <a:gd name="T5" fmla="*/ 2147483647 h 288"/>
                  <a:gd name="T6" fmla="*/ 2147483647 w 360"/>
                  <a:gd name="T7" fmla="*/ 2147483647 h 288"/>
                  <a:gd name="T8" fmla="*/ 2147483647 w 360"/>
                  <a:gd name="T9" fmla="*/ 2147483647 h 288"/>
                  <a:gd name="T10" fmla="*/ 2147483647 w 360"/>
                  <a:gd name="T11" fmla="*/ 2147483647 h 288"/>
                  <a:gd name="T12" fmla="*/ 2147483647 w 360"/>
                  <a:gd name="T13" fmla="*/ 2147483647 h 288"/>
                  <a:gd name="T14" fmla="*/ 2147483647 w 360"/>
                  <a:gd name="T15" fmla="*/ 2147483647 h 288"/>
                  <a:gd name="T16" fmla="*/ 2147483647 w 360"/>
                  <a:gd name="T17" fmla="*/ 2147483647 h 288"/>
                  <a:gd name="T18" fmla="*/ 2147483647 w 360"/>
                  <a:gd name="T19" fmla="*/ 2147483647 h 288"/>
                  <a:gd name="T20" fmla="*/ 2147483647 w 360"/>
                  <a:gd name="T21" fmla="*/ 2147483647 h 288"/>
                  <a:gd name="T22" fmla="*/ 2147483647 w 360"/>
                  <a:gd name="T23" fmla="*/ 2147483647 h 288"/>
                  <a:gd name="T24" fmla="*/ 2147483647 w 360"/>
                  <a:gd name="T25" fmla="*/ 2147483647 h 288"/>
                  <a:gd name="T26" fmla="*/ 2147483647 w 360"/>
                  <a:gd name="T27" fmla="*/ 0 h 288"/>
                  <a:gd name="T28" fmla="*/ 2147483647 w 360"/>
                  <a:gd name="T29" fmla="*/ 2147483647 h 288"/>
                  <a:gd name="T30" fmla="*/ 2147483647 w 360"/>
                  <a:gd name="T31" fmla="*/ 2147483647 h 288"/>
                  <a:gd name="T32" fmla="*/ 2147483647 w 360"/>
                  <a:gd name="T33" fmla="*/ 2147483647 h 288"/>
                  <a:gd name="T34" fmla="*/ 2147483647 w 360"/>
                  <a:gd name="T35" fmla="*/ 2147483647 h 288"/>
                  <a:gd name="T36" fmla="*/ 2147483647 w 360"/>
                  <a:gd name="T37" fmla="*/ 2147483647 h 288"/>
                  <a:gd name="T38" fmla="*/ 2147483647 w 360"/>
                  <a:gd name="T39" fmla="*/ 0 h 288"/>
                  <a:gd name="T40" fmla="*/ 2147483647 w 360"/>
                  <a:gd name="T41" fmla="*/ 2147483647 h 288"/>
                  <a:gd name="T42" fmla="*/ 2147483647 w 360"/>
                  <a:gd name="T43" fmla="*/ 2147483647 h 288"/>
                  <a:gd name="T44" fmla="*/ 2147483647 w 360"/>
                  <a:gd name="T45" fmla="*/ 2147483647 h 288"/>
                  <a:gd name="T46" fmla="*/ 2147483647 w 360"/>
                  <a:gd name="T47" fmla="*/ 2147483647 h 288"/>
                  <a:gd name="T48" fmla="*/ 2147483647 w 360"/>
                  <a:gd name="T49" fmla="*/ 2147483647 h 288"/>
                  <a:gd name="T50" fmla="*/ 2147483647 w 360"/>
                  <a:gd name="T51" fmla="*/ 2147483647 h 288"/>
                  <a:gd name="T52" fmla="*/ 2147483647 w 360"/>
                  <a:gd name="T53" fmla="*/ 2147483647 h 288"/>
                  <a:gd name="T54" fmla="*/ 0 w 360"/>
                  <a:gd name="T55" fmla="*/ 2147483647 h 288"/>
                  <a:gd name="T56" fmla="*/ 2147483647 w 360"/>
                  <a:gd name="T57" fmla="*/ 2147483647 h 288"/>
                  <a:gd name="T58" fmla="*/ 2147483647 w 360"/>
                  <a:gd name="T59" fmla="*/ 2147483647 h 288"/>
                  <a:gd name="T60" fmla="*/ 2147483647 w 360"/>
                  <a:gd name="T61" fmla="*/ 2147483647 h 288"/>
                  <a:gd name="T62" fmla="*/ 2147483647 w 360"/>
                  <a:gd name="T63" fmla="*/ 2147483647 h 288"/>
                  <a:gd name="T64" fmla="*/ 2147483647 w 360"/>
                  <a:gd name="T65" fmla="*/ 2147483647 h 288"/>
                  <a:gd name="T66" fmla="*/ 2147483647 w 360"/>
                  <a:gd name="T67" fmla="*/ 2147483647 h 288"/>
                  <a:gd name="T68" fmla="*/ 2147483647 w 360"/>
                  <a:gd name="T69" fmla="*/ 2147483647 h 288"/>
                  <a:gd name="T70" fmla="*/ 2147483647 w 360"/>
                  <a:gd name="T71" fmla="*/ 2147483647 h 288"/>
                  <a:gd name="T72" fmla="*/ 2147483647 w 360"/>
                  <a:gd name="T73" fmla="*/ 2147483647 h 288"/>
                  <a:gd name="T74" fmla="*/ 2147483647 w 360"/>
                  <a:gd name="T75" fmla="*/ 2147483647 h 288"/>
                  <a:gd name="T76" fmla="*/ 2147483647 w 360"/>
                  <a:gd name="T77" fmla="*/ 2147483647 h 288"/>
                  <a:gd name="T78" fmla="*/ 2147483647 w 360"/>
                  <a:gd name="T79" fmla="*/ 2147483647 h 288"/>
                  <a:gd name="T80" fmla="*/ 2147483647 w 360"/>
                  <a:gd name="T81" fmla="*/ 2147483647 h 288"/>
                  <a:gd name="T82" fmla="*/ 2147483647 w 360"/>
                  <a:gd name="T83" fmla="*/ 2147483647 h 288"/>
                  <a:gd name="T84" fmla="*/ 2147483647 w 360"/>
                  <a:gd name="T85" fmla="*/ 2147483647 h 288"/>
                  <a:gd name="T86" fmla="*/ 2147483647 w 360"/>
                  <a:gd name="T87" fmla="*/ 2147483647 h 288"/>
                  <a:gd name="T88" fmla="*/ 2147483647 w 360"/>
                  <a:gd name="T89" fmla="*/ 2147483647 h 288"/>
                  <a:gd name="T90" fmla="*/ 2147483647 w 360"/>
                  <a:gd name="T91" fmla="*/ 2147483647 h 288"/>
                  <a:gd name="T92" fmla="*/ 2147483647 w 360"/>
                  <a:gd name="T93" fmla="*/ 2147483647 h 288"/>
                  <a:gd name="T94" fmla="*/ 2147483647 w 360"/>
                  <a:gd name="T95" fmla="*/ 2147483647 h 288"/>
                  <a:gd name="T96" fmla="*/ 2147483647 w 360"/>
                  <a:gd name="T97" fmla="*/ 2147483647 h 288"/>
                  <a:gd name="T98" fmla="*/ 2147483647 w 360"/>
                  <a:gd name="T99" fmla="*/ 2147483647 h 288"/>
                  <a:gd name="T100" fmla="*/ 2147483647 w 360"/>
                  <a:gd name="T101" fmla="*/ 2147483647 h 288"/>
                  <a:gd name="T102" fmla="*/ 2147483647 w 360"/>
                  <a:gd name="T103" fmla="*/ 2147483647 h 288"/>
                  <a:gd name="T104" fmla="*/ 2147483647 w 360"/>
                  <a:gd name="T105" fmla="*/ 2147483647 h 288"/>
                  <a:gd name="T106" fmla="*/ 2147483647 w 360"/>
                  <a:gd name="T107" fmla="*/ 2147483647 h 288"/>
                  <a:gd name="T108" fmla="*/ 2147483647 w 360"/>
                  <a:gd name="T109" fmla="*/ 2147483647 h 288"/>
                  <a:gd name="T110" fmla="*/ 2147483647 w 360"/>
                  <a:gd name="T111" fmla="*/ 2147483647 h 288"/>
                  <a:gd name="T112" fmla="*/ 2147483647 w 360"/>
                  <a:gd name="T113" fmla="*/ 2147483647 h 288"/>
                  <a:gd name="T114" fmla="*/ 2147483647 w 360"/>
                  <a:gd name="T115" fmla="*/ 2147483647 h 288"/>
                  <a:gd name="T116" fmla="*/ 2147483647 w 360"/>
                  <a:gd name="T117" fmla="*/ 2147483647 h 288"/>
                  <a:gd name="T118" fmla="*/ 2147483647 w 360"/>
                  <a:gd name="T119" fmla="*/ 2147483647 h 288"/>
                  <a:gd name="T120" fmla="*/ 2147483647 w 360"/>
                  <a:gd name="T121" fmla="*/ 2147483647 h 2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60"/>
                  <a:gd name="T184" fmla="*/ 0 h 288"/>
                  <a:gd name="T185" fmla="*/ 360 w 360"/>
                  <a:gd name="T186" fmla="*/ 288 h 2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60" h="288">
                    <a:moveTo>
                      <a:pt x="66" y="186"/>
                    </a:moveTo>
                    <a:lnTo>
                      <a:pt x="36" y="186"/>
                    </a:lnTo>
                    <a:lnTo>
                      <a:pt x="24" y="174"/>
                    </a:lnTo>
                    <a:lnTo>
                      <a:pt x="6" y="174"/>
                    </a:lnTo>
                    <a:lnTo>
                      <a:pt x="12" y="186"/>
                    </a:lnTo>
                    <a:lnTo>
                      <a:pt x="12" y="192"/>
                    </a:lnTo>
                    <a:lnTo>
                      <a:pt x="18" y="204"/>
                    </a:lnTo>
                    <a:lnTo>
                      <a:pt x="36" y="222"/>
                    </a:lnTo>
                    <a:lnTo>
                      <a:pt x="48" y="228"/>
                    </a:lnTo>
                    <a:lnTo>
                      <a:pt x="84" y="240"/>
                    </a:lnTo>
                    <a:lnTo>
                      <a:pt x="90" y="240"/>
                    </a:lnTo>
                    <a:lnTo>
                      <a:pt x="84" y="234"/>
                    </a:lnTo>
                    <a:lnTo>
                      <a:pt x="84" y="222"/>
                    </a:lnTo>
                    <a:lnTo>
                      <a:pt x="78" y="216"/>
                    </a:lnTo>
                    <a:lnTo>
                      <a:pt x="78" y="204"/>
                    </a:lnTo>
                    <a:lnTo>
                      <a:pt x="72" y="198"/>
                    </a:lnTo>
                    <a:lnTo>
                      <a:pt x="72" y="186"/>
                    </a:lnTo>
                    <a:lnTo>
                      <a:pt x="66" y="186"/>
                    </a:lnTo>
                    <a:close/>
                    <a:moveTo>
                      <a:pt x="354" y="108"/>
                    </a:moveTo>
                    <a:lnTo>
                      <a:pt x="348" y="102"/>
                    </a:lnTo>
                    <a:lnTo>
                      <a:pt x="330" y="102"/>
                    </a:lnTo>
                    <a:lnTo>
                      <a:pt x="318" y="108"/>
                    </a:lnTo>
                    <a:lnTo>
                      <a:pt x="306" y="108"/>
                    </a:lnTo>
                    <a:lnTo>
                      <a:pt x="288" y="90"/>
                    </a:lnTo>
                    <a:lnTo>
                      <a:pt x="288" y="84"/>
                    </a:lnTo>
                    <a:lnTo>
                      <a:pt x="264" y="54"/>
                    </a:lnTo>
                    <a:lnTo>
                      <a:pt x="264" y="42"/>
                    </a:lnTo>
                    <a:lnTo>
                      <a:pt x="216" y="0"/>
                    </a:lnTo>
                    <a:lnTo>
                      <a:pt x="216" y="30"/>
                    </a:lnTo>
                    <a:lnTo>
                      <a:pt x="210" y="36"/>
                    </a:lnTo>
                    <a:lnTo>
                      <a:pt x="192" y="36"/>
                    </a:lnTo>
                    <a:lnTo>
                      <a:pt x="192" y="48"/>
                    </a:lnTo>
                    <a:lnTo>
                      <a:pt x="186" y="54"/>
                    </a:lnTo>
                    <a:lnTo>
                      <a:pt x="162" y="54"/>
                    </a:lnTo>
                    <a:lnTo>
                      <a:pt x="156" y="48"/>
                    </a:lnTo>
                    <a:lnTo>
                      <a:pt x="144" y="42"/>
                    </a:lnTo>
                    <a:lnTo>
                      <a:pt x="138" y="30"/>
                    </a:lnTo>
                    <a:lnTo>
                      <a:pt x="120" y="12"/>
                    </a:lnTo>
                    <a:lnTo>
                      <a:pt x="84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78" y="30"/>
                    </a:lnTo>
                    <a:lnTo>
                      <a:pt x="84" y="30"/>
                    </a:lnTo>
                    <a:lnTo>
                      <a:pt x="90" y="36"/>
                    </a:lnTo>
                    <a:lnTo>
                      <a:pt x="96" y="48"/>
                    </a:lnTo>
                    <a:lnTo>
                      <a:pt x="102" y="54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84" y="54"/>
                    </a:lnTo>
                    <a:lnTo>
                      <a:pt x="72" y="54"/>
                    </a:lnTo>
                    <a:lnTo>
                      <a:pt x="60" y="60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0"/>
                    </a:lnTo>
                    <a:lnTo>
                      <a:pt x="12" y="30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12" y="54"/>
                    </a:lnTo>
                    <a:lnTo>
                      <a:pt x="12" y="66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42" y="108"/>
                    </a:lnTo>
                    <a:lnTo>
                      <a:pt x="66" y="120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54" y="150"/>
                    </a:lnTo>
                    <a:lnTo>
                      <a:pt x="42" y="150"/>
                    </a:lnTo>
                    <a:lnTo>
                      <a:pt x="72" y="162"/>
                    </a:lnTo>
                    <a:lnTo>
                      <a:pt x="84" y="180"/>
                    </a:lnTo>
                    <a:lnTo>
                      <a:pt x="114" y="186"/>
                    </a:lnTo>
                    <a:lnTo>
                      <a:pt x="114" y="198"/>
                    </a:lnTo>
                    <a:lnTo>
                      <a:pt x="120" y="210"/>
                    </a:lnTo>
                    <a:lnTo>
                      <a:pt x="120" y="240"/>
                    </a:lnTo>
                    <a:lnTo>
                      <a:pt x="132" y="240"/>
                    </a:lnTo>
                    <a:lnTo>
                      <a:pt x="138" y="228"/>
                    </a:lnTo>
                    <a:lnTo>
                      <a:pt x="144" y="222"/>
                    </a:lnTo>
                    <a:lnTo>
                      <a:pt x="144" y="216"/>
                    </a:lnTo>
                    <a:lnTo>
                      <a:pt x="156" y="204"/>
                    </a:lnTo>
                    <a:lnTo>
                      <a:pt x="174" y="192"/>
                    </a:lnTo>
                    <a:lnTo>
                      <a:pt x="186" y="186"/>
                    </a:lnTo>
                    <a:lnTo>
                      <a:pt x="198" y="174"/>
                    </a:lnTo>
                    <a:lnTo>
                      <a:pt x="210" y="168"/>
                    </a:lnTo>
                    <a:lnTo>
                      <a:pt x="222" y="168"/>
                    </a:lnTo>
                    <a:lnTo>
                      <a:pt x="228" y="180"/>
                    </a:lnTo>
                    <a:lnTo>
                      <a:pt x="234" y="186"/>
                    </a:lnTo>
                    <a:lnTo>
                      <a:pt x="234" y="204"/>
                    </a:lnTo>
                    <a:lnTo>
                      <a:pt x="228" y="210"/>
                    </a:lnTo>
                    <a:lnTo>
                      <a:pt x="228" y="222"/>
                    </a:lnTo>
                    <a:lnTo>
                      <a:pt x="234" y="222"/>
                    </a:lnTo>
                    <a:lnTo>
                      <a:pt x="240" y="228"/>
                    </a:lnTo>
                    <a:lnTo>
                      <a:pt x="240" y="234"/>
                    </a:lnTo>
                    <a:lnTo>
                      <a:pt x="234" y="240"/>
                    </a:lnTo>
                    <a:lnTo>
                      <a:pt x="222" y="240"/>
                    </a:lnTo>
                    <a:lnTo>
                      <a:pt x="222" y="246"/>
                    </a:lnTo>
                    <a:lnTo>
                      <a:pt x="234" y="258"/>
                    </a:lnTo>
                    <a:lnTo>
                      <a:pt x="246" y="264"/>
                    </a:lnTo>
                    <a:lnTo>
                      <a:pt x="252" y="270"/>
                    </a:lnTo>
                    <a:lnTo>
                      <a:pt x="258" y="270"/>
                    </a:lnTo>
                    <a:lnTo>
                      <a:pt x="264" y="276"/>
                    </a:lnTo>
                    <a:lnTo>
                      <a:pt x="264" y="282"/>
                    </a:lnTo>
                    <a:lnTo>
                      <a:pt x="282" y="282"/>
                    </a:lnTo>
                    <a:lnTo>
                      <a:pt x="282" y="288"/>
                    </a:lnTo>
                    <a:lnTo>
                      <a:pt x="288" y="282"/>
                    </a:lnTo>
                    <a:lnTo>
                      <a:pt x="288" y="258"/>
                    </a:lnTo>
                    <a:lnTo>
                      <a:pt x="282" y="252"/>
                    </a:lnTo>
                    <a:lnTo>
                      <a:pt x="276" y="252"/>
                    </a:lnTo>
                    <a:lnTo>
                      <a:pt x="270" y="246"/>
                    </a:lnTo>
                    <a:lnTo>
                      <a:pt x="288" y="240"/>
                    </a:lnTo>
                    <a:lnTo>
                      <a:pt x="288" y="210"/>
                    </a:lnTo>
                    <a:lnTo>
                      <a:pt x="300" y="222"/>
                    </a:lnTo>
                    <a:lnTo>
                      <a:pt x="306" y="222"/>
                    </a:lnTo>
                    <a:lnTo>
                      <a:pt x="318" y="210"/>
                    </a:lnTo>
                    <a:lnTo>
                      <a:pt x="300" y="192"/>
                    </a:lnTo>
                    <a:lnTo>
                      <a:pt x="300" y="138"/>
                    </a:lnTo>
                    <a:lnTo>
                      <a:pt x="318" y="138"/>
                    </a:lnTo>
                    <a:lnTo>
                      <a:pt x="330" y="126"/>
                    </a:lnTo>
                    <a:lnTo>
                      <a:pt x="360" y="132"/>
                    </a:lnTo>
                    <a:lnTo>
                      <a:pt x="360" y="120"/>
                    </a:lnTo>
                    <a:lnTo>
                      <a:pt x="354" y="10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0" name="Arm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8CEE781-4B53-43A7-8227-80ED757FE63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31872" y="3024338"/>
                <a:ext cx="97842" cy="95656"/>
              </a:xfrm>
              <a:custGeom>
                <a:avLst/>
                <a:gdLst>
                  <a:gd name="T0" fmla="*/ 2147483647 w 222"/>
                  <a:gd name="T1" fmla="*/ 2147483647 h 210"/>
                  <a:gd name="T2" fmla="*/ 2147483647 w 222"/>
                  <a:gd name="T3" fmla="*/ 2147483647 h 210"/>
                  <a:gd name="T4" fmla="*/ 2147483647 w 222"/>
                  <a:gd name="T5" fmla="*/ 2147483647 h 210"/>
                  <a:gd name="T6" fmla="*/ 2147483647 w 222"/>
                  <a:gd name="T7" fmla="*/ 2147483647 h 210"/>
                  <a:gd name="T8" fmla="*/ 2147483647 w 222"/>
                  <a:gd name="T9" fmla="*/ 2147483647 h 210"/>
                  <a:gd name="T10" fmla="*/ 2147483647 w 222"/>
                  <a:gd name="T11" fmla="*/ 2147483647 h 210"/>
                  <a:gd name="T12" fmla="*/ 2147483647 w 222"/>
                  <a:gd name="T13" fmla="*/ 2147483647 h 210"/>
                  <a:gd name="T14" fmla="*/ 2147483647 w 222"/>
                  <a:gd name="T15" fmla="*/ 2147483647 h 210"/>
                  <a:gd name="T16" fmla="*/ 2147483647 w 222"/>
                  <a:gd name="T17" fmla="*/ 2147483647 h 210"/>
                  <a:gd name="T18" fmla="*/ 2147483647 w 222"/>
                  <a:gd name="T19" fmla="*/ 2147483647 h 210"/>
                  <a:gd name="T20" fmla="*/ 2147483647 w 222"/>
                  <a:gd name="T21" fmla="*/ 2147483647 h 210"/>
                  <a:gd name="T22" fmla="*/ 2147483647 w 222"/>
                  <a:gd name="T23" fmla="*/ 2147483647 h 210"/>
                  <a:gd name="T24" fmla="*/ 2147483647 w 222"/>
                  <a:gd name="T25" fmla="*/ 2147483647 h 210"/>
                  <a:gd name="T26" fmla="*/ 2147483647 w 222"/>
                  <a:gd name="T27" fmla="*/ 2147483647 h 210"/>
                  <a:gd name="T28" fmla="*/ 2147483647 w 222"/>
                  <a:gd name="T29" fmla="*/ 2147483647 h 210"/>
                  <a:gd name="T30" fmla="*/ 2147483647 w 222"/>
                  <a:gd name="T31" fmla="*/ 2147483647 h 210"/>
                  <a:gd name="T32" fmla="*/ 2147483647 w 222"/>
                  <a:gd name="T33" fmla="*/ 2147483647 h 210"/>
                  <a:gd name="T34" fmla="*/ 2147483647 w 222"/>
                  <a:gd name="T35" fmla="*/ 2147483647 h 210"/>
                  <a:gd name="T36" fmla="*/ 2147483647 w 222"/>
                  <a:gd name="T37" fmla="*/ 2147483647 h 210"/>
                  <a:gd name="T38" fmla="*/ 2147483647 w 222"/>
                  <a:gd name="T39" fmla="*/ 0 h 210"/>
                  <a:gd name="T40" fmla="*/ 2147483647 w 222"/>
                  <a:gd name="T41" fmla="*/ 0 h 210"/>
                  <a:gd name="T42" fmla="*/ 2147483647 w 222"/>
                  <a:gd name="T43" fmla="*/ 2147483647 h 210"/>
                  <a:gd name="T44" fmla="*/ 2147483647 w 222"/>
                  <a:gd name="T45" fmla="*/ 2147483647 h 210"/>
                  <a:gd name="T46" fmla="*/ 2147483647 w 222"/>
                  <a:gd name="T47" fmla="*/ 2147483647 h 210"/>
                  <a:gd name="T48" fmla="*/ 0 w 222"/>
                  <a:gd name="T49" fmla="*/ 2147483647 h 210"/>
                  <a:gd name="T50" fmla="*/ 2147483647 w 222"/>
                  <a:gd name="T51" fmla="*/ 2147483647 h 210"/>
                  <a:gd name="T52" fmla="*/ 2147483647 w 222"/>
                  <a:gd name="T53" fmla="*/ 2147483647 h 210"/>
                  <a:gd name="T54" fmla="*/ 2147483647 w 222"/>
                  <a:gd name="T55" fmla="*/ 2147483647 h 210"/>
                  <a:gd name="T56" fmla="*/ 2147483647 w 222"/>
                  <a:gd name="T57" fmla="*/ 2147483647 h 210"/>
                  <a:gd name="T58" fmla="*/ 2147483647 w 222"/>
                  <a:gd name="T59" fmla="*/ 2147483647 h 210"/>
                  <a:gd name="T60" fmla="*/ 2147483647 w 222"/>
                  <a:gd name="T61" fmla="*/ 2147483647 h 210"/>
                  <a:gd name="T62" fmla="*/ 2147483647 w 222"/>
                  <a:gd name="T63" fmla="*/ 2147483647 h 210"/>
                  <a:gd name="T64" fmla="*/ 2147483647 w 222"/>
                  <a:gd name="T65" fmla="*/ 2147483647 h 210"/>
                  <a:gd name="T66" fmla="*/ 2147483647 w 222"/>
                  <a:gd name="T67" fmla="*/ 2147483647 h 210"/>
                  <a:gd name="T68" fmla="*/ 2147483647 w 222"/>
                  <a:gd name="T69" fmla="*/ 2147483647 h 210"/>
                  <a:gd name="T70" fmla="*/ 2147483647 w 222"/>
                  <a:gd name="T71" fmla="*/ 2147483647 h 210"/>
                  <a:gd name="T72" fmla="*/ 2147483647 w 222"/>
                  <a:gd name="T73" fmla="*/ 2147483647 h 210"/>
                  <a:gd name="T74" fmla="*/ 2147483647 w 222"/>
                  <a:gd name="T75" fmla="*/ 2147483647 h 210"/>
                  <a:gd name="T76" fmla="*/ 2147483647 w 222"/>
                  <a:gd name="T77" fmla="*/ 2147483647 h 210"/>
                  <a:gd name="T78" fmla="*/ 2147483647 w 222"/>
                  <a:gd name="T79" fmla="*/ 2147483647 h 210"/>
                  <a:gd name="T80" fmla="*/ 2147483647 w 222"/>
                  <a:gd name="T81" fmla="*/ 2147483647 h 210"/>
                  <a:gd name="T82" fmla="*/ 2147483647 w 222"/>
                  <a:gd name="T83" fmla="*/ 2147483647 h 210"/>
                  <a:gd name="T84" fmla="*/ 2147483647 w 222"/>
                  <a:gd name="T85" fmla="*/ 2147483647 h 210"/>
                  <a:gd name="T86" fmla="*/ 2147483647 w 222"/>
                  <a:gd name="T87" fmla="*/ 2147483647 h 210"/>
                  <a:gd name="T88" fmla="*/ 2147483647 w 222"/>
                  <a:gd name="T89" fmla="*/ 2147483647 h 210"/>
                  <a:gd name="T90" fmla="*/ 2147483647 w 222"/>
                  <a:gd name="T91" fmla="*/ 2147483647 h 210"/>
                  <a:gd name="T92" fmla="*/ 2147483647 w 222"/>
                  <a:gd name="T93" fmla="*/ 2147483647 h 210"/>
                  <a:gd name="T94" fmla="*/ 2147483647 w 222"/>
                  <a:gd name="T95" fmla="*/ 2147483647 h 210"/>
                  <a:gd name="T96" fmla="*/ 2147483647 w 222"/>
                  <a:gd name="T97" fmla="*/ 2147483647 h 210"/>
                  <a:gd name="T98" fmla="*/ 2147483647 w 222"/>
                  <a:gd name="T99" fmla="*/ 2147483647 h 210"/>
                  <a:gd name="T100" fmla="*/ 2147483647 w 222"/>
                  <a:gd name="T101" fmla="*/ 2147483647 h 210"/>
                  <a:gd name="T102" fmla="*/ 2147483647 w 222"/>
                  <a:gd name="T103" fmla="*/ 2147483647 h 210"/>
                  <a:gd name="T104" fmla="*/ 2147483647 w 222"/>
                  <a:gd name="T105" fmla="*/ 2147483647 h 210"/>
                  <a:gd name="T106" fmla="*/ 2147483647 w 222"/>
                  <a:gd name="T107" fmla="*/ 2147483647 h 21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2"/>
                  <a:gd name="T163" fmla="*/ 0 h 210"/>
                  <a:gd name="T164" fmla="*/ 222 w 222"/>
                  <a:gd name="T165" fmla="*/ 210 h 21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2" h="210">
                    <a:moveTo>
                      <a:pt x="222" y="168"/>
                    </a:moveTo>
                    <a:lnTo>
                      <a:pt x="216" y="156"/>
                    </a:lnTo>
                    <a:lnTo>
                      <a:pt x="216" y="144"/>
                    </a:lnTo>
                    <a:lnTo>
                      <a:pt x="186" y="138"/>
                    </a:lnTo>
                    <a:lnTo>
                      <a:pt x="174" y="120"/>
                    </a:lnTo>
                    <a:lnTo>
                      <a:pt x="144" y="108"/>
                    </a:lnTo>
                    <a:lnTo>
                      <a:pt x="156" y="108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68" y="78"/>
                    </a:lnTo>
                    <a:lnTo>
                      <a:pt x="144" y="66"/>
                    </a:lnTo>
                    <a:lnTo>
                      <a:pt x="138" y="60"/>
                    </a:lnTo>
                    <a:lnTo>
                      <a:pt x="132" y="60"/>
                    </a:lnTo>
                    <a:lnTo>
                      <a:pt x="138" y="54"/>
                    </a:lnTo>
                    <a:lnTo>
                      <a:pt x="138" y="30"/>
                    </a:lnTo>
                    <a:lnTo>
                      <a:pt x="132" y="24"/>
                    </a:lnTo>
                    <a:lnTo>
                      <a:pt x="114" y="24"/>
                    </a:lnTo>
                    <a:lnTo>
                      <a:pt x="114" y="12"/>
                    </a:lnTo>
                    <a:lnTo>
                      <a:pt x="102" y="6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84" y="18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0" y="24"/>
                    </a:lnTo>
                    <a:lnTo>
                      <a:pt x="6" y="30"/>
                    </a:lnTo>
                    <a:lnTo>
                      <a:pt x="6" y="42"/>
                    </a:lnTo>
                    <a:lnTo>
                      <a:pt x="18" y="78"/>
                    </a:lnTo>
                    <a:lnTo>
                      <a:pt x="18" y="90"/>
                    </a:lnTo>
                    <a:lnTo>
                      <a:pt x="24" y="102"/>
                    </a:lnTo>
                    <a:lnTo>
                      <a:pt x="30" y="108"/>
                    </a:lnTo>
                    <a:lnTo>
                      <a:pt x="42" y="114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78" y="120"/>
                    </a:lnTo>
                    <a:lnTo>
                      <a:pt x="78" y="132"/>
                    </a:lnTo>
                    <a:lnTo>
                      <a:pt x="84" y="144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32"/>
                    </a:lnTo>
                    <a:lnTo>
                      <a:pt x="126" y="132"/>
                    </a:lnTo>
                    <a:lnTo>
                      <a:pt x="138" y="144"/>
                    </a:lnTo>
                    <a:lnTo>
                      <a:pt x="174" y="144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80" y="174"/>
                    </a:lnTo>
                    <a:lnTo>
                      <a:pt x="186" y="186"/>
                    </a:lnTo>
                    <a:lnTo>
                      <a:pt x="186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222" y="210"/>
                    </a:lnTo>
                    <a:lnTo>
                      <a:pt x="222" y="16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1" name="Angol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7FB5B85-4C5B-417C-AEC7-855FDE6ED6A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914604" y="4675290"/>
                <a:ext cx="393114" cy="497767"/>
              </a:xfrm>
              <a:custGeom>
                <a:avLst/>
                <a:gdLst>
                  <a:gd name="T0" fmla="*/ 2147483647 w 888"/>
                  <a:gd name="T1" fmla="*/ 2147483647 h 1104"/>
                  <a:gd name="T2" fmla="*/ 2147483647 w 888"/>
                  <a:gd name="T3" fmla="*/ 2147483647 h 1104"/>
                  <a:gd name="T4" fmla="*/ 2147483647 w 888"/>
                  <a:gd name="T5" fmla="*/ 2147483647 h 1104"/>
                  <a:gd name="T6" fmla="*/ 2147483647 w 888"/>
                  <a:gd name="T7" fmla="*/ 0 h 1104"/>
                  <a:gd name="T8" fmla="*/ 2147483647 w 888"/>
                  <a:gd name="T9" fmla="*/ 2147483647 h 1104"/>
                  <a:gd name="T10" fmla="*/ 2147483647 w 888"/>
                  <a:gd name="T11" fmla="*/ 2147483647 h 1104"/>
                  <a:gd name="T12" fmla="*/ 2147483647 w 888"/>
                  <a:gd name="T13" fmla="*/ 2147483647 h 1104"/>
                  <a:gd name="T14" fmla="*/ 2147483647 w 888"/>
                  <a:gd name="T15" fmla="*/ 2147483647 h 1104"/>
                  <a:gd name="T16" fmla="*/ 2147483647 w 888"/>
                  <a:gd name="T17" fmla="*/ 2147483647 h 1104"/>
                  <a:gd name="T18" fmla="*/ 2147483647 w 888"/>
                  <a:gd name="T19" fmla="*/ 2147483647 h 1104"/>
                  <a:gd name="T20" fmla="*/ 2147483647 w 888"/>
                  <a:gd name="T21" fmla="*/ 2147483647 h 1104"/>
                  <a:gd name="T22" fmla="*/ 2147483647 w 888"/>
                  <a:gd name="T23" fmla="*/ 2147483647 h 1104"/>
                  <a:gd name="T24" fmla="*/ 2147483647 w 888"/>
                  <a:gd name="T25" fmla="*/ 2147483647 h 1104"/>
                  <a:gd name="T26" fmla="*/ 2147483647 w 888"/>
                  <a:gd name="T27" fmla="*/ 2147483647 h 1104"/>
                  <a:gd name="T28" fmla="*/ 2147483647 w 888"/>
                  <a:gd name="T29" fmla="*/ 2147483647 h 1104"/>
                  <a:gd name="T30" fmla="*/ 2147483647 w 888"/>
                  <a:gd name="T31" fmla="*/ 2147483647 h 1104"/>
                  <a:gd name="T32" fmla="*/ 2147483647 w 888"/>
                  <a:gd name="T33" fmla="*/ 2147483647 h 1104"/>
                  <a:gd name="T34" fmla="*/ 2147483647 w 888"/>
                  <a:gd name="T35" fmla="*/ 2147483647 h 1104"/>
                  <a:gd name="T36" fmla="*/ 2147483647 w 888"/>
                  <a:gd name="T37" fmla="*/ 2147483647 h 1104"/>
                  <a:gd name="T38" fmla="*/ 2147483647 w 888"/>
                  <a:gd name="T39" fmla="*/ 2147483647 h 1104"/>
                  <a:gd name="T40" fmla="*/ 2147483647 w 888"/>
                  <a:gd name="T41" fmla="*/ 2147483647 h 1104"/>
                  <a:gd name="T42" fmla="*/ 2147483647 w 888"/>
                  <a:gd name="T43" fmla="*/ 2147483647 h 1104"/>
                  <a:gd name="T44" fmla="*/ 2147483647 w 888"/>
                  <a:gd name="T45" fmla="*/ 2147483647 h 1104"/>
                  <a:gd name="T46" fmla="*/ 2147483647 w 888"/>
                  <a:gd name="T47" fmla="*/ 2147483647 h 1104"/>
                  <a:gd name="T48" fmla="*/ 2147483647 w 888"/>
                  <a:gd name="T49" fmla="*/ 2147483647 h 1104"/>
                  <a:gd name="T50" fmla="*/ 2147483647 w 888"/>
                  <a:gd name="T51" fmla="*/ 2147483647 h 1104"/>
                  <a:gd name="T52" fmla="*/ 2147483647 w 888"/>
                  <a:gd name="T53" fmla="*/ 2147483647 h 1104"/>
                  <a:gd name="T54" fmla="*/ 2147483647 w 888"/>
                  <a:gd name="T55" fmla="*/ 2147483647 h 1104"/>
                  <a:gd name="T56" fmla="*/ 2147483647 w 888"/>
                  <a:gd name="T57" fmla="*/ 2147483647 h 1104"/>
                  <a:gd name="T58" fmla="*/ 2147483647 w 888"/>
                  <a:gd name="T59" fmla="*/ 2147483647 h 1104"/>
                  <a:gd name="T60" fmla="*/ 2147483647 w 888"/>
                  <a:gd name="T61" fmla="*/ 2147483647 h 1104"/>
                  <a:gd name="T62" fmla="*/ 2147483647 w 888"/>
                  <a:gd name="T63" fmla="*/ 2147483647 h 1104"/>
                  <a:gd name="T64" fmla="*/ 2147483647 w 888"/>
                  <a:gd name="T65" fmla="*/ 2147483647 h 1104"/>
                  <a:gd name="T66" fmla="*/ 2147483647 w 888"/>
                  <a:gd name="T67" fmla="*/ 2147483647 h 1104"/>
                  <a:gd name="T68" fmla="*/ 2147483647 w 888"/>
                  <a:gd name="T69" fmla="*/ 2147483647 h 1104"/>
                  <a:gd name="T70" fmla="*/ 2147483647 w 888"/>
                  <a:gd name="T71" fmla="*/ 2147483647 h 1104"/>
                  <a:gd name="T72" fmla="*/ 2147483647 w 888"/>
                  <a:gd name="T73" fmla="*/ 2147483647 h 1104"/>
                  <a:gd name="T74" fmla="*/ 0 w 888"/>
                  <a:gd name="T75" fmla="*/ 2147483647 h 1104"/>
                  <a:gd name="T76" fmla="*/ 2147483647 w 888"/>
                  <a:gd name="T77" fmla="*/ 2147483647 h 1104"/>
                  <a:gd name="T78" fmla="*/ 2147483647 w 888"/>
                  <a:gd name="T79" fmla="*/ 2147483647 h 1104"/>
                  <a:gd name="T80" fmla="*/ 2147483647 w 888"/>
                  <a:gd name="T81" fmla="*/ 2147483647 h 1104"/>
                  <a:gd name="T82" fmla="*/ 2147483647 w 888"/>
                  <a:gd name="T83" fmla="*/ 2147483647 h 1104"/>
                  <a:gd name="T84" fmla="*/ 2147483647 w 888"/>
                  <a:gd name="T85" fmla="*/ 2147483647 h 1104"/>
                  <a:gd name="T86" fmla="*/ 2147483647 w 888"/>
                  <a:gd name="T87" fmla="*/ 2147483647 h 1104"/>
                  <a:gd name="T88" fmla="*/ 2147483647 w 888"/>
                  <a:gd name="T89" fmla="*/ 2147483647 h 1104"/>
                  <a:gd name="T90" fmla="*/ 2147483647 w 888"/>
                  <a:gd name="T91" fmla="*/ 2147483647 h 1104"/>
                  <a:gd name="T92" fmla="*/ 2147483647 w 888"/>
                  <a:gd name="T93" fmla="*/ 2147483647 h 1104"/>
                  <a:gd name="T94" fmla="*/ 2147483647 w 888"/>
                  <a:gd name="T95" fmla="*/ 2147483647 h 110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88"/>
                  <a:gd name="T145" fmla="*/ 0 h 1104"/>
                  <a:gd name="T146" fmla="*/ 888 w 888"/>
                  <a:gd name="T147" fmla="*/ 1104 h 1104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88" h="1104">
                    <a:moveTo>
                      <a:pt x="42" y="114"/>
                    </a:moveTo>
                    <a:lnTo>
                      <a:pt x="42" y="120"/>
                    </a:lnTo>
                    <a:lnTo>
                      <a:pt x="48" y="120"/>
                    </a:lnTo>
                    <a:lnTo>
                      <a:pt x="54" y="114"/>
                    </a:lnTo>
                    <a:lnTo>
                      <a:pt x="66" y="108"/>
                    </a:lnTo>
                    <a:lnTo>
                      <a:pt x="72" y="102"/>
                    </a:lnTo>
                    <a:lnTo>
                      <a:pt x="72" y="96"/>
                    </a:lnTo>
                    <a:lnTo>
                      <a:pt x="66" y="84"/>
                    </a:lnTo>
                    <a:lnTo>
                      <a:pt x="66" y="78"/>
                    </a:lnTo>
                    <a:lnTo>
                      <a:pt x="60" y="66"/>
                    </a:lnTo>
                    <a:lnTo>
                      <a:pt x="96" y="36"/>
                    </a:lnTo>
                    <a:lnTo>
                      <a:pt x="102" y="24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84" y="6"/>
                    </a:lnTo>
                    <a:lnTo>
                      <a:pt x="72" y="12"/>
                    </a:lnTo>
                    <a:lnTo>
                      <a:pt x="66" y="18"/>
                    </a:lnTo>
                    <a:lnTo>
                      <a:pt x="54" y="24"/>
                    </a:lnTo>
                    <a:lnTo>
                      <a:pt x="54" y="42"/>
                    </a:lnTo>
                    <a:lnTo>
                      <a:pt x="36" y="42"/>
                    </a:lnTo>
                    <a:lnTo>
                      <a:pt x="36" y="60"/>
                    </a:lnTo>
                    <a:lnTo>
                      <a:pt x="42" y="114"/>
                    </a:lnTo>
                    <a:close/>
                    <a:moveTo>
                      <a:pt x="876" y="546"/>
                    </a:moveTo>
                    <a:lnTo>
                      <a:pt x="852" y="546"/>
                    </a:lnTo>
                    <a:lnTo>
                      <a:pt x="840" y="534"/>
                    </a:lnTo>
                    <a:lnTo>
                      <a:pt x="828" y="534"/>
                    </a:lnTo>
                    <a:lnTo>
                      <a:pt x="828" y="546"/>
                    </a:lnTo>
                    <a:lnTo>
                      <a:pt x="804" y="552"/>
                    </a:lnTo>
                    <a:lnTo>
                      <a:pt x="774" y="546"/>
                    </a:lnTo>
                    <a:lnTo>
                      <a:pt x="768" y="564"/>
                    </a:lnTo>
                    <a:lnTo>
                      <a:pt x="762" y="558"/>
                    </a:lnTo>
                    <a:lnTo>
                      <a:pt x="756" y="558"/>
                    </a:lnTo>
                    <a:lnTo>
                      <a:pt x="750" y="552"/>
                    </a:lnTo>
                    <a:lnTo>
                      <a:pt x="750" y="528"/>
                    </a:lnTo>
                    <a:lnTo>
                      <a:pt x="756" y="522"/>
                    </a:lnTo>
                    <a:lnTo>
                      <a:pt x="756" y="510"/>
                    </a:lnTo>
                    <a:lnTo>
                      <a:pt x="762" y="498"/>
                    </a:lnTo>
                    <a:lnTo>
                      <a:pt x="762" y="480"/>
                    </a:lnTo>
                    <a:lnTo>
                      <a:pt x="756" y="474"/>
                    </a:lnTo>
                    <a:lnTo>
                      <a:pt x="744" y="450"/>
                    </a:lnTo>
                    <a:lnTo>
                      <a:pt x="732" y="432"/>
                    </a:lnTo>
                    <a:lnTo>
                      <a:pt x="726" y="414"/>
                    </a:lnTo>
                    <a:lnTo>
                      <a:pt x="726" y="402"/>
                    </a:lnTo>
                    <a:lnTo>
                      <a:pt x="732" y="396"/>
                    </a:lnTo>
                    <a:lnTo>
                      <a:pt x="732" y="384"/>
                    </a:lnTo>
                    <a:lnTo>
                      <a:pt x="726" y="360"/>
                    </a:lnTo>
                    <a:lnTo>
                      <a:pt x="732" y="354"/>
                    </a:lnTo>
                    <a:lnTo>
                      <a:pt x="738" y="342"/>
                    </a:lnTo>
                    <a:lnTo>
                      <a:pt x="738" y="330"/>
                    </a:lnTo>
                    <a:lnTo>
                      <a:pt x="732" y="318"/>
                    </a:lnTo>
                    <a:lnTo>
                      <a:pt x="720" y="306"/>
                    </a:lnTo>
                    <a:lnTo>
                      <a:pt x="714" y="288"/>
                    </a:lnTo>
                    <a:lnTo>
                      <a:pt x="726" y="270"/>
                    </a:lnTo>
                    <a:lnTo>
                      <a:pt x="726" y="246"/>
                    </a:lnTo>
                    <a:lnTo>
                      <a:pt x="636" y="246"/>
                    </a:lnTo>
                    <a:lnTo>
                      <a:pt x="636" y="222"/>
                    </a:lnTo>
                    <a:lnTo>
                      <a:pt x="624" y="216"/>
                    </a:lnTo>
                    <a:lnTo>
                      <a:pt x="612" y="216"/>
                    </a:lnTo>
                    <a:lnTo>
                      <a:pt x="612" y="222"/>
                    </a:lnTo>
                    <a:lnTo>
                      <a:pt x="564" y="222"/>
                    </a:lnTo>
                    <a:lnTo>
                      <a:pt x="558" y="228"/>
                    </a:lnTo>
                    <a:lnTo>
                      <a:pt x="558" y="234"/>
                    </a:lnTo>
                    <a:lnTo>
                      <a:pt x="564" y="240"/>
                    </a:lnTo>
                    <a:lnTo>
                      <a:pt x="570" y="252"/>
                    </a:lnTo>
                    <a:lnTo>
                      <a:pt x="570" y="264"/>
                    </a:lnTo>
                    <a:lnTo>
                      <a:pt x="558" y="264"/>
                    </a:lnTo>
                    <a:lnTo>
                      <a:pt x="558" y="270"/>
                    </a:lnTo>
                    <a:lnTo>
                      <a:pt x="552" y="276"/>
                    </a:lnTo>
                    <a:lnTo>
                      <a:pt x="552" y="294"/>
                    </a:lnTo>
                    <a:lnTo>
                      <a:pt x="510" y="300"/>
                    </a:lnTo>
                    <a:lnTo>
                      <a:pt x="504" y="294"/>
                    </a:lnTo>
                    <a:lnTo>
                      <a:pt x="492" y="300"/>
                    </a:lnTo>
                    <a:lnTo>
                      <a:pt x="468" y="300"/>
                    </a:lnTo>
                    <a:lnTo>
                      <a:pt x="462" y="312"/>
                    </a:lnTo>
                    <a:lnTo>
                      <a:pt x="450" y="306"/>
                    </a:lnTo>
                    <a:lnTo>
                      <a:pt x="420" y="306"/>
                    </a:lnTo>
                    <a:lnTo>
                      <a:pt x="408" y="282"/>
                    </a:lnTo>
                    <a:lnTo>
                      <a:pt x="402" y="276"/>
                    </a:lnTo>
                    <a:lnTo>
                      <a:pt x="402" y="264"/>
                    </a:lnTo>
                    <a:lnTo>
                      <a:pt x="390" y="252"/>
                    </a:lnTo>
                    <a:lnTo>
                      <a:pt x="384" y="252"/>
                    </a:lnTo>
                    <a:lnTo>
                      <a:pt x="378" y="246"/>
                    </a:lnTo>
                    <a:lnTo>
                      <a:pt x="378" y="240"/>
                    </a:lnTo>
                    <a:lnTo>
                      <a:pt x="384" y="234"/>
                    </a:lnTo>
                    <a:lnTo>
                      <a:pt x="384" y="210"/>
                    </a:lnTo>
                    <a:lnTo>
                      <a:pt x="366" y="192"/>
                    </a:lnTo>
                    <a:lnTo>
                      <a:pt x="366" y="150"/>
                    </a:lnTo>
                    <a:lnTo>
                      <a:pt x="354" y="138"/>
                    </a:lnTo>
                    <a:lnTo>
                      <a:pt x="348" y="126"/>
                    </a:lnTo>
                    <a:lnTo>
                      <a:pt x="342" y="120"/>
                    </a:lnTo>
                    <a:lnTo>
                      <a:pt x="324" y="120"/>
                    </a:lnTo>
                    <a:lnTo>
                      <a:pt x="318" y="126"/>
                    </a:lnTo>
                    <a:lnTo>
                      <a:pt x="294" y="126"/>
                    </a:lnTo>
                    <a:lnTo>
                      <a:pt x="276" y="132"/>
                    </a:lnTo>
                    <a:lnTo>
                      <a:pt x="246" y="132"/>
                    </a:lnTo>
                    <a:lnTo>
                      <a:pt x="234" y="126"/>
                    </a:lnTo>
                    <a:lnTo>
                      <a:pt x="222" y="126"/>
                    </a:lnTo>
                    <a:lnTo>
                      <a:pt x="210" y="132"/>
                    </a:lnTo>
                    <a:lnTo>
                      <a:pt x="180" y="132"/>
                    </a:lnTo>
                    <a:lnTo>
                      <a:pt x="168" y="126"/>
                    </a:lnTo>
                    <a:lnTo>
                      <a:pt x="144" y="132"/>
                    </a:lnTo>
                    <a:lnTo>
                      <a:pt x="132" y="126"/>
                    </a:lnTo>
                    <a:lnTo>
                      <a:pt x="126" y="132"/>
                    </a:lnTo>
                    <a:lnTo>
                      <a:pt x="102" y="126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54" y="168"/>
                    </a:lnTo>
                    <a:lnTo>
                      <a:pt x="60" y="174"/>
                    </a:lnTo>
                    <a:lnTo>
                      <a:pt x="66" y="186"/>
                    </a:lnTo>
                    <a:lnTo>
                      <a:pt x="90" y="210"/>
                    </a:lnTo>
                    <a:lnTo>
                      <a:pt x="84" y="234"/>
                    </a:lnTo>
                    <a:lnTo>
                      <a:pt x="90" y="246"/>
                    </a:lnTo>
                    <a:lnTo>
                      <a:pt x="108" y="270"/>
                    </a:lnTo>
                    <a:lnTo>
                      <a:pt x="120" y="300"/>
                    </a:lnTo>
                    <a:lnTo>
                      <a:pt x="126" y="330"/>
                    </a:lnTo>
                    <a:lnTo>
                      <a:pt x="120" y="354"/>
                    </a:lnTo>
                    <a:lnTo>
                      <a:pt x="108" y="378"/>
                    </a:lnTo>
                    <a:lnTo>
                      <a:pt x="102" y="384"/>
                    </a:lnTo>
                    <a:lnTo>
                      <a:pt x="102" y="408"/>
                    </a:lnTo>
                    <a:lnTo>
                      <a:pt x="114" y="408"/>
                    </a:lnTo>
                    <a:lnTo>
                      <a:pt x="114" y="438"/>
                    </a:lnTo>
                    <a:lnTo>
                      <a:pt x="126" y="474"/>
                    </a:lnTo>
                    <a:lnTo>
                      <a:pt x="150" y="510"/>
                    </a:lnTo>
                    <a:lnTo>
                      <a:pt x="162" y="552"/>
                    </a:lnTo>
                    <a:lnTo>
                      <a:pt x="162" y="582"/>
                    </a:lnTo>
                    <a:lnTo>
                      <a:pt x="156" y="594"/>
                    </a:lnTo>
                    <a:lnTo>
                      <a:pt x="150" y="612"/>
                    </a:lnTo>
                    <a:lnTo>
                      <a:pt x="144" y="618"/>
                    </a:lnTo>
                    <a:lnTo>
                      <a:pt x="138" y="630"/>
                    </a:lnTo>
                    <a:lnTo>
                      <a:pt x="144" y="642"/>
                    </a:lnTo>
                    <a:lnTo>
                      <a:pt x="144" y="660"/>
                    </a:lnTo>
                    <a:lnTo>
                      <a:pt x="138" y="666"/>
                    </a:lnTo>
                    <a:lnTo>
                      <a:pt x="126" y="672"/>
                    </a:lnTo>
                    <a:lnTo>
                      <a:pt x="108" y="672"/>
                    </a:lnTo>
                    <a:lnTo>
                      <a:pt x="96" y="690"/>
                    </a:lnTo>
                    <a:lnTo>
                      <a:pt x="102" y="714"/>
                    </a:lnTo>
                    <a:lnTo>
                      <a:pt x="78" y="714"/>
                    </a:lnTo>
                    <a:lnTo>
                      <a:pt x="66" y="720"/>
                    </a:lnTo>
                    <a:lnTo>
                      <a:pt x="66" y="750"/>
                    </a:lnTo>
                    <a:lnTo>
                      <a:pt x="60" y="762"/>
                    </a:lnTo>
                    <a:lnTo>
                      <a:pt x="60" y="774"/>
                    </a:lnTo>
                    <a:lnTo>
                      <a:pt x="48" y="786"/>
                    </a:lnTo>
                    <a:lnTo>
                      <a:pt x="48" y="858"/>
                    </a:lnTo>
                    <a:lnTo>
                      <a:pt x="36" y="864"/>
                    </a:lnTo>
                    <a:lnTo>
                      <a:pt x="30" y="870"/>
                    </a:lnTo>
                    <a:lnTo>
                      <a:pt x="30" y="912"/>
                    </a:lnTo>
                    <a:lnTo>
                      <a:pt x="6" y="930"/>
                    </a:lnTo>
                    <a:lnTo>
                      <a:pt x="6" y="966"/>
                    </a:lnTo>
                    <a:lnTo>
                      <a:pt x="18" y="984"/>
                    </a:lnTo>
                    <a:lnTo>
                      <a:pt x="0" y="1002"/>
                    </a:lnTo>
                    <a:lnTo>
                      <a:pt x="0" y="1044"/>
                    </a:lnTo>
                    <a:lnTo>
                      <a:pt x="18" y="1044"/>
                    </a:lnTo>
                    <a:lnTo>
                      <a:pt x="36" y="1038"/>
                    </a:lnTo>
                    <a:lnTo>
                      <a:pt x="42" y="1044"/>
                    </a:lnTo>
                    <a:lnTo>
                      <a:pt x="72" y="1044"/>
                    </a:lnTo>
                    <a:lnTo>
                      <a:pt x="90" y="1026"/>
                    </a:lnTo>
                    <a:lnTo>
                      <a:pt x="90" y="1020"/>
                    </a:lnTo>
                    <a:lnTo>
                      <a:pt x="120" y="1020"/>
                    </a:lnTo>
                    <a:lnTo>
                      <a:pt x="126" y="1026"/>
                    </a:lnTo>
                    <a:lnTo>
                      <a:pt x="132" y="1038"/>
                    </a:lnTo>
                    <a:lnTo>
                      <a:pt x="156" y="1050"/>
                    </a:lnTo>
                    <a:lnTo>
                      <a:pt x="168" y="1050"/>
                    </a:lnTo>
                    <a:lnTo>
                      <a:pt x="174" y="1056"/>
                    </a:lnTo>
                    <a:lnTo>
                      <a:pt x="480" y="1056"/>
                    </a:lnTo>
                    <a:lnTo>
                      <a:pt x="480" y="1062"/>
                    </a:lnTo>
                    <a:lnTo>
                      <a:pt x="504" y="1086"/>
                    </a:lnTo>
                    <a:lnTo>
                      <a:pt x="540" y="1086"/>
                    </a:lnTo>
                    <a:lnTo>
                      <a:pt x="546" y="1098"/>
                    </a:lnTo>
                    <a:lnTo>
                      <a:pt x="618" y="1092"/>
                    </a:lnTo>
                    <a:lnTo>
                      <a:pt x="624" y="1104"/>
                    </a:lnTo>
                    <a:lnTo>
                      <a:pt x="696" y="1104"/>
                    </a:lnTo>
                    <a:lnTo>
                      <a:pt x="732" y="1098"/>
                    </a:lnTo>
                    <a:lnTo>
                      <a:pt x="780" y="1092"/>
                    </a:lnTo>
                    <a:lnTo>
                      <a:pt x="816" y="1080"/>
                    </a:lnTo>
                    <a:lnTo>
                      <a:pt x="828" y="1074"/>
                    </a:lnTo>
                    <a:lnTo>
                      <a:pt x="738" y="984"/>
                    </a:lnTo>
                    <a:lnTo>
                      <a:pt x="738" y="966"/>
                    </a:lnTo>
                    <a:lnTo>
                      <a:pt x="732" y="954"/>
                    </a:lnTo>
                    <a:lnTo>
                      <a:pt x="732" y="702"/>
                    </a:lnTo>
                    <a:lnTo>
                      <a:pt x="858" y="708"/>
                    </a:lnTo>
                    <a:lnTo>
                      <a:pt x="864" y="708"/>
                    </a:lnTo>
                    <a:lnTo>
                      <a:pt x="876" y="696"/>
                    </a:lnTo>
                    <a:lnTo>
                      <a:pt x="876" y="672"/>
                    </a:lnTo>
                    <a:lnTo>
                      <a:pt x="870" y="666"/>
                    </a:lnTo>
                    <a:lnTo>
                      <a:pt x="870" y="660"/>
                    </a:lnTo>
                    <a:lnTo>
                      <a:pt x="888" y="654"/>
                    </a:lnTo>
                    <a:lnTo>
                      <a:pt x="876" y="642"/>
                    </a:lnTo>
                    <a:lnTo>
                      <a:pt x="876" y="588"/>
                    </a:lnTo>
                    <a:lnTo>
                      <a:pt x="882" y="588"/>
                    </a:lnTo>
                    <a:lnTo>
                      <a:pt x="888" y="582"/>
                    </a:lnTo>
                    <a:lnTo>
                      <a:pt x="888" y="564"/>
                    </a:lnTo>
                    <a:lnTo>
                      <a:pt x="876" y="552"/>
                    </a:lnTo>
                    <a:lnTo>
                      <a:pt x="876" y="546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2" name="Andorr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668BBB6-DF84-4270-BE7A-7586624D79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17583" y="2980052"/>
                <a:ext cx="13977" cy="7086"/>
              </a:xfrm>
              <a:custGeom>
                <a:avLst/>
                <a:gdLst>
                  <a:gd name="T0" fmla="*/ 2147483647 w 30"/>
                  <a:gd name="T1" fmla="*/ 2147483647 h 18"/>
                  <a:gd name="T2" fmla="*/ 2147483647 w 30"/>
                  <a:gd name="T3" fmla="*/ 2147483647 h 18"/>
                  <a:gd name="T4" fmla="*/ 2147483647 w 30"/>
                  <a:gd name="T5" fmla="*/ 2147483647 h 18"/>
                  <a:gd name="T6" fmla="*/ 2147483647 w 30"/>
                  <a:gd name="T7" fmla="*/ 0 h 18"/>
                  <a:gd name="T8" fmla="*/ 0 w 30"/>
                  <a:gd name="T9" fmla="*/ 0 h 18"/>
                  <a:gd name="T10" fmla="*/ 2147483647 w 30"/>
                  <a:gd name="T11" fmla="*/ 2147483647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18"/>
                  <a:gd name="T20" fmla="*/ 30 w 30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18">
                    <a:moveTo>
                      <a:pt x="6" y="18"/>
                    </a:moveTo>
                    <a:lnTo>
                      <a:pt x="18" y="12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rgbClr val="007D40">
                  <a:lumMod val="75000"/>
                </a:srgbClr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3" name="Afghanist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ECA297F-0AB4-42C8-BABE-8E7A0C52A27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68253" y="3127076"/>
                <a:ext cx="401850" cy="331255"/>
              </a:xfrm>
              <a:custGeom>
                <a:avLst/>
                <a:gdLst>
                  <a:gd name="T0" fmla="*/ 2147483647 w 906"/>
                  <a:gd name="T1" fmla="*/ 2147483647 h 738"/>
                  <a:gd name="T2" fmla="*/ 2147483647 w 906"/>
                  <a:gd name="T3" fmla="*/ 2147483647 h 738"/>
                  <a:gd name="T4" fmla="*/ 2147483647 w 906"/>
                  <a:gd name="T5" fmla="*/ 2147483647 h 738"/>
                  <a:gd name="T6" fmla="*/ 2147483647 w 906"/>
                  <a:gd name="T7" fmla="*/ 2147483647 h 738"/>
                  <a:gd name="T8" fmla="*/ 2147483647 w 906"/>
                  <a:gd name="T9" fmla="*/ 2147483647 h 738"/>
                  <a:gd name="T10" fmla="*/ 2147483647 w 906"/>
                  <a:gd name="T11" fmla="*/ 0 h 738"/>
                  <a:gd name="T12" fmla="*/ 2147483647 w 906"/>
                  <a:gd name="T13" fmla="*/ 2147483647 h 738"/>
                  <a:gd name="T14" fmla="*/ 2147483647 w 906"/>
                  <a:gd name="T15" fmla="*/ 2147483647 h 738"/>
                  <a:gd name="T16" fmla="*/ 2147483647 w 906"/>
                  <a:gd name="T17" fmla="*/ 2147483647 h 738"/>
                  <a:gd name="T18" fmla="*/ 2147483647 w 906"/>
                  <a:gd name="T19" fmla="*/ 2147483647 h 738"/>
                  <a:gd name="T20" fmla="*/ 2147483647 w 906"/>
                  <a:gd name="T21" fmla="*/ 2147483647 h 738"/>
                  <a:gd name="T22" fmla="*/ 2147483647 w 906"/>
                  <a:gd name="T23" fmla="*/ 2147483647 h 738"/>
                  <a:gd name="T24" fmla="*/ 2147483647 w 906"/>
                  <a:gd name="T25" fmla="*/ 2147483647 h 738"/>
                  <a:gd name="T26" fmla="*/ 2147483647 w 906"/>
                  <a:gd name="T27" fmla="*/ 2147483647 h 738"/>
                  <a:gd name="T28" fmla="*/ 2147483647 w 906"/>
                  <a:gd name="T29" fmla="*/ 2147483647 h 738"/>
                  <a:gd name="T30" fmla="*/ 2147483647 w 906"/>
                  <a:gd name="T31" fmla="*/ 2147483647 h 738"/>
                  <a:gd name="T32" fmla="*/ 2147483647 w 906"/>
                  <a:gd name="T33" fmla="*/ 2147483647 h 738"/>
                  <a:gd name="T34" fmla="*/ 2147483647 w 906"/>
                  <a:gd name="T35" fmla="*/ 2147483647 h 738"/>
                  <a:gd name="T36" fmla="*/ 2147483647 w 906"/>
                  <a:gd name="T37" fmla="*/ 2147483647 h 738"/>
                  <a:gd name="T38" fmla="*/ 2147483647 w 906"/>
                  <a:gd name="T39" fmla="*/ 2147483647 h 738"/>
                  <a:gd name="T40" fmla="*/ 2147483647 w 906"/>
                  <a:gd name="T41" fmla="*/ 2147483647 h 738"/>
                  <a:gd name="T42" fmla="*/ 2147483647 w 906"/>
                  <a:gd name="T43" fmla="*/ 2147483647 h 738"/>
                  <a:gd name="T44" fmla="*/ 2147483647 w 906"/>
                  <a:gd name="T45" fmla="*/ 2147483647 h 738"/>
                  <a:gd name="T46" fmla="*/ 0 w 906"/>
                  <a:gd name="T47" fmla="*/ 2147483647 h 738"/>
                  <a:gd name="T48" fmla="*/ 2147483647 w 906"/>
                  <a:gd name="T49" fmla="*/ 2147483647 h 738"/>
                  <a:gd name="T50" fmla="*/ 2147483647 w 906"/>
                  <a:gd name="T51" fmla="*/ 2147483647 h 738"/>
                  <a:gd name="T52" fmla="*/ 2147483647 w 906"/>
                  <a:gd name="T53" fmla="*/ 2147483647 h 738"/>
                  <a:gd name="T54" fmla="*/ 2147483647 w 906"/>
                  <a:gd name="T55" fmla="*/ 2147483647 h 738"/>
                  <a:gd name="T56" fmla="*/ 2147483647 w 906"/>
                  <a:gd name="T57" fmla="*/ 2147483647 h 738"/>
                  <a:gd name="T58" fmla="*/ 2147483647 w 906"/>
                  <a:gd name="T59" fmla="*/ 2147483647 h 738"/>
                  <a:gd name="T60" fmla="*/ 2147483647 w 906"/>
                  <a:gd name="T61" fmla="*/ 2147483647 h 738"/>
                  <a:gd name="T62" fmla="*/ 2147483647 w 906"/>
                  <a:gd name="T63" fmla="*/ 2147483647 h 738"/>
                  <a:gd name="T64" fmla="*/ 2147483647 w 906"/>
                  <a:gd name="T65" fmla="*/ 2147483647 h 738"/>
                  <a:gd name="T66" fmla="*/ 2147483647 w 906"/>
                  <a:gd name="T67" fmla="*/ 2147483647 h 738"/>
                  <a:gd name="T68" fmla="*/ 2147483647 w 906"/>
                  <a:gd name="T69" fmla="*/ 2147483647 h 738"/>
                  <a:gd name="T70" fmla="*/ 2147483647 w 906"/>
                  <a:gd name="T71" fmla="*/ 2147483647 h 738"/>
                  <a:gd name="T72" fmla="*/ 2147483647 w 906"/>
                  <a:gd name="T73" fmla="*/ 2147483647 h 738"/>
                  <a:gd name="T74" fmla="*/ 2147483647 w 906"/>
                  <a:gd name="T75" fmla="*/ 2147483647 h 738"/>
                  <a:gd name="T76" fmla="*/ 2147483647 w 906"/>
                  <a:gd name="T77" fmla="*/ 2147483647 h 738"/>
                  <a:gd name="T78" fmla="*/ 2147483647 w 906"/>
                  <a:gd name="T79" fmla="*/ 2147483647 h 738"/>
                  <a:gd name="T80" fmla="*/ 2147483647 w 906"/>
                  <a:gd name="T81" fmla="*/ 2147483647 h 738"/>
                  <a:gd name="T82" fmla="*/ 2147483647 w 906"/>
                  <a:gd name="T83" fmla="*/ 2147483647 h 738"/>
                  <a:gd name="T84" fmla="*/ 2147483647 w 906"/>
                  <a:gd name="T85" fmla="*/ 2147483647 h 738"/>
                  <a:gd name="T86" fmla="*/ 2147483647 w 906"/>
                  <a:gd name="T87" fmla="*/ 2147483647 h 738"/>
                  <a:gd name="T88" fmla="*/ 2147483647 w 906"/>
                  <a:gd name="T89" fmla="*/ 2147483647 h 738"/>
                  <a:gd name="T90" fmla="*/ 2147483647 w 906"/>
                  <a:gd name="T91" fmla="*/ 2147483647 h 738"/>
                  <a:gd name="T92" fmla="*/ 2147483647 w 906"/>
                  <a:gd name="T93" fmla="*/ 2147483647 h 738"/>
                  <a:gd name="T94" fmla="*/ 2147483647 w 906"/>
                  <a:gd name="T95" fmla="*/ 2147483647 h 738"/>
                  <a:gd name="T96" fmla="*/ 2147483647 w 906"/>
                  <a:gd name="T97" fmla="*/ 2147483647 h 738"/>
                  <a:gd name="T98" fmla="*/ 2147483647 w 906"/>
                  <a:gd name="T99" fmla="*/ 2147483647 h 738"/>
                  <a:gd name="T100" fmla="*/ 2147483647 w 906"/>
                  <a:gd name="T101" fmla="*/ 2147483647 h 738"/>
                  <a:gd name="T102" fmla="*/ 2147483647 w 906"/>
                  <a:gd name="T103" fmla="*/ 2147483647 h 738"/>
                  <a:gd name="T104" fmla="*/ 2147483647 w 906"/>
                  <a:gd name="T105" fmla="*/ 2147483647 h 738"/>
                  <a:gd name="T106" fmla="*/ 2147483647 w 906"/>
                  <a:gd name="T107" fmla="*/ 2147483647 h 738"/>
                  <a:gd name="T108" fmla="*/ 2147483647 w 906"/>
                  <a:gd name="T109" fmla="*/ 2147483647 h 73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06"/>
                  <a:gd name="T166" fmla="*/ 0 h 738"/>
                  <a:gd name="T167" fmla="*/ 906 w 906"/>
                  <a:gd name="T168" fmla="*/ 738 h 73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06" h="738">
                    <a:moveTo>
                      <a:pt x="894" y="108"/>
                    </a:moveTo>
                    <a:lnTo>
                      <a:pt x="894" y="96"/>
                    </a:lnTo>
                    <a:lnTo>
                      <a:pt x="906" y="96"/>
                    </a:lnTo>
                    <a:lnTo>
                      <a:pt x="900" y="90"/>
                    </a:lnTo>
                    <a:lnTo>
                      <a:pt x="876" y="90"/>
                    </a:lnTo>
                    <a:lnTo>
                      <a:pt x="840" y="102"/>
                    </a:lnTo>
                    <a:lnTo>
                      <a:pt x="840" y="84"/>
                    </a:lnTo>
                    <a:lnTo>
                      <a:pt x="816" y="84"/>
                    </a:lnTo>
                    <a:lnTo>
                      <a:pt x="792" y="96"/>
                    </a:lnTo>
                    <a:lnTo>
                      <a:pt x="786" y="102"/>
                    </a:lnTo>
                    <a:lnTo>
                      <a:pt x="780" y="114"/>
                    </a:lnTo>
                    <a:lnTo>
                      <a:pt x="774" y="120"/>
                    </a:lnTo>
                    <a:lnTo>
                      <a:pt x="756" y="120"/>
                    </a:lnTo>
                    <a:lnTo>
                      <a:pt x="750" y="126"/>
                    </a:lnTo>
                    <a:lnTo>
                      <a:pt x="744" y="138"/>
                    </a:lnTo>
                    <a:lnTo>
                      <a:pt x="732" y="144"/>
                    </a:lnTo>
                    <a:lnTo>
                      <a:pt x="726" y="150"/>
                    </a:lnTo>
                    <a:lnTo>
                      <a:pt x="720" y="150"/>
                    </a:lnTo>
                    <a:lnTo>
                      <a:pt x="690" y="120"/>
                    </a:lnTo>
                    <a:lnTo>
                      <a:pt x="690" y="114"/>
                    </a:lnTo>
                    <a:lnTo>
                      <a:pt x="678" y="48"/>
                    </a:lnTo>
                    <a:lnTo>
                      <a:pt x="660" y="48"/>
                    </a:lnTo>
                    <a:lnTo>
                      <a:pt x="660" y="18"/>
                    </a:lnTo>
                    <a:lnTo>
                      <a:pt x="642" y="0"/>
                    </a:lnTo>
                    <a:lnTo>
                      <a:pt x="624" y="0"/>
                    </a:lnTo>
                    <a:lnTo>
                      <a:pt x="618" y="6"/>
                    </a:lnTo>
                    <a:lnTo>
                      <a:pt x="618" y="30"/>
                    </a:lnTo>
                    <a:lnTo>
                      <a:pt x="612" y="36"/>
                    </a:lnTo>
                    <a:lnTo>
                      <a:pt x="606" y="36"/>
                    </a:lnTo>
                    <a:lnTo>
                      <a:pt x="594" y="48"/>
                    </a:lnTo>
                    <a:lnTo>
                      <a:pt x="594" y="54"/>
                    </a:lnTo>
                    <a:lnTo>
                      <a:pt x="600" y="60"/>
                    </a:lnTo>
                    <a:lnTo>
                      <a:pt x="606" y="60"/>
                    </a:lnTo>
                    <a:lnTo>
                      <a:pt x="600" y="84"/>
                    </a:lnTo>
                    <a:lnTo>
                      <a:pt x="588" y="72"/>
                    </a:lnTo>
                    <a:lnTo>
                      <a:pt x="570" y="72"/>
                    </a:lnTo>
                    <a:lnTo>
                      <a:pt x="558" y="78"/>
                    </a:lnTo>
                    <a:lnTo>
                      <a:pt x="546" y="90"/>
                    </a:lnTo>
                    <a:lnTo>
                      <a:pt x="546" y="120"/>
                    </a:lnTo>
                    <a:lnTo>
                      <a:pt x="540" y="120"/>
                    </a:lnTo>
                    <a:lnTo>
                      <a:pt x="534" y="114"/>
                    </a:lnTo>
                    <a:lnTo>
                      <a:pt x="528" y="102"/>
                    </a:lnTo>
                    <a:lnTo>
                      <a:pt x="522" y="96"/>
                    </a:lnTo>
                    <a:lnTo>
                      <a:pt x="510" y="96"/>
                    </a:lnTo>
                    <a:lnTo>
                      <a:pt x="504" y="102"/>
                    </a:lnTo>
                    <a:lnTo>
                      <a:pt x="492" y="108"/>
                    </a:lnTo>
                    <a:lnTo>
                      <a:pt x="474" y="126"/>
                    </a:lnTo>
                    <a:lnTo>
                      <a:pt x="468" y="126"/>
                    </a:lnTo>
                    <a:lnTo>
                      <a:pt x="456" y="114"/>
                    </a:lnTo>
                    <a:lnTo>
                      <a:pt x="444" y="108"/>
                    </a:lnTo>
                    <a:lnTo>
                      <a:pt x="438" y="102"/>
                    </a:lnTo>
                    <a:lnTo>
                      <a:pt x="426" y="102"/>
                    </a:lnTo>
                    <a:lnTo>
                      <a:pt x="414" y="108"/>
                    </a:lnTo>
                    <a:lnTo>
                      <a:pt x="396" y="84"/>
                    </a:lnTo>
                    <a:lnTo>
                      <a:pt x="384" y="96"/>
                    </a:lnTo>
                    <a:lnTo>
                      <a:pt x="342" y="96"/>
                    </a:lnTo>
                    <a:lnTo>
                      <a:pt x="330" y="90"/>
                    </a:lnTo>
                    <a:lnTo>
                      <a:pt x="324" y="84"/>
                    </a:lnTo>
                    <a:lnTo>
                      <a:pt x="312" y="78"/>
                    </a:lnTo>
                    <a:lnTo>
                      <a:pt x="300" y="78"/>
                    </a:lnTo>
                    <a:lnTo>
                      <a:pt x="300" y="102"/>
                    </a:lnTo>
                    <a:lnTo>
                      <a:pt x="264" y="102"/>
                    </a:lnTo>
                    <a:lnTo>
                      <a:pt x="252" y="108"/>
                    </a:lnTo>
                    <a:lnTo>
                      <a:pt x="246" y="120"/>
                    </a:lnTo>
                    <a:lnTo>
                      <a:pt x="246" y="180"/>
                    </a:lnTo>
                    <a:lnTo>
                      <a:pt x="234" y="180"/>
                    </a:lnTo>
                    <a:lnTo>
                      <a:pt x="222" y="186"/>
                    </a:lnTo>
                    <a:lnTo>
                      <a:pt x="216" y="198"/>
                    </a:lnTo>
                    <a:lnTo>
                      <a:pt x="180" y="216"/>
                    </a:lnTo>
                    <a:lnTo>
                      <a:pt x="168" y="216"/>
                    </a:lnTo>
                    <a:lnTo>
                      <a:pt x="168" y="228"/>
                    </a:lnTo>
                    <a:lnTo>
                      <a:pt x="156" y="252"/>
                    </a:lnTo>
                    <a:lnTo>
                      <a:pt x="150" y="258"/>
                    </a:lnTo>
                    <a:lnTo>
                      <a:pt x="138" y="264"/>
                    </a:lnTo>
                    <a:lnTo>
                      <a:pt x="114" y="264"/>
                    </a:lnTo>
                    <a:lnTo>
                      <a:pt x="90" y="240"/>
                    </a:lnTo>
                    <a:lnTo>
                      <a:pt x="84" y="240"/>
                    </a:lnTo>
                    <a:lnTo>
                      <a:pt x="78" y="246"/>
                    </a:lnTo>
                    <a:lnTo>
                      <a:pt x="66" y="246"/>
                    </a:lnTo>
                    <a:lnTo>
                      <a:pt x="60" y="240"/>
                    </a:lnTo>
                    <a:lnTo>
                      <a:pt x="48" y="240"/>
                    </a:lnTo>
                    <a:lnTo>
                      <a:pt x="42" y="234"/>
                    </a:lnTo>
                    <a:lnTo>
                      <a:pt x="36" y="240"/>
                    </a:lnTo>
                    <a:lnTo>
                      <a:pt x="30" y="252"/>
                    </a:lnTo>
                    <a:lnTo>
                      <a:pt x="30" y="258"/>
                    </a:lnTo>
                    <a:lnTo>
                      <a:pt x="36" y="270"/>
                    </a:lnTo>
                    <a:lnTo>
                      <a:pt x="36" y="294"/>
                    </a:lnTo>
                    <a:lnTo>
                      <a:pt x="42" y="300"/>
                    </a:lnTo>
                    <a:lnTo>
                      <a:pt x="42" y="306"/>
                    </a:lnTo>
                    <a:lnTo>
                      <a:pt x="18" y="312"/>
                    </a:lnTo>
                    <a:lnTo>
                      <a:pt x="30" y="330"/>
                    </a:lnTo>
                    <a:lnTo>
                      <a:pt x="24" y="330"/>
                    </a:lnTo>
                    <a:lnTo>
                      <a:pt x="18" y="336"/>
                    </a:lnTo>
                    <a:lnTo>
                      <a:pt x="6" y="342"/>
                    </a:lnTo>
                    <a:lnTo>
                      <a:pt x="0" y="348"/>
                    </a:lnTo>
                    <a:lnTo>
                      <a:pt x="0" y="354"/>
                    </a:lnTo>
                    <a:lnTo>
                      <a:pt x="12" y="366"/>
                    </a:lnTo>
                    <a:lnTo>
                      <a:pt x="12" y="396"/>
                    </a:lnTo>
                    <a:lnTo>
                      <a:pt x="36" y="396"/>
                    </a:lnTo>
                    <a:lnTo>
                      <a:pt x="42" y="402"/>
                    </a:lnTo>
                    <a:lnTo>
                      <a:pt x="42" y="408"/>
                    </a:lnTo>
                    <a:lnTo>
                      <a:pt x="24" y="426"/>
                    </a:lnTo>
                    <a:lnTo>
                      <a:pt x="18" y="438"/>
                    </a:lnTo>
                    <a:lnTo>
                      <a:pt x="30" y="462"/>
                    </a:lnTo>
                    <a:lnTo>
                      <a:pt x="42" y="480"/>
                    </a:lnTo>
                    <a:lnTo>
                      <a:pt x="54" y="504"/>
                    </a:lnTo>
                    <a:lnTo>
                      <a:pt x="60" y="510"/>
                    </a:lnTo>
                    <a:lnTo>
                      <a:pt x="60" y="564"/>
                    </a:lnTo>
                    <a:lnTo>
                      <a:pt x="66" y="570"/>
                    </a:lnTo>
                    <a:lnTo>
                      <a:pt x="72" y="570"/>
                    </a:lnTo>
                    <a:lnTo>
                      <a:pt x="84" y="576"/>
                    </a:lnTo>
                    <a:lnTo>
                      <a:pt x="120" y="576"/>
                    </a:lnTo>
                    <a:lnTo>
                      <a:pt x="126" y="582"/>
                    </a:lnTo>
                    <a:lnTo>
                      <a:pt x="138" y="606"/>
                    </a:lnTo>
                    <a:lnTo>
                      <a:pt x="114" y="654"/>
                    </a:lnTo>
                    <a:lnTo>
                      <a:pt x="108" y="660"/>
                    </a:lnTo>
                    <a:lnTo>
                      <a:pt x="102" y="672"/>
                    </a:lnTo>
                    <a:lnTo>
                      <a:pt x="84" y="690"/>
                    </a:lnTo>
                    <a:lnTo>
                      <a:pt x="84" y="702"/>
                    </a:lnTo>
                    <a:lnTo>
                      <a:pt x="120" y="702"/>
                    </a:lnTo>
                    <a:lnTo>
                      <a:pt x="132" y="708"/>
                    </a:lnTo>
                    <a:lnTo>
                      <a:pt x="150" y="720"/>
                    </a:lnTo>
                    <a:lnTo>
                      <a:pt x="168" y="726"/>
                    </a:lnTo>
                    <a:lnTo>
                      <a:pt x="192" y="738"/>
                    </a:lnTo>
                    <a:lnTo>
                      <a:pt x="210" y="738"/>
                    </a:lnTo>
                    <a:lnTo>
                      <a:pt x="228" y="732"/>
                    </a:lnTo>
                    <a:lnTo>
                      <a:pt x="234" y="732"/>
                    </a:lnTo>
                    <a:lnTo>
                      <a:pt x="240" y="726"/>
                    </a:lnTo>
                    <a:lnTo>
                      <a:pt x="294" y="726"/>
                    </a:lnTo>
                    <a:lnTo>
                      <a:pt x="294" y="732"/>
                    </a:lnTo>
                    <a:lnTo>
                      <a:pt x="318" y="732"/>
                    </a:lnTo>
                    <a:lnTo>
                      <a:pt x="324" y="726"/>
                    </a:lnTo>
                    <a:lnTo>
                      <a:pt x="348" y="726"/>
                    </a:lnTo>
                    <a:lnTo>
                      <a:pt x="366" y="720"/>
                    </a:lnTo>
                    <a:lnTo>
                      <a:pt x="396" y="720"/>
                    </a:lnTo>
                    <a:lnTo>
                      <a:pt x="444" y="696"/>
                    </a:lnTo>
                    <a:lnTo>
                      <a:pt x="450" y="696"/>
                    </a:lnTo>
                    <a:lnTo>
                      <a:pt x="456" y="690"/>
                    </a:lnTo>
                    <a:lnTo>
                      <a:pt x="456" y="660"/>
                    </a:lnTo>
                    <a:lnTo>
                      <a:pt x="450" y="654"/>
                    </a:lnTo>
                    <a:lnTo>
                      <a:pt x="450" y="636"/>
                    </a:lnTo>
                    <a:lnTo>
                      <a:pt x="444" y="624"/>
                    </a:lnTo>
                    <a:lnTo>
                      <a:pt x="444" y="606"/>
                    </a:lnTo>
                    <a:lnTo>
                      <a:pt x="450" y="594"/>
                    </a:lnTo>
                    <a:lnTo>
                      <a:pt x="462" y="588"/>
                    </a:lnTo>
                    <a:lnTo>
                      <a:pt x="468" y="576"/>
                    </a:lnTo>
                    <a:lnTo>
                      <a:pt x="486" y="576"/>
                    </a:lnTo>
                    <a:lnTo>
                      <a:pt x="486" y="588"/>
                    </a:lnTo>
                    <a:lnTo>
                      <a:pt x="528" y="588"/>
                    </a:lnTo>
                    <a:lnTo>
                      <a:pt x="534" y="582"/>
                    </a:lnTo>
                    <a:lnTo>
                      <a:pt x="534" y="576"/>
                    </a:lnTo>
                    <a:lnTo>
                      <a:pt x="528" y="570"/>
                    </a:lnTo>
                    <a:lnTo>
                      <a:pt x="522" y="570"/>
                    </a:lnTo>
                    <a:lnTo>
                      <a:pt x="522" y="564"/>
                    </a:lnTo>
                    <a:lnTo>
                      <a:pt x="528" y="558"/>
                    </a:lnTo>
                    <a:lnTo>
                      <a:pt x="534" y="558"/>
                    </a:lnTo>
                    <a:lnTo>
                      <a:pt x="546" y="552"/>
                    </a:lnTo>
                    <a:lnTo>
                      <a:pt x="552" y="546"/>
                    </a:lnTo>
                    <a:lnTo>
                      <a:pt x="564" y="540"/>
                    </a:lnTo>
                    <a:lnTo>
                      <a:pt x="594" y="540"/>
                    </a:lnTo>
                    <a:lnTo>
                      <a:pt x="594" y="552"/>
                    </a:lnTo>
                    <a:lnTo>
                      <a:pt x="600" y="558"/>
                    </a:lnTo>
                    <a:lnTo>
                      <a:pt x="612" y="558"/>
                    </a:lnTo>
                    <a:lnTo>
                      <a:pt x="624" y="552"/>
                    </a:lnTo>
                    <a:lnTo>
                      <a:pt x="630" y="540"/>
                    </a:lnTo>
                    <a:lnTo>
                      <a:pt x="636" y="534"/>
                    </a:lnTo>
                    <a:lnTo>
                      <a:pt x="636" y="528"/>
                    </a:lnTo>
                    <a:lnTo>
                      <a:pt x="630" y="522"/>
                    </a:lnTo>
                    <a:lnTo>
                      <a:pt x="630" y="510"/>
                    </a:lnTo>
                    <a:lnTo>
                      <a:pt x="624" y="498"/>
                    </a:lnTo>
                    <a:lnTo>
                      <a:pt x="624" y="480"/>
                    </a:lnTo>
                    <a:lnTo>
                      <a:pt x="630" y="474"/>
                    </a:lnTo>
                    <a:lnTo>
                      <a:pt x="636" y="474"/>
                    </a:lnTo>
                    <a:lnTo>
                      <a:pt x="636" y="438"/>
                    </a:lnTo>
                    <a:lnTo>
                      <a:pt x="642" y="432"/>
                    </a:lnTo>
                    <a:lnTo>
                      <a:pt x="660" y="432"/>
                    </a:lnTo>
                    <a:lnTo>
                      <a:pt x="690" y="414"/>
                    </a:lnTo>
                    <a:lnTo>
                      <a:pt x="684" y="414"/>
                    </a:lnTo>
                    <a:lnTo>
                      <a:pt x="672" y="408"/>
                    </a:lnTo>
                    <a:lnTo>
                      <a:pt x="672" y="402"/>
                    </a:lnTo>
                    <a:lnTo>
                      <a:pt x="666" y="396"/>
                    </a:lnTo>
                    <a:lnTo>
                      <a:pt x="666" y="390"/>
                    </a:lnTo>
                    <a:lnTo>
                      <a:pt x="654" y="384"/>
                    </a:lnTo>
                    <a:lnTo>
                      <a:pt x="642" y="372"/>
                    </a:lnTo>
                    <a:lnTo>
                      <a:pt x="642" y="360"/>
                    </a:lnTo>
                    <a:lnTo>
                      <a:pt x="660" y="360"/>
                    </a:lnTo>
                    <a:lnTo>
                      <a:pt x="666" y="366"/>
                    </a:lnTo>
                    <a:lnTo>
                      <a:pt x="684" y="372"/>
                    </a:lnTo>
                    <a:lnTo>
                      <a:pt x="690" y="372"/>
                    </a:lnTo>
                    <a:lnTo>
                      <a:pt x="696" y="366"/>
                    </a:lnTo>
                    <a:lnTo>
                      <a:pt x="714" y="366"/>
                    </a:lnTo>
                    <a:lnTo>
                      <a:pt x="714" y="336"/>
                    </a:lnTo>
                    <a:lnTo>
                      <a:pt x="708" y="330"/>
                    </a:lnTo>
                    <a:lnTo>
                      <a:pt x="708" y="318"/>
                    </a:lnTo>
                    <a:lnTo>
                      <a:pt x="714" y="306"/>
                    </a:lnTo>
                    <a:lnTo>
                      <a:pt x="738" y="282"/>
                    </a:lnTo>
                    <a:lnTo>
                      <a:pt x="738" y="276"/>
                    </a:lnTo>
                    <a:lnTo>
                      <a:pt x="732" y="264"/>
                    </a:lnTo>
                    <a:lnTo>
                      <a:pt x="726" y="258"/>
                    </a:lnTo>
                    <a:lnTo>
                      <a:pt x="726" y="228"/>
                    </a:lnTo>
                    <a:lnTo>
                      <a:pt x="696" y="198"/>
                    </a:lnTo>
                    <a:lnTo>
                      <a:pt x="696" y="192"/>
                    </a:lnTo>
                    <a:lnTo>
                      <a:pt x="702" y="186"/>
                    </a:lnTo>
                    <a:lnTo>
                      <a:pt x="708" y="174"/>
                    </a:lnTo>
                    <a:lnTo>
                      <a:pt x="714" y="168"/>
                    </a:lnTo>
                    <a:lnTo>
                      <a:pt x="738" y="156"/>
                    </a:lnTo>
                    <a:lnTo>
                      <a:pt x="744" y="150"/>
                    </a:lnTo>
                    <a:lnTo>
                      <a:pt x="768" y="138"/>
                    </a:lnTo>
                    <a:lnTo>
                      <a:pt x="774" y="138"/>
                    </a:lnTo>
                    <a:lnTo>
                      <a:pt x="780" y="132"/>
                    </a:lnTo>
                    <a:lnTo>
                      <a:pt x="822" y="132"/>
                    </a:lnTo>
                    <a:lnTo>
                      <a:pt x="828" y="126"/>
                    </a:lnTo>
                    <a:lnTo>
                      <a:pt x="852" y="126"/>
                    </a:lnTo>
                    <a:lnTo>
                      <a:pt x="864" y="132"/>
                    </a:lnTo>
                    <a:lnTo>
                      <a:pt x="876" y="132"/>
                    </a:lnTo>
                    <a:lnTo>
                      <a:pt x="882" y="126"/>
                    </a:lnTo>
                    <a:lnTo>
                      <a:pt x="894" y="126"/>
                    </a:lnTo>
                    <a:lnTo>
                      <a:pt x="900" y="120"/>
                    </a:lnTo>
                    <a:lnTo>
                      <a:pt x="894" y="114"/>
                    </a:lnTo>
                    <a:lnTo>
                      <a:pt x="894" y="10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>
                    <a:alpha val="5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4" name="Freeform 8">
                <a:extLst>
                  <a:ext uri="{FF2B5EF4-FFF2-40B4-BE49-F238E27FC236}">
                    <a16:creationId xmlns:a16="http://schemas.microsoft.com/office/drawing/2014/main" id="{BE192C9F-8A23-4CB7-B83F-7C7667192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9004" y="3678096"/>
                <a:ext cx="533854" cy="531005"/>
              </a:xfrm>
              <a:custGeom>
                <a:avLst/>
                <a:gdLst/>
                <a:ahLst/>
                <a:cxnLst>
                  <a:cxn ang="0">
                    <a:pos x="442" y="199"/>
                  </a:cxn>
                  <a:cxn ang="0">
                    <a:pos x="446" y="187"/>
                  </a:cxn>
                  <a:cxn ang="0">
                    <a:pos x="475" y="170"/>
                  </a:cxn>
                  <a:cxn ang="0">
                    <a:pos x="458" y="149"/>
                  </a:cxn>
                  <a:cxn ang="0">
                    <a:pos x="439" y="137"/>
                  </a:cxn>
                  <a:cxn ang="0">
                    <a:pos x="434" y="114"/>
                  </a:cxn>
                  <a:cxn ang="0">
                    <a:pos x="430" y="90"/>
                  </a:cxn>
                  <a:cxn ang="0">
                    <a:pos x="423" y="55"/>
                  </a:cxn>
                  <a:cxn ang="0">
                    <a:pos x="413" y="29"/>
                  </a:cxn>
                  <a:cxn ang="0">
                    <a:pos x="387" y="0"/>
                  </a:cxn>
                  <a:cxn ang="0">
                    <a:pos x="361" y="26"/>
                  </a:cxn>
                  <a:cxn ang="0">
                    <a:pos x="345" y="31"/>
                  </a:cxn>
                  <a:cxn ang="0">
                    <a:pos x="326" y="47"/>
                  </a:cxn>
                  <a:cxn ang="0">
                    <a:pos x="269" y="36"/>
                  </a:cxn>
                  <a:cxn ang="0">
                    <a:pos x="87" y="36"/>
                  </a:cxn>
                  <a:cxn ang="0">
                    <a:pos x="54" y="241"/>
                  </a:cxn>
                  <a:cxn ang="0">
                    <a:pos x="30" y="246"/>
                  </a:cxn>
                  <a:cxn ang="0">
                    <a:pos x="30" y="258"/>
                  </a:cxn>
                  <a:cxn ang="0">
                    <a:pos x="16" y="272"/>
                  </a:cxn>
                  <a:cxn ang="0">
                    <a:pos x="7" y="300"/>
                  </a:cxn>
                  <a:cxn ang="0">
                    <a:pos x="9" y="322"/>
                  </a:cxn>
                  <a:cxn ang="0">
                    <a:pos x="4" y="338"/>
                  </a:cxn>
                  <a:cxn ang="0">
                    <a:pos x="19" y="338"/>
                  </a:cxn>
                  <a:cxn ang="0">
                    <a:pos x="21" y="373"/>
                  </a:cxn>
                  <a:cxn ang="0">
                    <a:pos x="35" y="385"/>
                  </a:cxn>
                  <a:cxn ang="0">
                    <a:pos x="42" y="409"/>
                  </a:cxn>
                  <a:cxn ang="0">
                    <a:pos x="54" y="430"/>
                  </a:cxn>
                  <a:cxn ang="0">
                    <a:pos x="47" y="451"/>
                  </a:cxn>
                  <a:cxn ang="0">
                    <a:pos x="49" y="463"/>
                  </a:cxn>
                  <a:cxn ang="0">
                    <a:pos x="73" y="456"/>
                  </a:cxn>
                  <a:cxn ang="0">
                    <a:pos x="78" y="447"/>
                  </a:cxn>
                  <a:cxn ang="0">
                    <a:pos x="89" y="418"/>
                  </a:cxn>
                  <a:cxn ang="0">
                    <a:pos x="115" y="416"/>
                  </a:cxn>
                  <a:cxn ang="0">
                    <a:pos x="125" y="430"/>
                  </a:cxn>
                  <a:cxn ang="0">
                    <a:pos x="170" y="433"/>
                  </a:cxn>
                  <a:cxn ang="0">
                    <a:pos x="196" y="442"/>
                  </a:cxn>
                  <a:cxn ang="0">
                    <a:pos x="234" y="411"/>
                  </a:cxn>
                  <a:cxn ang="0">
                    <a:pos x="290" y="409"/>
                  </a:cxn>
                  <a:cxn ang="0">
                    <a:pos x="307" y="364"/>
                  </a:cxn>
                  <a:cxn ang="0">
                    <a:pos x="331" y="347"/>
                  </a:cxn>
                  <a:cxn ang="0">
                    <a:pos x="328" y="378"/>
                  </a:cxn>
                  <a:cxn ang="0">
                    <a:pos x="335" y="399"/>
                  </a:cxn>
                  <a:cxn ang="0">
                    <a:pos x="357" y="423"/>
                  </a:cxn>
                  <a:cxn ang="0">
                    <a:pos x="359" y="409"/>
                  </a:cxn>
                  <a:cxn ang="0">
                    <a:pos x="368" y="399"/>
                  </a:cxn>
                  <a:cxn ang="0">
                    <a:pos x="380" y="385"/>
                  </a:cxn>
                  <a:cxn ang="0">
                    <a:pos x="382" y="364"/>
                  </a:cxn>
                  <a:cxn ang="0">
                    <a:pos x="392" y="343"/>
                  </a:cxn>
                  <a:cxn ang="0">
                    <a:pos x="411" y="333"/>
                  </a:cxn>
                  <a:cxn ang="0">
                    <a:pos x="418" y="303"/>
                  </a:cxn>
                  <a:cxn ang="0">
                    <a:pos x="416" y="262"/>
                  </a:cxn>
                  <a:cxn ang="0">
                    <a:pos x="423" y="239"/>
                  </a:cxn>
                  <a:cxn ang="0">
                    <a:pos x="430" y="215"/>
                  </a:cxn>
                </a:cxnLst>
                <a:rect l="0" t="0" r="r" b="b"/>
                <a:pathLst>
                  <a:path w="475" h="466">
                    <a:moveTo>
                      <a:pt x="432" y="208"/>
                    </a:moveTo>
                    <a:lnTo>
                      <a:pt x="434" y="206"/>
                    </a:lnTo>
                    <a:lnTo>
                      <a:pt x="434" y="199"/>
                    </a:lnTo>
                    <a:lnTo>
                      <a:pt x="442" y="199"/>
                    </a:lnTo>
                    <a:lnTo>
                      <a:pt x="444" y="196"/>
                    </a:lnTo>
                    <a:lnTo>
                      <a:pt x="444" y="194"/>
                    </a:lnTo>
                    <a:lnTo>
                      <a:pt x="446" y="192"/>
                    </a:lnTo>
                    <a:lnTo>
                      <a:pt x="446" y="187"/>
                    </a:lnTo>
                    <a:lnTo>
                      <a:pt x="451" y="187"/>
                    </a:lnTo>
                    <a:lnTo>
                      <a:pt x="460" y="184"/>
                    </a:lnTo>
                    <a:lnTo>
                      <a:pt x="470" y="180"/>
                    </a:lnTo>
                    <a:lnTo>
                      <a:pt x="475" y="170"/>
                    </a:lnTo>
                    <a:lnTo>
                      <a:pt x="475" y="166"/>
                    </a:lnTo>
                    <a:lnTo>
                      <a:pt x="460" y="154"/>
                    </a:lnTo>
                    <a:lnTo>
                      <a:pt x="460" y="151"/>
                    </a:lnTo>
                    <a:lnTo>
                      <a:pt x="458" y="149"/>
                    </a:lnTo>
                    <a:lnTo>
                      <a:pt x="458" y="144"/>
                    </a:lnTo>
                    <a:lnTo>
                      <a:pt x="453" y="142"/>
                    </a:lnTo>
                    <a:lnTo>
                      <a:pt x="444" y="142"/>
                    </a:lnTo>
                    <a:lnTo>
                      <a:pt x="439" y="137"/>
                    </a:lnTo>
                    <a:lnTo>
                      <a:pt x="439" y="132"/>
                    </a:lnTo>
                    <a:lnTo>
                      <a:pt x="437" y="125"/>
                    </a:lnTo>
                    <a:lnTo>
                      <a:pt x="437" y="118"/>
                    </a:lnTo>
                    <a:lnTo>
                      <a:pt x="434" y="114"/>
                    </a:lnTo>
                    <a:lnTo>
                      <a:pt x="434" y="107"/>
                    </a:lnTo>
                    <a:lnTo>
                      <a:pt x="432" y="107"/>
                    </a:lnTo>
                    <a:lnTo>
                      <a:pt x="432" y="97"/>
                    </a:lnTo>
                    <a:lnTo>
                      <a:pt x="430" y="90"/>
                    </a:lnTo>
                    <a:lnTo>
                      <a:pt x="430" y="73"/>
                    </a:lnTo>
                    <a:lnTo>
                      <a:pt x="427" y="69"/>
                    </a:lnTo>
                    <a:lnTo>
                      <a:pt x="434" y="66"/>
                    </a:lnTo>
                    <a:lnTo>
                      <a:pt x="423" y="55"/>
                    </a:lnTo>
                    <a:lnTo>
                      <a:pt x="423" y="38"/>
                    </a:lnTo>
                    <a:lnTo>
                      <a:pt x="420" y="33"/>
                    </a:lnTo>
                    <a:lnTo>
                      <a:pt x="418" y="31"/>
                    </a:lnTo>
                    <a:lnTo>
                      <a:pt x="413" y="29"/>
                    </a:lnTo>
                    <a:lnTo>
                      <a:pt x="401" y="17"/>
                    </a:lnTo>
                    <a:lnTo>
                      <a:pt x="397" y="17"/>
                    </a:lnTo>
                    <a:lnTo>
                      <a:pt x="390" y="10"/>
                    </a:lnTo>
                    <a:lnTo>
                      <a:pt x="387" y="0"/>
                    </a:lnTo>
                    <a:lnTo>
                      <a:pt x="378" y="12"/>
                    </a:lnTo>
                    <a:lnTo>
                      <a:pt x="364" y="12"/>
                    </a:lnTo>
                    <a:lnTo>
                      <a:pt x="364" y="21"/>
                    </a:lnTo>
                    <a:lnTo>
                      <a:pt x="361" y="26"/>
                    </a:lnTo>
                    <a:lnTo>
                      <a:pt x="359" y="29"/>
                    </a:lnTo>
                    <a:lnTo>
                      <a:pt x="352" y="29"/>
                    </a:lnTo>
                    <a:lnTo>
                      <a:pt x="349" y="31"/>
                    </a:lnTo>
                    <a:lnTo>
                      <a:pt x="345" y="31"/>
                    </a:lnTo>
                    <a:lnTo>
                      <a:pt x="340" y="36"/>
                    </a:lnTo>
                    <a:lnTo>
                      <a:pt x="335" y="45"/>
                    </a:lnTo>
                    <a:lnTo>
                      <a:pt x="333" y="47"/>
                    </a:lnTo>
                    <a:lnTo>
                      <a:pt x="326" y="47"/>
                    </a:lnTo>
                    <a:lnTo>
                      <a:pt x="323" y="45"/>
                    </a:lnTo>
                    <a:lnTo>
                      <a:pt x="321" y="40"/>
                    </a:lnTo>
                    <a:lnTo>
                      <a:pt x="319" y="38"/>
                    </a:lnTo>
                    <a:lnTo>
                      <a:pt x="269" y="36"/>
                    </a:lnTo>
                    <a:lnTo>
                      <a:pt x="269" y="31"/>
                    </a:lnTo>
                    <a:lnTo>
                      <a:pt x="267" y="31"/>
                    </a:lnTo>
                    <a:lnTo>
                      <a:pt x="260" y="38"/>
                    </a:lnTo>
                    <a:lnTo>
                      <a:pt x="87" y="36"/>
                    </a:lnTo>
                    <a:lnTo>
                      <a:pt x="87" y="99"/>
                    </a:lnTo>
                    <a:lnTo>
                      <a:pt x="56" y="99"/>
                    </a:lnTo>
                    <a:lnTo>
                      <a:pt x="59" y="241"/>
                    </a:lnTo>
                    <a:lnTo>
                      <a:pt x="54" y="241"/>
                    </a:lnTo>
                    <a:lnTo>
                      <a:pt x="49" y="239"/>
                    </a:lnTo>
                    <a:lnTo>
                      <a:pt x="33" y="239"/>
                    </a:lnTo>
                    <a:lnTo>
                      <a:pt x="28" y="244"/>
                    </a:lnTo>
                    <a:lnTo>
                      <a:pt x="30" y="246"/>
                    </a:lnTo>
                    <a:lnTo>
                      <a:pt x="30" y="251"/>
                    </a:lnTo>
                    <a:lnTo>
                      <a:pt x="33" y="253"/>
                    </a:lnTo>
                    <a:lnTo>
                      <a:pt x="33" y="255"/>
                    </a:lnTo>
                    <a:lnTo>
                      <a:pt x="30" y="258"/>
                    </a:lnTo>
                    <a:lnTo>
                      <a:pt x="26" y="260"/>
                    </a:lnTo>
                    <a:lnTo>
                      <a:pt x="21" y="265"/>
                    </a:lnTo>
                    <a:lnTo>
                      <a:pt x="21" y="272"/>
                    </a:lnTo>
                    <a:lnTo>
                      <a:pt x="16" y="272"/>
                    </a:lnTo>
                    <a:lnTo>
                      <a:pt x="19" y="281"/>
                    </a:lnTo>
                    <a:lnTo>
                      <a:pt x="21" y="288"/>
                    </a:lnTo>
                    <a:lnTo>
                      <a:pt x="14" y="293"/>
                    </a:lnTo>
                    <a:lnTo>
                      <a:pt x="7" y="300"/>
                    </a:lnTo>
                    <a:lnTo>
                      <a:pt x="9" y="303"/>
                    </a:lnTo>
                    <a:lnTo>
                      <a:pt x="14" y="312"/>
                    </a:lnTo>
                    <a:lnTo>
                      <a:pt x="14" y="317"/>
                    </a:lnTo>
                    <a:lnTo>
                      <a:pt x="9" y="322"/>
                    </a:lnTo>
                    <a:lnTo>
                      <a:pt x="4" y="324"/>
                    </a:lnTo>
                    <a:lnTo>
                      <a:pt x="0" y="329"/>
                    </a:lnTo>
                    <a:lnTo>
                      <a:pt x="0" y="336"/>
                    </a:lnTo>
                    <a:lnTo>
                      <a:pt x="4" y="338"/>
                    </a:lnTo>
                    <a:lnTo>
                      <a:pt x="9" y="338"/>
                    </a:lnTo>
                    <a:lnTo>
                      <a:pt x="12" y="336"/>
                    </a:lnTo>
                    <a:lnTo>
                      <a:pt x="16" y="336"/>
                    </a:lnTo>
                    <a:lnTo>
                      <a:pt x="19" y="338"/>
                    </a:lnTo>
                    <a:lnTo>
                      <a:pt x="19" y="355"/>
                    </a:lnTo>
                    <a:lnTo>
                      <a:pt x="26" y="362"/>
                    </a:lnTo>
                    <a:lnTo>
                      <a:pt x="19" y="364"/>
                    </a:lnTo>
                    <a:lnTo>
                      <a:pt x="21" y="373"/>
                    </a:lnTo>
                    <a:lnTo>
                      <a:pt x="23" y="373"/>
                    </a:lnTo>
                    <a:lnTo>
                      <a:pt x="28" y="376"/>
                    </a:lnTo>
                    <a:lnTo>
                      <a:pt x="33" y="383"/>
                    </a:lnTo>
                    <a:lnTo>
                      <a:pt x="35" y="385"/>
                    </a:lnTo>
                    <a:lnTo>
                      <a:pt x="35" y="388"/>
                    </a:lnTo>
                    <a:lnTo>
                      <a:pt x="30" y="388"/>
                    </a:lnTo>
                    <a:lnTo>
                      <a:pt x="30" y="397"/>
                    </a:lnTo>
                    <a:lnTo>
                      <a:pt x="42" y="409"/>
                    </a:lnTo>
                    <a:lnTo>
                      <a:pt x="45" y="414"/>
                    </a:lnTo>
                    <a:lnTo>
                      <a:pt x="49" y="418"/>
                    </a:lnTo>
                    <a:lnTo>
                      <a:pt x="52" y="425"/>
                    </a:lnTo>
                    <a:lnTo>
                      <a:pt x="54" y="430"/>
                    </a:lnTo>
                    <a:lnTo>
                      <a:pt x="54" y="442"/>
                    </a:lnTo>
                    <a:lnTo>
                      <a:pt x="52" y="444"/>
                    </a:lnTo>
                    <a:lnTo>
                      <a:pt x="49" y="449"/>
                    </a:lnTo>
                    <a:lnTo>
                      <a:pt x="47" y="451"/>
                    </a:lnTo>
                    <a:lnTo>
                      <a:pt x="47" y="454"/>
                    </a:lnTo>
                    <a:lnTo>
                      <a:pt x="49" y="456"/>
                    </a:lnTo>
                    <a:lnTo>
                      <a:pt x="52" y="456"/>
                    </a:lnTo>
                    <a:lnTo>
                      <a:pt x="49" y="463"/>
                    </a:lnTo>
                    <a:lnTo>
                      <a:pt x="66" y="466"/>
                    </a:lnTo>
                    <a:lnTo>
                      <a:pt x="66" y="461"/>
                    </a:lnTo>
                    <a:lnTo>
                      <a:pt x="68" y="459"/>
                    </a:lnTo>
                    <a:lnTo>
                      <a:pt x="73" y="456"/>
                    </a:lnTo>
                    <a:lnTo>
                      <a:pt x="73" y="456"/>
                    </a:lnTo>
                    <a:lnTo>
                      <a:pt x="73" y="454"/>
                    </a:lnTo>
                    <a:lnTo>
                      <a:pt x="73" y="451"/>
                    </a:lnTo>
                    <a:lnTo>
                      <a:pt x="78" y="447"/>
                    </a:lnTo>
                    <a:lnTo>
                      <a:pt x="78" y="437"/>
                    </a:lnTo>
                    <a:lnTo>
                      <a:pt x="82" y="437"/>
                    </a:lnTo>
                    <a:lnTo>
                      <a:pt x="82" y="428"/>
                    </a:lnTo>
                    <a:lnTo>
                      <a:pt x="89" y="418"/>
                    </a:lnTo>
                    <a:lnTo>
                      <a:pt x="92" y="411"/>
                    </a:lnTo>
                    <a:lnTo>
                      <a:pt x="101" y="409"/>
                    </a:lnTo>
                    <a:lnTo>
                      <a:pt x="113" y="407"/>
                    </a:lnTo>
                    <a:lnTo>
                      <a:pt x="115" y="416"/>
                    </a:lnTo>
                    <a:lnTo>
                      <a:pt x="118" y="418"/>
                    </a:lnTo>
                    <a:lnTo>
                      <a:pt x="123" y="421"/>
                    </a:lnTo>
                    <a:lnTo>
                      <a:pt x="123" y="423"/>
                    </a:lnTo>
                    <a:lnTo>
                      <a:pt x="125" y="430"/>
                    </a:lnTo>
                    <a:lnTo>
                      <a:pt x="127" y="433"/>
                    </a:lnTo>
                    <a:lnTo>
                      <a:pt x="137" y="440"/>
                    </a:lnTo>
                    <a:lnTo>
                      <a:pt x="146" y="435"/>
                    </a:lnTo>
                    <a:lnTo>
                      <a:pt x="170" y="433"/>
                    </a:lnTo>
                    <a:lnTo>
                      <a:pt x="175" y="435"/>
                    </a:lnTo>
                    <a:lnTo>
                      <a:pt x="177" y="442"/>
                    </a:lnTo>
                    <a:lnTo>
                      <a:pt x="177" y="442"/>
                    </a:lnTo>
                    <a:lnTo>
                      <a:pt x="196" y="442"/>
                    </a:lnTo>
                    <a:lnTo>
                      <a:pt x="205" y="430"/>
                    </a:lnTo>
                    <a:lnTo>
                      <a:pt x="219" y="430"/>
                    </a:lnTo>
                    <a:lnTo>
                      <a:pt x="222" y="418"/>
                    </a:lnTo>
                    <a:lnTo>
                      <a:pt x="234" y="411"/>
                    </a:lnTo>
                    <a:lnTo>
                      <a:pt x="250" y="421"/>
                    </a:lnTo>
                    <a:lnTo>
                      <a:pt x="260" y="430"/>
                    </a:lnTo>
                    <a:lnTo>
                      <a:pt x="274" y="430"/>
                    </a:lnTo>
                    <a:lnTo>
                      <a:pt x="290" y="409"/>
                    </a:lnTo>
                    <a:lnTo>
                      <a:pt x="295" y="397"/>
                    </a:lnTo>
                    <a:lnTo>
                      <a:pt x="309" y="388"/>
                    </a:lnTo>
                    <a:lnTo>
                      <a:pt x="307" y="381"/>
                    </a:lnTo>
                    <a:lnTo>
                      <a:pt x="307" y="364"/>
                    </a:lnTo>
                    <a:lnTo>
                      <a:pt x="300" y="357"/>
                    </a:lnTo>
                    <a:lnTo>
                      <a:pt x="319" y="357"/>
                    </a:lnTo>
                    <a:lnTo>
                      <a:pt x="319" y="350"/>
                    </a:lnTo>
                    <a:lnTo>
                      <a:pt x="331" y="347"/>
                    </a:lnTo>
                    <a:lnTo>
                      <a:pt x="328" y="357"/>
                    </a:lnTo>
                    <a:lnTo>
                      <a:pt x="328" y="366"/>
                    </a:lnTo>
                    <a:lnTo>
                      <a:pt x="326" y="369"/>
                    </a:lnTo>
                    <a:lnTo>
                      <a:pt x="328" y="378"/>
                    </a:lnTo>
                    <a:lnTo>
                      <a:pt x="331" y="385"/>
                    </a:lnTo>
                    <a:lnTo>
                      <a:pt x="331" y="390"/>
                    </a:lnTo>
                    <a:lnTo>
                      <a:pt x="328" y="395"/>
                    </a:lnTo>
                    <a:lnTo>
                      <a:pt x="335" y="399"/>
                    </a:lnTo>
                    <a:lnTo>
                      <a:pt x="345" y="407"/>
                    </a:lnTo>
                    <a:lnTo>
                      <a:pt x="352" y="414"/>
                    </a:lnTo>
                    <a:lnTo>
                      <a:pt x="354" y="418"/>
                    </a:lnTo>
                    <a:lnTo>
                      <a:pt x="357" y="423"/>
                    </a:lnTo>
                    <a:lnTo>
                      <a:pt x="359" y="423"/>
                    </a:lnTo>
                    <a:lnTo>
                      <a:pt x="361" y="421"/>
                    </a:lnTo>
                    <a:lnTo>
                      <a:pt x="361" y="414"/>
                    </a:lnTo>
                    <a:lnTo>
                      <a:pt x="359" y="409"/>
                    </a:lnTo>
                    <a:lnTo>
                      <a:pt x="359" y="402"/>
                    </a:lnTo>
                    <a:lnTo>
                      <a:pt x="366" y="395"/>
                    </a:lnTo>
                    <a:lnTo>
                      <a:pt x="368" y="395"/>
                    </a:lnTo>
                    <a:lnTo>
                      <a:pt x="368" y="399"/>
                    </a:lnTo>
                    <a:lnTo>
                      <a:pt x="371" y="402"/>
                    </a:lnTo>
                    <a:lnTo>
                      <a:pt x="378" y="402"/>
                    </a:lnTo>
                    <a:lnTo>
                      <a:pt x="380" y="399"/>
                    </a:lnTo>
                    <a:lnTo>
                      <a:pt x="380" y="385"/>
                    </a:lnTo>
                    <a:lnTo>
                      <a:pt x="378" y="383"/>
                    </a:lnTo>
                    <a:lnTo>
                      <a:pt x="378" y="381"/>
                    </a:lnTo>
                    <a:lnTo>
                      <a:pt x="382" y="373"/>
                    </a:lnTo>
                    <a:lnTo>
                      <a:pt x="382" y="364"/>
                    </a:lnTo>
                    <a:lnTo>
                      <a:pt x="385" y="362"/>
                    </a:lnTo>
                    <a:lnTo>
                      <a:pt x="390" y="362"/>
                    </a:lnTo>
                    <a:lnTo>
                      <a:pt x="392" y="357"/>
                    </a:lnTo>
                    <a:lnTo>
                      <a:pt x="392" y="343"/>
                    </a:lnTo>
                    <a:lnTo>
                      <a:pt x="394" y="340"/>
                    </a:lnTo>
                    <a:lnTo>
                      <a:pt x="397" y="336"/>
                    </a:lnTo>
                    <a:lnTo>
                      <a:pt x="399" y="333"/>
                    </a:lnTo>
                    <a:lnTo>
                      <a:pt x="411" y="333"/>
                    </a:lnTo>
                    <a:lnTo>
                      <a:pt x="411" y="314"/>
                    </a:lnTo>
                    <a:lnTo>
                      <a:pt x="413" y="310"/>
                    </a:lnTo>
                    <a:lnTo>
                      <a:pt x="416" y="307"/>
                    </a:lnTo>
                    <a:lnTo>
                      <a:pt x="418" y="303"/>
                    </a:lnTo>
                    <a:lnTo>
                      <a:pt x="420" y="300"/>
                    </a:lnTo>
                    <a:lnTo>
                      <a:pt x="420" y="284"/>
                    </a:lnTo>
                    <a:lnTo>
                      <a:pt x="418" y="265"/>
                    </a:lnTo>
                    <a:lnTo>
                      <a:pt x="416" y="262"/>
                    </a:lnTo>
                    <a:lnTo>
                      <a:pt x="416" y="255"/>
                    </a:lnTo>
                    <a:lnTo>
                      <a:pt x="420" y="253"/>
                    </a:lnTo>
                    <a:lnTo>
                      <a:pt x="423" y="253"/>
                    </a:lnTo>
                    <a:lnTo>
                      <a:pt x="423" y="239"/>
                    </a:lnTo>
                    <a:lnTo>
                      <a:pt x="425" y="239"/>
                    </a:lnTo>
                    <a:lnTo>
                      <a:pt x="427" y="236"/>
                    </a:lnTo>
                    <a:lnTo>
                      <a:pt x="430" y="232"/>
                    </a:lnTo>
                    <a:lnTo>
                      <a:pt x="430" y="215"/>
                    </a:lnTo>
                    <a:lnTo>
                      <a:pt x="427" y="213"/>
                    </a:lnTo>
                    <a:lnTo>
                      <a:pt x="427" y="208"/>
                    </a:lnTo>
                    <a:lnTo>
                      <a:pt x="432" y="20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5" name="Freeform 9">
                <a:extLst>
                  <a:ext uri="{FF2B5EF4-FFF2-40B4-BE49-F238E27FC236}">
                    <a16:creationId xmlns:a16="http://schemas.microsoft.com/office/drawing/2014/main" id="{EB37F355-762E-4B47-B831-15160E986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3180" y="4073503"/>
                <a:ext cx="384375" cy="325897"/>
              </a:xfrm>
              <a:custGeom>
                <a:avLst/>
                <a:gdLst/>
                <a:ahLst/>
                <a:cxnLst>
                  <a:cxn ang="0">
                    <a:pos x="269" y="52"/>
                  </a:cxn>
                  <a:cxn ang="0">
                    <a:pos x="265" y="38"/>
                  </a:cxn>
                  <a:cxn ang="0">
                    <a:pos x="262" y="19"/>
                  </a:cxn>
                  <a:cxn ang="0">
                    <a:pos x="253" y="3"/>
                  </a:cxn>
                  <a:cxn ang="0">
                    <a:pos x="241" y="17"/>
                  </a:cxn>
                  <a:cxn ang="0">
                    <a:pos x="229" y="50"/>
                  </a:cxn>
                  <a:cxn ang="0">
                    <a:pos x="194" y="83"/>
                  </a:cxn>
                  <a:cxn ang="0">
                    <a:pos x="156" y="71"/>
                  </a:cxn>
                  <a:cxn ang="0">
                    <a:pos x="130" y="95"/>
                  </a:cxn>
                  <a:cxn ang="0">
                    <a:pos x="109" y="88"/>
                  </a:cxn>
                  <a:cxn ang="0">
                    <a:pos x="71" y="93"/>
                  </a:cxn>
                  <a:cxn ang="0">
                    <a:pos x="57" y="76"/>
                  </a:cxn>
                  <a:cxn ang="0">
                    <a:pos x="49" y="69"/>
                  </a:cxn>
                  <a:cxn ang="0">
                    <a:pos x="26" y="64"/>
                  </a:cxn>
                  <a:cxn ang="0">
                    <a:pos x="16" y="90"/>
                  </a:cxn>
                  <a:cxn ang="0">
                    <a:pos x="7" y="104"/>
                  </a:cxn>
                  <a:cxn ang="0">
                    <a:pos x="7" y="109"/>
                  </a:cxn>
                  <a:cxn ang="0">
                    <a:pos x="0" y="119"/>
                  </a:cxn>
                  <a:cxn ang="0">
                    <a:pos x="12" y="135"/>
                  </a:cxn>
                  <a:cxn ang="0">
                    <a:pos x="28" y="142"/>
                  </a:cxn>
                  <a:cxn ang="0">
                    <a:pos x="38" y="152"/>
                  </a:cxn>
                  <a:cxn ang="0">
                    <a:pos x="33" y="154"/>
                  </a:cxn>
                  <a:cxn ang="0">
                    <a:pos x="42" y="164"/>
                  </a:cxn>
                  <a:cxn ang="0">
                    <a:pos x="54" y="173"/>
                  </a:cxn>
                  <a:cxn ang="0">
                    <a:pos x="59" y="182"/>
                  </a:cxn>
                  <a:cxn ang="0">
                    <a:pos x="68" y="190"/>
                  </a:cxn>
                  <a:cxn ang="0">
                    <a:pos x="68" y="197"/>
                  </a:cxn>
                  <a:cxn ang="0">
                    <a:pos x="83" y="208"/>
                  </a:cxn>
                  <a:cxn ang="0">
                    <a:pos x="92" y="218"/>
                  </a:cxn>
                  <a:cxn ang="0">
                    <a:pos x="106" y="241"/>
                  </a:cxn>
                  <a:cxn ang="0">
                    <a:pos x="127" y="258"/>
                  </a:cxn>
                  <a:cxn ang="0">
                    <a:pos x="137" y="251"/>
                  </a:cxn>
                  <a:cxn ang="0">
                    <a:pos x="146" y="258"/>
                  </a:cxn>
                  <a:cxn ang="0">
                    <a:pos x="156" y="251"/>
                  </a:cxn>
                  <a:cxn ang="0">
                    <a:pos x="168" y="251"/>
                  </a:cxn>
                  <a:cxn ang="0">
                    <a:pos x="177" y="267"/>
                  </a:cxn>
                  <a:cxn ang="0">
                    <a:pos x="187" y="272"/>
                  </a:cxn>
                  <a:cxn ang="0">
                    <a:pos x="203" y="275"/>
                  </a:cxn>
                  <a:cxn ang="0">
                    <a:pos x="215" y="279"/>
                  </a:cxn>
                  <a:cxn ang="0">
                    <a:pos x="222" y="275"/>
                  </a:cxn>
                  <a:cxn ang="0">
                    <a:pos x="243" y="277"/>
                  </a:cxn>
                  <a:cxn ang="0">
                    <a:pos x="262" y="272"/>
                  </a:cxn>
                  <a:cxn ang="0">
                    <a:pos x="274" y="277"/>
                  </a:cxn>
                  <a:cxn ang="0">
                    <a:pos x="283" y="265"/>
                  </a:cxn>
                  <a:cxn ang="0">
                    <a:pos x="295" y="251"/>
                  </a:cxn>
                  <a:cxn ang="0">
                    <a:pos x="340" y="239"/>
                  </a:cxn>
                  <a:cxn ang="0">
                    <a:pos x="335" y="225"/>
                  </a:cxn>
                  <a:cxn ang="0">
                    <a:pos x="316" y="208"/>
                  </a:cxn>
                  <a:cxn ang="0">
                    <a:pos x="312" y="185"/>
                  </a:cxn>
                  <a:cxn ang="0">
                    <a:pos x="293" y="175"/>
                  </a:cxn>
                  <a:cxn ang="0">
                    <a:pos x="286" y="159"/>
                  </a:cxn>
                  <a:cxn ang="0">
                    <a:pos x="276" y="149"/>
                  </a:cxn>
                  <a:cxn ang="0">
                    <a:pos x="260" y="147"/>
                  </a:cxn>
                  <a:cxn ang="0">
                    <a:pos x="265" y="135"/>
                  </a:cxn>
                  <a:cxn ang="0">
                    <a:pos x="279" y="128"/>
                  </a:cxn>
                  <a:cxn ang="0">
                    <a:pos x="288" y="123"/>
                  </a:cxn>
                  <a:cxn ang="0">
                    <a:pos x="291" y="100"/>
                  </a:cxn>
                  <a:cxn ang="0">
                    <a:pos x="286" y="88"/>
                  </a:cxn>
                  <a:cxn ang="0">
                    <a:pos x="291" y="76"/>
                  </a:cxn>
                </a:cxnLst>
                <a:rect l="0" t="0" r="r" b="b"/>
                <a:pathLst>
                  <a:path w="342" h="286">
                    <a:moveTo>
                      <a:pt x="286" y="67"/>
                    </a:moveTo>
                    <a:lnTo>
                      <a:pt x="279" y="60"/>
                    </a:lnTo>
                    <a:lnTo>
                      <a:pt x="269" y="52"/>
                    </a:lnTo>
                    <a:lnTo>
                      <a:pt x="262" y="48"/>
                    </a:lnTo>
                    <a:lnTo>
                      <a:pt x="265" y="43"/>
                    </a:lnTo>
                    <a:lnTo>
                      <a:pt x="265" y="38"/>
                    </a:lnTo>
                    <a:lnTo>
                      <a:pt x="262" y="31"/>
                    </a:lnTo>
                    <a:lnTo>
                      <a:pt x="260" y="22"/>
                    </a:lnTo>
                    <a:lnTo>
                      <a:pt x="262" y="19"/>
                    </a:lnTo>
                    <a:lnTo>
                      <a:pt x="262" y="10"/>
                    </a:lnTo>
                    <a:lnTo>
                      <a:pt x="265" y="0"/>
                    </a:lnTo>
                    <a:lnTo>
                      <a:pt x="253" y="3"/>
                    </a:lnTo>
                    <a:lnTo>
                      <a:pt x="253" y="10"/>
                    </a:lnTo>
                    <a:lnTo>
                      <a:pt x="234" y="10"/>
                    </a:lnTo>
                    <a:lnTo>
                      <a:pt x="241" y="17"/>
                    </a:lnTo>
                    <a:lnTo>
                      <a:pt x="241" y="34"/>
                    </a:lnTo>
                    <a:lnTo>
                      <a:pt x="243" y="41"/>
                    </a:lnTo>
                    <a:lnTo>
                      <a:pt x="229" y="50"/>
                    </a:lnTo>
                    <a:lnTo>
                      <a:pt x="224" y="62"/>
                    </a:lnTo>
                    <a:lnTo>
                      <a:pt x="208" y="83"/>
                    </a:lnTo>
                    <a:lnTo>
                      <a:pt x="194" y="83"/>
                    </a:lnTo>
                    <a:lnTo>
                      <a:pt x="184" y="74"/>
                    </a:lnTo>
                    <a:lnTo>
                      <a:pt x="168" y="64"/>
                    </a:lnTo>
                    <a:lnTo>
                      <a:pt x="156" y="71"/>
                    </a:lnTo>
                    <a:lnTo>
                      <a:pt x="153" y="83"/>
                    </a:lnTo>
                    <a:lnTo>
                      <a:pt x="139" y="83"/>
                    </a:lnTo>
                    <a:lnTo>
                      <a:pt x="130" y="95"/>
                    </a:lnTo>
                    <a:lnTo>
                      <a:pt x="111" y="95"/>
                    </a:lnTo>
                    <a:lnTo>
                      <a:pt x="111" y="95"/>
                    </a:lnTo>
                    <a:lnTo>
                      <a:pt x="109" y="88"/>
                    </a:lnTo>
                    <a:lnTo>
                      <a:pt x="104" y="86"/>
                    </a:lnTo>
                    <a:lnTo>
                      <a:pt x="80" y="88"/>
                    </a:lnTo>
                    <a:lnTo>
                      <a:pt x="71" y="93"/>
                    </a:lnTo>
                    <a:lnTo>
                      <a:pt x="61" y="86"/>
                    </a:lnTo>
                    <a:lnTo>
                      <a:pt x="59" y="83"/>
                    </a:lnTo>
                    <a:lnTo>
                      <a:pt x="57" y="76"/>
                    </a:lnTo>
                    <a:lnTo>
                      <a:pt x="57" y="74"/>
                    </a:lnTo>
                    <a:lnTo>
                      <a:pt x="52" y="71"/>
                    </a:lnTo>
                    <a:lnTo>
                      <a:pt x="49" y="69"/>
                    </a:lnTo>
                    <a:lnTo>
                      <a:pt x="47" y="60"/>
                    </a:lnTo>
                    <a:lnTo>
                      <a:pt x="35" y="62"/>
                    </a:lnTo>
                    <a:lnTo>
                      <a:pt x="26" y="64"/>
                    </a:lnTo>
                    <a:lnTo>
                      <a:pt x="23" y="71"/>
                    </a:lnTo>
                    <a:lnTo>
                      <a:pt x="16" y="81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100"/>
                    </a:lnTo>
                    <a:lnTo>
                      <a:pt x="7" y="104"/>
                    </a:lnTo>
                    <a:lnTo>
                      <a:pt x="7" y="107"/>
                    </a:lnTo>
                    <a:lnTo>
                      <a:pt x="7" y="109"/>
                    </a:lnTo>
                    <a:lnTo>
                      <a:pt x="7" y="109"/>
                    </a:lnTo>
                    <a:lnTo>
                      <a:pt x="2" y="112"/>
                    </a:lnTo>
                    <a:lnTo>
                      <a:pt x="0" y="114"/>
                    </a:lnTo>
                    <a:lnTo>
                      <a:pt x="0" y="119"/>
                    </a:lnTo>
                    <a:lnTo>
                      <a:pt x="2" y="119"/>
                    </a:lnTo>
                    <a:lnTo>
                      <a:pt x="2" y="130"/>
                    </a:lnTo>
                    <a:lnTo>
                      <a:pt x="12" y="135"/>
                    </a:lnTo>
                    <a:lnTo>
                      <a:pt x="26" y="135"/>
                    </a:lnTo>
                    <a:lnTo>
                      <a:pt x="26" y="142"/>
                    </a:lnTo>
                    <a:lnTo>
                      <a:pt x="28" y="142"/>
                    </a:lnTo>
                    <a:lnTo>
                      <a:pt x="33" y="145"/>
                    </a:lnTo>
                    <a:lnTo>
                      <a:pt x="38" y="149"/>
                    </a:lnTo>
                    <a:lnTo>
                      <a:pt x="38" y="152"/>
                    </a:lnTo>
                    <a:lnTo>
                      <a:pt x="35" y="152"/>
                    </a:lnTo>
                    <a:lnTo>
                      <a:pt x="35" y="154"/>
                    </a:lnTo>
                    <a:lnTo>
                      <a:pt x="33" y="154"/>
                    </a:lnTo>
                    <a:lnTo>
                      <a:pt x="33" y="156"/>
                    </a:lnTo>
                    <a:lnTo>
                      <a:pt x="38" y="161"/>
                    </a:lnTo>
                    <a:lnTo>
                      <a:pt x="42" y="164"/>
                    </a:lnTo>
                    <a:lnTo>
                      <a:pt x="45" y="164"/>
                    </a:lnTo>
                    <a:lnTo>
                      <a:pt x="49" y="166"/>
                    </a:lnTo>
                    <a:lnTo>
                      <a:pt x="54" y="173"/>
                    </a:lnTo>
                    <a:lnTo>
                      <a:pt x="57" y="178"/>
                    </a:lnTo>
                    <a:lnTo>
                      <a:pt x="59" y="180"/>
                    </a:lnTo>
                    <a:lnTo>
                      <a:pt x="59" y="182"/>
                    </a:lnTo>
                    <a:lnTo>
                      <a:pt x="66" y="182"/>
                    </a:lnTo>
                    <a:lnTo>
                      <a:pt x="68" y="185"/>
                    </a:lnTo>
                    <a:lnTo>
                      <a:pt x="68" y="190"/>
                    </a:lnTo>
                    <a:lnTo>
                      <a:pt x="64" y="190"/>
                    </a:lnTo>
                    <a:lnTo>
                      <a:pt x="64" y="192"/>
                    </a:lnTo>
                    <a:lnTo>
                      <a:pt x="68" y="197"/>
                    </a:lnTo>
                    <a:lnTo>
                      <a:pt x="68" y="204"/>
                    </a:lnTo>
                    <a:lnTo>
                      <a:pt x="80" y="206"/>
                    </a:lnTo>
                    <a:lnTo>
                      <a:pt x="83" y="208"/>
                    </a:lnTo>
                    <a:lnTo>
                      <a:pt x="87" y="211"/>
                    </a:lnTo>
                    <a:lnTo>
                      <a:pt x="90" y="213"/>
                    </a:lnTo>
                    <a:lnTo>
                      <a:pt x="92" y="218"/>
                    </a:lnTo>
                    <a:lnTo>
                      <a:pt x="92" y="227"/>
                    </a:lnTo>
                    <a:lnTo>
                      <a:pt x="94" y="232"/>
                    </a:lnTo>
                    <a:lnTo>
                      <a:pt x="106" y="241"/>
                    </a:lnTo>
                    <a:lnTo>
                      <a:pt x="106" y="251"/>
                    </a:lnTo>
                    <a:lnTo>
                      <a:pt x="125" y="260"/>
                    </a:lnTo>
                    <a:lnTo>
                      <a:pt x="127" y="258"/>
                    </a:lnTo>
                    <a:lnTo>
                      <a:pt x="130" y="253"/>
                    </a:lnTo>
                    <a:lnTo>
                      <a:pt x="132" y="251"/>
                    </a:lnTo>
                    <a:lnTo>
                      <a:pt x="137" y="251"/>
                    </a:lnTo>
                    <a:lnTo>
                      <a:pt x="142" y="253"/>
                    </a:lnTo>
                    <a:lnTo>
                      <a:pt x="142" y="256"/>
                    </a:lnTo>
                    <a:lnTo>
                      <a:pt x="146" y="258"/>
                    </a:lnTo>
                    <a:lnTo>
                      <a:pt x="149" y="258"/>
                    </a:lnTo>
                    <a:lnTo>
                      <a:pt x="156" y="253"/>
                    </a:lnTo>
                    <a:lnTo>
                      <a:pt x="156" y="251"/>
                    </a:lnTo>
                    <a:lnTo>
                      <a:pt x="161" y="246"/>
                    </a:lnTo>
                    <a:lnTo>
                      <a:pt x="163" y="249"/>
                    </a:lnTo>
                    <a:lnTo>
                      <a:pt x="168" y="251"/>
                    </a:lnTo>
                    <a:lnTo>
                      <a:pt x="170" y="258"/>
                    </a:lnTo>
                    <a:lnTo>
                      <a:pt x="172" y="263"/>
                    </a:lnTo>
                    <a:lnTo>
                      <a:pt x="177" y="267"/>
                    </a:lnTo>
                    <a:lnTo>
                      <a:pt x="182" y="270"/>
                    </a:lnTo>
                    <a:lnTo>
                      <a:pt x="184" y="272"/>
                    </a:lnTo>
                    <a:lnTo>
                      <a:pt x="187" y="272"/>
                    </a:lnTo>
                    <a:lnTo>
                      <a:pt x="189" y="282"/>
                    </a:lnTo>
                    <a:lnTo>
                      <a:pt x="196" y="282"/>
                    </a:lnTo>
                    <a:lnTo>
                      <a:pt x="203" y="275"/>
                    </a:lnTo>
                    <a:lnTo>
                      <a:pt x="208" y="275"/>
                    </a:lnTo>
                    <a:lnTo>
                      <a:pt x="210" y="277"/>
                    </a:lnTo>
                    <a:lnTo>
                      <a:pt x="215" y="279"/>
                    </a:lnTo>
                    <a:lnTo>
                      <a:pt x="220" y="279"/>
                    </a:lnTo>
                    <a:lnTo>
                      <a:pt x="220" y="277"/>
                    </a:lnTo>
                    <a:lnTo>
                      <a:pt x="222" y="275"/>
                    </a:lnTo>
                    <a:lnTo>
                      <a:pt x="224" y="275"/>
                    </a:lnTo>
                    <a:lnTo>
                      <a:pt x="236" y="286"/>
                    </a:lnTo>
                    <a:lnTo>
                      <a:pt x="243" y="277"/>
                    </a:lnTo>
                    <a:lnTo>
                      <a:pt x="253" y="277"/>
                    </a:lnTo>
                    <a:lnTo>
                      <a:pt x="257" y="272"/>
                    </a:lnTo>
                    <a:lnTo>
                      <a:pt x="262" y="272"/>
                    </a:lnTo>
                    <a:lnTo>
                      <a:pt x="262" y="275"/>
                    </a:lnTo>
                    <a:lnTo>
                      <a:pt x="265" y="277"/>
                    </a:lnTo>
                    <a:lnTo>
                      <a:pt x="274" y="277"/>
                    </a:lnTo>
                    <a:lnTo>
                      <a:pt x="281" y="270"/>
                    </a:lnTo>
                    <a:lnTo>
                      <a:pt x="281" y="267"/>
                    </a:lnTo>
                    <a:lnTo>
                      <a:pt x="283" y="265"/>
                    </a:lnTo>
                    <a:lnTo>
                      <a:pt x="283" y="263"/>
                    </a:lnTo>
                    <a:lnTo>
                      <a:pt x="288" y="263"/>
                    </a:lnTo>
                    <a:lnTo>
                      <a:pt x="295" y="251"/>
                    </a:lnTo>
                    <a:lnTo>
                      <a:pt x="333" y="251"/>
                    </a:lnTo>
                    <a:lnTo>
                      <a:pt x="342" y="246"/>
                    </a:lnTo>
                    <a:lnTo>
                      <a:pt x="340" y="239"/>
                    </a:lnTo>
                    <a:lnTo>
                      <a:pt x="340" y="232"/>
                    </a:lnTo>
                    <a:lnTo>
                      <a:pt x="338" y="227"/>
                    </a:lnTo>
                    <a:lnTo>
                      <a:pt x="335" y="225"/>
                    </a:lnTo>
                    <a:lnTo>
                      <a:pt x="328" y="225"/>
                    </a:lnTo>
                    <a:lnTo>
                      <a:pt x="324" y="223"/>
                    </a:lnTo>
                    <a:lnTo>
                      <a:pt x="316" y="208"/>
                    </a:lnTo>
                    <a:lnTo>
                      <a:pt x="316" y="201"/>
                    </a:lnTo>
                    <a:lnTo>
                      <a:pt x="312" y="199"/>
                    </a:lnTo>
                    <a:lnTo>
                      <a:pt x="312" y="185"/>
                    </a:lnTo>
                    <a:lnTo>
                      <a:pt x="305" y="185"/>
                    </a:lnTo>
                    <a:lnTo>
                      <a:pt x="302" y="175"/>
                    </a:lnTo>
                    <a:lnTo>
                      <a:pt x="293" y="175"/>
                    </a:lnTo>
                    <a:lnTo>
                      <a:pt x="291" y="168"/>
                    </a:lnTo>
                    <a:lnTo>
                      <a:pt x="291" y="161"/>
                    </a:lnTo>
                    <a:lnTo>
                      <a:pt x="286" y="159"/>
                    </a:lnTo>
                    <a:lnTo>
                      <a:pt x="283" y="154"/>
                    </a:lnTo>
                    <a:lnTo>
                      <a:pt x="279" y="152"/>
                    </a:lnTo>
                    <a:lnTo>
                      <a:pt x="276" y="149"/>
                    </a:lnTo>
                    <a:lnTo>
                      <a:pt x="267" y="149"/>
                    </a:lnTo>
                    <a:lnTo>
                      <a:pt x="262" y="147"/>
                    </a:lnTo>
                    <a:lnTo>
                      <a:pt x="260" y="147"/>
                    </a:lnTo>
                    <a:lnTo>
                      <a:pt x="260" y="142"/>
                    </a:lnTo>
                    <a:lnTo>
                      <a:pt x="262" y="138"/>
                    </a:lnTo>
                    <a:lnTo>
                      <a:pt x="265" y="135"/>
                    </a:lnTo>
                    <a:lnTo>
                      <a:pt x="262" y="126"/>
                    </a:lnTo>
                    <a:lnTo>
                      <a:pt x="276" y="126"/>
                    </a:lnTo>
                    <a:lnTo>
                      <a:pt x="279" y="128"/>
                    </a:lnTo>
                    <a:lnTo>
                      <a:pt x="281" y="126"/>
                    </a:lnTo>
                    <a:lnTo>
                      <a:pt x="286" y="126"/>
                    </a:lnTo>
                    <a:lnTo>
                      <a:pt x="288" y="123"/>
                    </a:lnTo>
                    <a:lnTo>
                      <a:pt x="288" y="119"/>
                    </a:lnTo>
                    <a:lnTo>
                      <a:pt x="291" y="114"/>
                    </a:lnTo>
                    <a:lnTo>
                      <a:pt x="291" y="100"/>
                    </a:lnTo>
                    <a:lnTo>
                      <a:pt x="288" y="97"/>
                    </a:lnTo>
                    <a:lnTo>
                      <a:pt x="288" y="93"/>
                    </a:lnTo>
                    <a:lnTo>
                      <a:pt x="286" y="88"/>
                    </a:lnTo>
                    <a:lnTo>
                      <a:pt x="286" y="83"/>
                    </a:lnTo>
                    <a:lnTo>
                      <a:pt x="288" y="78"/>
                    </a:lnTo>
                    <a:lnTo>
                      <a:pt x="291" y="76"/>
                    </a:lnTo>
                    <a:lnTo>
                      <a:pt x="288" y="71"/>
                    </a:lnTo>
                    <a:lnTo>
                      <a:pt x="286" y="67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6" name="Myanma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BB2E4F5-04F6-4DE5-BCEB-BF1CDA64A8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02581" y="3488449"/>
                <a:ext cx="281294" cy="673135"/>
              </a:xfrm>
              <a:custGeom>
                <a:avLst/>
                <a:gdLst>
                  <a:gd name="T0" fmla="*/ 2147483647 w 636"/>
                  <a:gd name="T1" fmla="*/ 2147483647 h 1500"/>
                  <a:gd name="T2" fmla="*/ 2147483647 w 636"/>
                  <a:gd name="T3" fmla="*/ 2147483647 h 1500"/>
                  <a:gd name="T4" fmla="*/ 2147483647 w 636"/>
                  <a:gd name="T5" fmla="*/ 2147483647 h 1500"/>
                  <a:gd name="T6" fmla="*/ 2147483647 w 636"/>
                  <a:gd name="T7" fmla="*/ 2147483647 h 1500"/>
                  <a:gd name="T8" fmla="*/ 2147483647 w 636"/>
                  <a:gd name="T9" fmla="*/ 2147483647 h 1500"/>
                  <a:gd name="T10" fmla="*/ 2147483647 w 636"/>
                  <a:gd name="T11" fmla="*/ 2147483647 h 1500"/>
                  <a:gd name="T12" fmla="*/ 2147483647 w 636"/>
                  <a:gd name="T13" fmla="*/ 2147483647 h 1500"/>
                  <a:gd name="T14" fmla="*/ 2147483647 w 636"/>
                  <a:gd name="T15" fmla="*/ 2147483647 h 1500"/>
                  <a:gd name="T16" fmla="*/ 2147483647 w 636"/>
                  <a:gd name="T17" fmla="*/ 2147483647 h 1500"/>
                  <a:gd name="T18" fmla="*/ 2147483647 w 636"/>
                  <a:gd name="T19" fmla="*/ 2147483647 h 1500"/>
                  <a:gd name="T20" fmla="*/ 2147483647 w 636"/>
                  <a:gd name="T21" fmla="*/ 2147483647 h 1500"/>
                  <a:gd name="T22" fmla="*/ 2147483647 w 636"/>
                  <a:gd name="T23" fmla="*/ 2147483647 h 1500"/>
                  <a:gd name="T24" fmla="*/ 2147483647 w 636"/>
                  <a:gd name="T25" fmla="*/ 2147483647 h 1500"/>
                  <a:gd name="T26" fmla="*/ 2147483647 w 636"/>
                  <a:gd name="T27" fmla="*/ 2147483647 h 1500"/>
                  <a:gd name="T28" fmla="*/ 2147483647 w 636"/>
                  <a:gd name="T29" fmla="*/ 2147483647 h 1500"/>
                  <a:gd name="T30" fmla="*/ 2147483647 w 636"/>
                  <a:gd name="T31" fmla="*/ 2147483647 h 1500"/>
                  <a:gd name="T32" fmla="*/ 2147483647 w 636"/>
                  <a:gd name="T33" fmla="*/ 2147483647 h 1500"/>
                  <a:gd name="T34" fmla="*/ 2147483647 w 636"/>
                  <a:gd name="T35" fmla="*/ 2147483647 h 1500"/>
                  <a:gd name="T36" fmla="*/ 2147483647 w 636"/>
                  <a:gd name="T37" fmla="*/ 2147483647 h 1500"/>
                  <a:gd name="T38" fmla="*/ 2147483647 w 636"/>
                  <a:gd name="T39" fmla="*/ 2147483647 h 1500"/>
                  <a:gd name="T40" fmla="*/ 2147483647 w 636"/>
                  <a:gd name="T41" fmla="*/ 2147483647 h 1500"/>
                  <a:gd name="T42" fmla="*/ 2147483647 w 636"/>
                  <a:gd name="T43" fmla="*/ 2147483647 h 1500"/>
                  <a:gd name="T44" fmla="*/ 2147483647 w 636"/>
                  <a:gd name="T45" fmla="*/ 2147483647 h 1500"/>
                  <a:gd name="T46" fmla="*/ 2147483647 w 636"/>
                  <a:gd name="T47" fmla="*/ 2147483647 h 1500"/>
                  <a:gd name="T48" fmla="*/ 2147483647 w 636"/>
                  <a:gd name="T49" fmla="*/ 2147483647 h 1500"/>
                  <a:gd name="T50" fmla="*/ 2147483647 w 636"/>
                  <a:gd name="T51" fmla="*/ 2147483647 h 1500"/>
                  <a:gd name="T52" fmla="*/ 2147483647 w 636"/>
                  <a:gd name="T53" fmla="*/ 2147483647 h 1500"/>
                  <a:gd name="T54" fmla="*/ 2147483647 w 636"/>
                  <a:gd name="T55" fmla="*/ 2147483647 h 1500"/>
                  <a:gd name="T56" fmla="*/ 2147483647 w 636"/>
                  <a:gd name="T57" fmla="*/ 2147483647 h 1500"/>
                  <a:gd name="T58" fmla="*/ 2147483647 w 636"/>
                  <a:gd name="T59" fmla="*/ 2147483647 h 1500"/>
                  <a:gd name="T60" fmla="*/ 2147483647 w 636"/>
                  <a:gd name="T61" fmla="*/ 2147483647 h 1500"/>
                  <a:gd name="T62" fmla="*/ 2147483647 w 636"/>
                  <a:gd name="T63" fmla="*/ 2147483647 h 1500"/>
                  <a:gd name="T64" fmla="*/ 2147483647 w 636"/>
                  <a:gd name="T65" fmla="*/ 2147483647 h 1500"/>
                  <a:gd name="T66" fmla="*/ 2147483647 w 636"/>
                  <a:gd name="T67" fmla="*/ 2147483647 h 1500"/>
                  <a:gd name="T68" fmla="*/ 2147483647 w 636"/>
                  <a:gd name="T69" fmla="*/ 2147483647 h 1500"/>
                  <a:gd name="T70" fmla="*/ 2147483647 w 636"/>
                  <a:gd name="T71" fmla="*/ 2147483647 h 1500"/>
                  <a:gd name="T72" fmla="*/ 2147483647 w 636"/>
                  <a:gd name="T73" fmla="*/ 2147483647 h 1500"/>
                  <a:gd name="T74" fmla="*/ 2147483647 w 636"/>
                  <a:gd name="T75" fmla="*/ 2147483647 h 1500"/>
                  <a:gd name="T76" fmla="*/ 2147483647 w 636"/>
                  <a:gd name="T77" fmla="*/ 2147483647 h 1500"/>
                  <a:gd name="T78" fmla="*/ 2147483647 w 636"/>
                  <a:gd name="T79" fmla="*/ 2147483647 h 1500"/>
                  <a:gd name="T80" fmla="*/ 2147483647 w 636"/>
                  <a:gd name="T81" fmla="*/ 2147483647 h 1500"/>
                  <a:gd name="T82" fmla="*/ 2147483647 w 636"/>
                  <a:gd name="T83" fmla="*/ 2147483647 h 1500"/>
                  <a:gd name="T84" fmla="*/ 2147483647 w 636"/>
                  <a:gd name="T85" fmla="*/ 2147483647 h 1500"/>
                  <a:gd name="T86" fmla="*/ 2147483647 w 636"/>
                  <a:gd name="T87" fmla="*/ 0 h 1500"/>
                  <a:gd name="T88" fmla="*/ 2147483647 w 636"/>
                  <a:gd name="T89" fmla="*/ 2147483647 h 1500"/>
                  <a:gd name="T90" fmla="*/ 2147483647 w 636"/>
                  <a:gd name="T91" fmla="*/ 2147483647 h 1500"/>
                  <a:gd name="T92" fmla="*/ 2147483647 w 636"/>
                  <a:gd name="T93" fmla="*/ 2147483647 h 1500"/>
                  <a:gd name="T94" fmla="*/ 2147483647 w 636"/>
                  <a:gd name="T95" fmla="*/ 2147483647 h 1500"/>
                  <a:gd name="T96" fmla="*/ 2147483647 w 636"/>
                  <a:gd name="T97" fmla="*/ 2147483647 h 1500"/>
                  <a:gd name="T98" fmla="*/ 2147483647 w 636"/>
                  <a:gd name="T99" fmla="*/ 2147483647 h 1500"/>
                  <a:gd name="T100" fmla="*/ 2147483647 w 636"/>
                  <a:gd name="T101" fmla="*/ 2147483647 h 1500"/>
                  <a:gd name="T102" fmla="*/ 2147483647 w 636"/>
                  <a:gd name="T103" fmla="*/ 2147483647 h 1500"/>
                  <a:gd name="T104" fmla="*/ 2147483647 w 636"/>
                  <a:gd name="T105" fmla="*/ 2147483647 h 1500"/>
                  <a:gd name="T106" fmla="*/ 2147483647 w 636"/>
                  <a:gd name="T107" fmla="*/ 2147483647 h 1500"/>
                  <a:gd name="T108" fmla="*/ 2147483647 w 636"/>
                  <a:gd name="T109" fmla="*/ 2147483647 h 150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636"/>
                  <a:gd name="T166" fmla="*/ 0 h 1500"/>
                  <a:gd name="T167" fmla="*/ 636 w 636"/>
                  <a:gd name="T168" fmla="*/ 1500 h 150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636" h="1500">
                    <a:moveTo>
                      <a:pt x="0" y="588"/>
                    </a:moveTo>
                    <a:lnTo>
                      <a:pt x="18" y="588"/>
                    </a:lnTo>
                    <a:lnTo>
                      <a:pt x="12" y="630"/>
                    </a:lnTo>
                    <a:lnTo>
                      <a:pt x="18" y="630"/>
                    </a:lnTo>
                    <a:lnTo>
                      <a:pt x="24" y="636"/>
                    </a:lnTo>
                    <a:lnTo>
                      <a:pt x="42" y="642"/>
                    </a:lnTo>
                    <a:lnTo>
                      <a:pt x="54" y="648"/>
                    </a:lnTo>
                    <a:lnTo>
                      <a:pt x="72" y="666"/>
                    </a:lnTo>
                    <a:lnTo>
                      <a:pt x="84" y="690"/>
                    </a:lnTo>
                    <a:lnTo>
                      <a:pt x="90" y="696"/>
                    </a:lnTo>
                    <a:lnTo>
                      <a:pt x="90" y="702"/>
                    </a:lnTo>
                    <a:lnTo>
                      <a:pt x="126" y="696"/>
                    </a:lnTo>
                    <a:lnTo>
                      <a:pt x="102" y="738"/>
                    </a:lnTo>
                    <a:lnTo>
                      <a:pt x="108" y="738"/>
                    </a:lnTo>
                    <a:lnTo>
                      <a:pt x="114" y="744"/>
                    </a:lnTo>
                    <a:lnTo>
                      <a:pt x="126" y="744"/>
                    </a:lnTo>
                    <a:lnTo>
                      <a:pt x="144" y="750"/>
                    </a:lnTo>
                    <a:lnTo>
                      <a:pt x="156" y="762"/>
                    </a:lnTo>
                    <a:lnTo>
                      <a:pt x="168" y="768"/>
                    </a:lnTo>
                    <a:lnTo>
                      <a:pt x="174" y="780"/>
                    </a:lnTo>
                    <a:lnTo>
                      <a:pt x="186" y="792"/>
                    </a:lnTo>
                    <a:lnTo>
                      <a:pt x="192" y="804"/>
                    </a:lnTo>
                    <a:lnTo>
                      <a:pt x="192" y="822"/>
                    </a:lnTo>
                    <a:lnTo>
                      <a:pt x="198" y="834"/>
                    </a:lnTo>
                    <a:lnTo>
                      <a:pt x="198" y="840"/>
                    </a:lnTo>
                    <a:lnTo>
                      <a:pt x="204" y="846"/>
                    </a:lnTo>
                    <a:lnTo>
                      <a:pt x="210" y="858"/>
                    </a:lnTo>
                    <a:lnTo>
                      <a:pt x="222" y="870"/>
                    </a:lnTo>
                    <a:lnTo>
                      <a:pt x="210" y="888"/>
                    </a:lnTo>
                    <a:lnTo>
                      <a:pt x="216" y="978"/>
                    </a:lnTo>
                    <a:lnTo>
                      <a:pt x="204" y="990"/>
                    </a:lnTo>
                    <a:lnTo>
                      <a:pt x="204" y="1002"/>
                    </a:lnTo>
                    <a:lnTo>
                      <a:pt x="222" y="1020"/>
                    </a:lnTo>
                    <a:lnTo>
                      <a:pt x="234" y="1020"/>
                    </a:lnTo>
                    <a:lnTo>
                      <a:pt x="246" y="1014"/>
                    </a:lnTo>
                    <a:lnTo>
                      <a:pt x="252" y="1008"/>
                    </a:lnTo>
                    <a:lnTo>
                      <a:pt x="258" y="1014"/>
                    </a:lnTo>
                    <a:lnTo>
                      <a:pt x="258" y="1020"/>
                    </a:lnTo>
                    <a:lnTo>
                      <a:pt x="276" y="1020"/>
                    </a:lnTo>
                    <a:lnTo>
                      <a:pt x="282" y="1014"/>
                    </a:lnTo>
                    <a:lnTo>
                      <a:pt x="294" y="1008"/>
                    </a:lnTo>
                    <a:lnTo>
                      <a:pt x="300" y="996"/>
                    </a:lnTo>
                    <a:lnTo>
                      <a:pt x="306" y="990"/>
                    </a:lnTo>
                    <a:lnTo>
                      <a:pt x="312" y="978"/>
                    </a:lnTo>
                    <a:lnTo>
                      <a:pt x="324" y="978"/>
                    </a:lnTo>
                    <a:lnTo>
                      <a:pt x="360" y="960"/>
                    </a:lnTo>
                    <a:lnTo>
                      <a:pt x="366" y="954"/>
                    </a:lnTo>
                    <a:lnTo>
                      <a:pt x="366" y="900"/>
                    </a:lnTo>
                    <a:lnTo>
                      <a:pt x="372" y="894"/>
                    </a:lnTo>
                    <a:lnTo>
                      <a:pt x="378" y="894"/>
                    </a:lnTo>
                    <a:lnTo>
                      <a:pt x="396" y="912"/>
                    </a:lnTo>
                    <a:lnTo>
                      <a:pt x="402" y="924"/>
                    </a:lnTo>
                    <a:lnTo>
                      <a:pt x="402" y="954"/>
                    </a:lnTo>
                    <a:lnTo>
                      <a:pt x="408" y="954"/>
                    </a:lnTo>
                    <a:lnTo>
                      <a:pt x="426" y="972"/>
                    </a:lnTo>
                    <a:lnTo>
                      <a:pt x="432" y="984"/>
                    </a:lnTo>
                    <a:lnTo>
                      <a:pt x="444" y="1014"/>
                    </a:lnTo>
                    <a:lnTo>
                      <a:pt x="450" y="1050"/>
                    </a:lnTo>
                    <a:lnTo>
                      <a:pt x="450" y="1074"/>
                    </a:lnTo>
                    <a:lnTo>
                      <a:pt x="456" y="1092"/>
                    </a:lnTo>
                    <a:lnTo>
                      <a:pt x="456" y="1128"/>
                    </a:lnTo>
                    <a:lnTo>
                      <a:pt x="462" y="1134"/>
                    </a:lnTo>
                    <a:lnTo>
                      <a:pt x="480" y="1170"/>
                    </a:lnTo>
                    <a:lnTo>
                      <a:pt x="486" y="1176"/>
                    </a:lnTo>
                    <a:lnTo>
                      <a:pt x="486" y="1182"/>
                    </a:lnTo>
                    <a:lnTo>
                      <a:pt x="528" y="1272"/>
                    </a:lnTo>
                    <a:lnTo>
                      <a:pt x="540" y="1320"/>
                    </a:lnTo>
                    <a:lnTo>
                      <a:pt x="522" y="1320"/>
                    </a:lnTo>
                    <a:lnTo>
                      <a:pt x="516" y="1326"/>
                    </a:lnTo>
                    <a:lnTo>
                      <a:pt x="516" y="1350"/>
                    </a:lnTo>
                    <a:lnTo>
                      <a:pt x="510" y="1362"/>
                    </a:lnTo>
                    <a:lnTo>
                      <a:pt x="510" y="1374"/>
                    </a:lnTo>
                    <a:lnTo>
                      <a:pt x="552" y="1362"/>
                    </a:lnTo>
                    <a:lnTo>
                      <a:pt x="540" y="1416"/>
                    </a:lnTo>
                    <a:lnTo>
                      <a:pt x="540" y="1428"/>
                    </a:lnTo>
                    <a:lnTo>
                      <a:pt x="534" y="1440"/>
                    </a:lnTo>
                    <a:lnTo>
                      <a:pt x="534" y="1464"/>
                    </a:lnTo>
                    <a:lnTo>
                      <a:pt x="540" y="1482"/>
                    </a:lnTo>
                    <a:lnTo>
                      <a:pt x="540" y="1488"/>
                    </a:lnTo>
                    <a:lnTo>
                      <a:pt x="546" y="1500"/>
                    </a:lnTo>
                    <a:lnTo>
                      <a:pt x="552" y="1488"/>
                    </a:lnTo>
                    <a:lnTo>
                      <a:pt x="558" y="1482"/>
                    </a:lnTo>
                    <a:lnTo>
                      <a:pt x="564" y="1470"/>
                    </a:lnTo>
                    <a:lnTo>
                      <a:pt x="564" y="1458"/>
                    </a:lnTo>
                    <a:lnTo>
                      <a:pt x="558" y="1452"/>
                    </a:lnTo>
                    <a:lnTo>
                      <a:pt x="558" y="1440"/>
                    </a:lnTo>
                    <a:lnTo>
                      <a:pt x="576" y="1422"/>
                    </a:lnTo>
                    <a:lnTo>
                      <a:pt x="594" y="1386"/>
                    </a:lnTo>
                    <a:lnTo>
                      <a:pt x="594" y="1368"/>
                    </a:lnTo>
                    <a:lnTo>
                      <a:pt x="600" y="1356"/>
                    </a:lnTo>
                    <a:lnTo>
                      <a:pt x="600" y="1326"/>
                    </a:lnTo>
                    <a:lnTo>
                      <a:pt x="594" y="1314"/>
                    </a:lnTo>
                    <a:lnTo>
                      <a:pt x="594" y="1290"/>
                    </a:lnTo>
                    <a:lnTo>
                      <a:pt x="570" y="1266"/>
                    </a:lnTo>
                    <a:lnTo>
                      <a:pt x="570" y="1242"/>
                    </a:lnTo>
                    <a:lnTo>
                      <a:pt x="564" y="1224"/>
                    </a:lnTo>
                    <a:lnTo>
                      <a:pt x="564" y="1194"/>
                    </a:lnTo>
                    <a:lnTo>
                      <a:pt x="558" y="1182"/>
                    </a:lnTo>
                    <a:lnTo>
                      <a:pt x="516" y="1140"/>
                    </a:lnTo>
                    <a:lnTo>
                      <a:pt x="510" y="1128"/>
                    </a:lnTo>
                    <a:lnTo>
                      <a:pt x="504" y="1122"/>
                    </a:lnTo>
                    <a:lnTo>
                      <a:pt x="498" y="1110"/>
                    </a:lnTo>
                    <a:lnTo>
                      <a:pt x="492" y="1104"/>
                    </a:lnTo>
                    <a:lnTo>
                      <a:pt x="492" y="1098"/>
                    </a:lnTo>
                    <a:lnTo>
                      <a:pt x="486" y="1092"/>
                    </a:lnTo>
                    <a:lnTo>
                      <a:pt x="504" y="1056"/>
                    </a:lnTo>
                    <a:lnTo>
                      <a:pt x="510" y="1050"/>
                    </a:lnTo>
                    <a:lnTo>
                      <a:pt x="516" y="1038"/>
                    </a:lnTo>
                    <a:lnTo>
                      <a:pt x="516" y="1014"/>
                    </a:lnTo>
                    <a:lnTo>
                      <a:pt x="510" y="1002"/>
                    </a:lnTo>
                    <a:lnTo>
                      <a:pt x="522" y="1002"/>
                    </a:lnTo>
                    <a:lnTo>
                      <a:pt x="528" y="996"/>
                    </a:lnTo>
                    <a:lnTo>
                      <a:pt x="528" y="978"/>
                    </a:lnTo>
                    <a:lnTo>
                      <a:pt x="522" y="972"/>
                    </a:lnTo>
                    <a:lnTo>
                      <a:pt x="516" y="978"/>
                    </a:lnTo>
                    <a:lnTo>
                      <a:pt x="510" y="978"/>
                    </a:lnTo>
                    <a:lnTo>
                      <a:pt x="504" y="972"/>
                    </a:lnTo>
                    <a:lnTo>
                      <a:pt x="498" y="960"/>
                    </a:lnTo>
                    <a:lnTo>
                      <a:pt x="498" y="942"/>
                    </a:lnTo>
                    <a:lnTo>
                      <a:pt x="504" y="942"/>
                    </a:lnTo>
                    <a:lnTo>
                      <a:pt x="504" y="936"/>
                    </a:lnTo>
                    <a:lnTo>
                      <a:pt x="498" y="930"/>
                    </a:lnTo>
                    <a:lnTo>
                      <a:pt x="486" y="924"/>
                    </a:lnTo>
                    <a:lnTo>
                      <a:pt x="474" y="912"/>
                    </a:lnTo>
                    <a:lnTo>
                      <a:pt x="462" y="906"/>
                    </a:lnTo>
                    <a:lnTo>
                      <a:pt x="444" y="888"/>
                    </a:lnTo>
                    <a:lnTo>
                      <a:pt x="438" y="876"/>
                    </a:lnTo>
                    <a:lnTo>
                      <a:pt x="438" y="870"/>
                    </a:lnTo>
                    <a:lnTo>
                      <a:pt x="432" y="870"/>
                    </a:lnTo>
                    <a:lnTo>
                      <a:pt x="438" y="846"/>
                    </a:lnTo>
                    <a:lnTo>
                      <a:pt x="426" y="840"/>
                    </a:lnTo>
                    <a:lnTo>
                      <a:pt x="402" y="816"/>
                    </a:lnTo>
                    <a:lnTo>
                      <a:pt x="402" y="810"/>
                    </a:lnTo>
                    <a:lnTo>
                      <a:pt x="426" y="810"/>
                    </a:lnTo>
                    <a:lnTo>
                      <a:pt x="426" y="792"/>
                    </a:lnTo>
                    <a:lnTo>
                      <a:pt x="408" y="774"/>
                    </a:lnTo>
                    <a:lnTo>
                      <a:pt x="408" y="768"/>
                    </a:lnTo>
                    <a:lnTo>
                      <a:pt x="414" y="762"/>
                    </a:lnTo>
                    <a:lnTo>
                      <a:pt x="420" y="762"/>
                    </a:lnTo>
                    <a:lnTo>
                      <a:pt x="426" y="756"/>
                    </a:lnTo>
                    <a:lnTo>
                      <a:pt x="426" y="708"/>
                    </a:lnTo>
                    <a:lnTo>
                      <a:pt x="456" y="708"/>
                    </a:lnTo>
                    <a:lnTo>
                      <a:pt x="468" y="714"/>
                    </a:lnTo>
                    <a:lnTo>
                      <a:pt x="480" y="714"/>
                    </a:lnTo>
                    <a:lnTo>
                      <a:pt x="486" y="708"/>
                    </a:lnTo>
                    <a:lnTo>
                      <a:pt x="492" y="696"/>
                    </a:lnTo>
                    <a:lnTo>
                      <a:pt x="498" y="690"/>
                    </a:lnTo>
                    <a:lnTo>
                      <a:pt x="498" y="684"/>
                    </a:lnTo>
                    <a:lnTo>
                      <a:pt x="522" y="684"/>
                    </a:lnTo>
                    <a:lnTo>
                      <a:pt x="528" y="660"/>
                    </a:lnTo>
                    <a:lnTo>
                      <a:pt x="534" y="660"/>
                    </a:lnTo>
                    <a:lnTo>
                      <a:pt x="540" y="654"/>
                    </a:lnTo>
                    <a:lnTo>
                      <a:pt x="564" y="654"/>
                    </a:lnTo>
                    <a:lnTo>
                      <a:pt x="564" y="642"/>
                    </a:lnTo>
                    <a:lnTo>
                      <a:pt x="582" y="624"/>
                    </a:lnTo>
                    <a:lnTo>
                      <a:pt x="594" y="624"/>
                    </a:lnTo>
                    <a:lnTo>
                      <a:pt x="600" y="618"/>
                    </a:lnTo>
                    <a:lnTo>
                      <a:pt x="594" y="612"/>
                    </a:lnTo>
                    <a:lnTo>
                      <a:pt x="600" y="600"/>
                    </a:lnTo>
                    <a:lnTo>
                      <a:pt x="600" y="588"/>
                    </a:lnTo>
                    <a:lnTo>
                      <a:pt x="636" y="570"/>
                    </a:lnTo>
                    <a:lnTo>
                      <a:pt x="636" y="552"/>
                    </a:lnTo>
                    <a:lnTo>
                      <a:pt x="630" y="546"/>
                    </a:lnTo>
                    <a:lnTo>
                      <a:pt x="618" y="546"/>
                    </a:lnTo>
                    <a:lnTo>
                      <a:pt x="600" y="564"/>
                    </a:lnTo>
                    <a:lnTo>
                      <a:pt x="600" y="570"/>
                    </a:lnTo>
                    <a:lnTo>
                      <a:pt x="558" y="570"/>
                    </a:lnTo>
                    <a:lnTo>
                      <a:pt x="558" y="552"/>
                    </a:lnTo>
                    <a:lnTo>
                      <a:pt x="546" y="552"/>
                    </a:lnTo>
                    <a:lnTo>
                      <a:pt x="534" y="522"/>
                    </a:lnTo>
                    <a:lnTo>
                      <a:pt x="480" y="516"/>
                    </a:lnTo>
                    <a:lnTo>
                      <a:pt x="486" y="504"/>
                    </a:lnTo>
                    <a:lnTo>
                      <a:pt x="486" y="498"/>
                    </a:lnTo>
                    <a:lnTo>
                      <a:pt x="492" y="492"/>
                    </a:lnTo>
                    <a:lnTo>
                      <a:pt x="492" y="480"/>
                    </a:lnTo>
                    <a:lnTo>
                      <a:pt x="480" y="468"/>
                    </a:lnTo>
                    <a:lnTo>
                      <a:pt x="486" y="462"/>
                    </a:lnTo>
                    <a:lnTo>
                      <a:pt x="498" y="462"/>
                    </a:lnTo>
                    <a:lnTo>
                      <a:pt x="504" y="456"/>
                    </a:lnTo>
                    <a:lnTo>
                      <a:pt x="504" y="450"/>
                    </a:lnTo>
                    <a:lnTo>
                      <a:pt x="498" y="444"/>
                    </a:lnTo>
                    <a:lnTo>
                      <a:pt x="486" y="438"/>
                    </a:lnTo>
                    <a:lnTo>
                      <a:pt x="456" y="438"/>
                    </a:lnTo>
                    <a:lnTo>
                      <a:pt x="444" y="396"/>
                    </a:lnTo>
                    <a:lnTo>
                      <a:pt x="420" y="378"/>
                    </a:lnTo>
                    <a:lnTo>
                      <a:pt x="450" y="354"/>
                    </a:lnTo>
                    <a:lnTo>
                      <a:pt x="390" y="354"/>
                    </a:lnTo>
                    <a:lnTo>
                      <a:pt x="384" y="360"/>
                    </a:lnTo>
                    <a:lnTo>
                      <a:pt x="372" y="360"/>
                    </a:lnTo>
                    <a:lnTo>
                      <a:pt x="366" y="366"/>
                    </a:lnTo>
                    <a:lnTo>
                      <a:pt x="354" y="372"/>
                    </a:lnTo>
                    <a:lnTo>
                      <a:pt x="366" y="354"/>
                    </a:lnTo>
                    <a:lnTo>
                      <a:pt x="360" y="342"/>
                    </a:lnTo>
                    <a:lnTo>
                      <a:pt x="342" y="324"/>
                    </a:lnTo>
                    <a:lnTo>
                      <a:pt x="342" y="306"/>
                    </a:lnTo>
                    <a:lnTo>
                      <a:pt x="354" y="306"/>
                    </a:lnTo>
                    <a:lnTo>
                      <a:pt x="348" y="276"/>
                    </a:lnTo>
                    <a:lnTo>
                      <a:pt x="360" y="276"/>
                    </a:lnTo>
                    <a:lnTo>
                      <a:pt x="366" y="270"/>
                    </a:lnTo>
                    <a:lnTo>
                      <a:pt x="366" y="234"/>
                    </a:lnTo>
                    <a:lnTo>
                      <a:pt x="372" y="240"/>
                    </a:lnTo>
                    <a:lnTo>
                      <a:pt x="384" y="240"/>
                    </a:lnTo>
                    <a:lnTo>
                      <a:pt x="390" y="234"/>
                    </a:lnTo>
                    <a:lnTo>
                      <a:pt x="396" y="222"/>
                    </a:lnTo>
                    <a:lnTo>
                      <a:pt x="396" y="216"/>
                    </a:lnTo>
                    <a:lnTo>
                      <a:pt x="378" y="198"/>
                    </a:lnTo>
                    <a:lnTo>
                      <a:pt x="390" y="198"/>
                    </a:lnTo>
                    <a:lnTo>
                      <a:pt x="396" y="192"/>
                    </a:lnTo>
                    <a:lnTo>
                      <a:pt x="408" y="192"/>
                    </a:lnTo>
                    <a:lnTo>
                      <a:pt x="396" y="132"/>
                    </a:lnTo>
                    <a:lnTo>
                      <a:pt x="384" y="108"/>
                    </a:lnTo>
                    <a:lnTo>
                      <a:pt x="384" y="78"/>
                    </a:lnTo>
                    <a:lnTo>
                      <a:pt x="378" y="72"/>
                    </a:lnTo>
                    <a:lnTo>
                      <a:pt x="342" y="72"/>
                    </a:lnTo>
                    <a:lnTo>
                      <a:pt x="342" y="66"/>
                    </a:lnTo>
                    <a:lnTo>
                      <a:pt x="336" y="60"/>
                    </a:lnTo>
                    <a:lnTo>
                      <a:pt x="318" y="24"/>
                    </a:lnTo>
                    <a:lnTo>
                      <a:pt x="306" y="18"/>
                    </a:lnTo>
                    <a:lnTo>
                      <a:pt x="300" y="6"/>
                    </a:lnTo>
                    <a:lnTo>
                      <a:pt x="294" y="0"/>
                    </a:lnTo>
                    <a:lnTo>
                      <a:pt x="288" y="0"/>
                    </a:lnTo>
                    <a:lnTo>
                      <a:pt x="282" y="18"/>
                    </a:lnTo>
                    <a:lnTo>
                      <a:pt x="282" y="48"/>
                    </a:lnTo>
                    <a:lnTo>
                      <a:pt x="276" y="48"/>
                    </a:lnTo>
                    <a:lnTo>
                      <a:pt x="270" y="54"/>
                    </a:lnTo>
                    <a:lnTo>
                      <a:pt x="258" y="60"/>
                    </a:lnTo>
                    <a:lnTo>
                      <a:pt x="246" y="72"/>
                    </a:lnTo>
                    <a:lnTo>
                      <a:pt x="252" y="84"/>
                    </a:lnTo>
                    <a:lnTo>
                      <a:pt x="258" y="90"/>
                    </a:lnTo>
                    <a:lnTo>
                      <a:pt x="270" y="96"/>
                    </a:lnTo>
                    <a:lnTo>
                      <a:pt x="276" y="102"/>
                    </a:lnTo>
                    <a:lnTo>
                      <a:pt x="276" y="108"/>
                    </a:lnTo>
                    <a:lnTo>
                      <a:pt x="258" y="108"/>
                    </a:lnTo>
                    <a:lnTo>
                      <a:pt x="252" y="102"/>
                    </a:lnTo>
                    <a:lnTo>
                      <a:pt x="216" y="102"/>
                    </a:lnTo>
                    <a:lnTo>
                      <a:pt x="204" y="108"/>
                    </a:lnTo>
                    <a:lnTo>
                      <a:pt x="198" y="108"/>
                    </a:lnTo>
                    <a:lnTo>
                      <a:pt x="198" y="126"/>
                    </a:lnTo>
                    <a:lnTo>
                      <a:pt x="186" y="138"/>
                    </a:lnTo>
                    <a:lnTo>
                      <a:pt x="174" y="144"/>
                    </a:lnTo>
                    <a:lnTo>
                      <a:pt x="162" y="144"/>
                    </a:lnTo>
                    <a:lnTo>
                      <a:pt x="156" y="150"/>
                    </a:lnTo>
                    <a:lnTo>
                      <a:pt x="150" y="150"/>
                    </a:lnTo>
                    <a:lnTo>
                      <a:pt x="150" y="174"/>
                    </a:lnTo>
                    <a:lnTo>
                      <a:pt x="156" y="180"/>
                    </a:lnTo>
                    <a:lnTo>
                      <a:pt x="156" y="186"/>
                    </a:lnTo>
                    <a:lnTo>
                      <a:pt x="162" y="192"/>
                    </a:lnTo>
                    <a:lnTo>
                      <a:pt x="162" y="204"/>
                    </a:lnTo>
                    <a:lnTo>
                      <a:pt x="144" y="234"/>
                    </a:lnTo>
                    <a:lnTo>
                      <a:pt x="138" y="240"/>
                    </a:lnTo>
                    <a:lnTo>
                      <a:pt x="126" y="246"/>
                    </a:lnTo>
                    <a:lnTo>
                      <a:pt x="126" y="264"/>
                    </a:lnTo>
                    <a:lnTo>
                      <a:pt x="132" y="276"/>
                    </a:lnTo>
                    <a:lnTo>
                      <a:pt x="138" y="282"/>
                    </a:lnTo>
                    <a:lnTo>
                      <a:pt x="120" y="336"/>
                    </a:lnTo>
                    <a:lnTo>
                      <a:pt x="120" y="372"/>
                    </a:lnTo>
                    <a:lnTo>
                      <a:pt x="108" y="372"/>
                    </a:lnTo>
                    <a:lnTo>
                      <a:pt x="96" y="366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66" y="384"/>
                    </a:lnTo>
                    <a:lnTo>
                      <a:pt x="72" y="432"/>
                    </a:lnTo>
                    <a:lnTo>
                      <a:pt x="66" y="432"/>
                    </a:lnTo>
                    <a:lnTo>
                      <a:pt x="48" y="450"/>
                    </a:lnTo>
                    <a:lnTo>
                      <a:pt x="54" y="462"/>
                    </a:lnTo>
                    <a:lnTo>
                      <a:pt x="54" y="486"/>
                    </a:lnTo>
                    <a:lnTo>
                      <a:pt x="72" y="504"/>
                    </a:lnTo>
                    <a:lnTo>
                      <a:pt x="72" y="516"/>
                    </a:lnTo>
                    <a:lnTo>
                      <a:pt x="60" y="516"/>
                    </a:lnTo>
                    <a:lnTo>
                      <a:pt x="54" y="510"/>
                    </a:lnTo>
                    <a:lnTo>
                      <a:pt x="48" y="510"/>
                    </a:lnTo>
                    <a:lnTo>
                      <a:pt x="48" y="534"/>
                    </a:lnTo>
                    <a:lnTo>
                      <a:pt x="30" y="516"/>
                    </a:lnTo>
                    <a:lnTo>
                      <a:pt x="42" y="576"/>
                    </a:lnTo>
                    <a:lnTo>
                      <a:pt x="6" y="570"/>
                    </a:lnTo>
                    <a:lnTo>
                      <a:pt x="6" y="576"/>
                    </a:lnTo>
                    <a:lnTo>
                      <a:pt x="0" y="588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7" name="Western Sahar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98F2F21-0E3C-4863-A459-9E503825A63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8787" y="3520330"/>
                <a:ext cx="265570" cy="230284"/>
              </a:xfrm>
              <a:custGeom>
                <a:avLst/>
                <a:gdLst>
                  <a:gd name="T0" fmla="*/ 2147483647 w 600"/>
                  <a:gd name="T1" fmla="*/ 0 h 510"/>
                  <a:gd name="T2" fmla="*/ 2147483647 w 600"/>
                  <a:gd name="T3" fmla="*/ 0 h 510"/>
                  <a:gd name="T4" fmla="*/ 2147483647 w 600"/>
                  <a:gd name="T5" fmla="*/ 2147483647 h 510"/>
                  <a:gd name="T6" fmla="*/ 2147483647 w 600"/>
                  <a:gd name="T7" fmla="*/ 2147483647 h 510"/>
                  <a:gd name="T8" fmla="*/ 2147483647 w 600"/>
                  <a:gd name="T9" fmla="*/ 2147483647 h 510"/>
                  <a:gd name="T10" fmla="*/ 2147483647 w 600"/>
                  <a:gd name="T11" fmla="*/ 2147483647 h 510"/>
                  <a:gd name="T12" fmla="*/ 2147483647 w 600"/>
                  <a:gd name="T13" fmla="*/ 2147483647 h 510"/>
                  <a:gd name="T14" fmla="*/ 2147483647 w 600"/>
                  <a:gd name="T15" fmla="*/ 2147483647 h 510"/>
                  <a:gd name="T16" fmla="*/ 2147483647 w 600"/>
                  <a:gd name="T17" fmla="*/ 2147483647 h 510"/>
                  <a:gd name="T18" fmla="*/ 2147483647 w 600"/>
                  <a:gd name="T19" fmla="*/ 2147483647 h 510"/>
                  <a:gd name="T20" fmla="*/ 2147483647 w 600"/>
                  <a:gd name="T21" fmla="*/ 2147483647 h 510"/>
                  <a:gd name="T22" fmla="*/ 2147483647 w 600"/>
                  <a:gd name="T23" fmla="*/ 2147483647 h 510"/>
                  <a:gd name="T24" fmla="*/ 2147483647 w 600"/>
                  <a:gd name="T25" fmla="*/ 2147483647 h 510"/>
                  <a:gd name="T26" fmla="*/ 2147483647 w 600"/>
                  <a:gd name="T27" fmla="*/ 2147483647 h 510"/>
                  <a:gd name="T28" fmla="*/ 2147483647 w 600"/>
                  <a:gd name="T29" fmla="*/ 2147483647 h 510"/>
                  <a:gd name="T30" fmla="*/ 2147483647 w 600"/>
                  <a:gd name="T31" fmla="*/ 2147483647 h 510"/>
                  <a:gd name="T32" fmla="*/ 2147483647 w 600"/>
                  <a:gd name="T33" fmla="*/ 2147483647 h 510"/>
                  <a:gd name="T34" fmla="*/ 2147483647 w 600"/>
                  <a:gd name="T35" fmla="*/ 2147483647 h 510"/>
                  <a:gd name="T36" fmla="*/ 2147483647 w 600"/>
                  <a:gd name="T37" fmla="*/ 2147483647 h 510"/>
                  <a:gd name="T38" fmla="*/ 2147483647 w 600"/>
                  <a:gd name="T39" fmla="*/ 2147483647 h 510"/>
                  <a:gd name="T40" fmla="*/ 2147483647 w 600"/>
                  <a:gd name="T41" fmla="*/ 2147483647 h 510"/>
                  <a:gd name="T42" fmla="*/ 2147483647 w 600"/>
                  <a:gd name="T43" fmla="*/ 2147483647 h 510"/>
                  <a:gd name="T44" fmla="*/ 2147483647 w 600"/>
                  <a:gd name="T45" fmla="*/ 2147483647 h 510"/>
                  <a:gd name="T46" fmla="*/ 2147483647 w 600"/>
                  <a:gd name="T47" fmla="*/ 2147483647 h 510"/>
                  <a:gd name="T48" fmla="*/ 2147483647 w 600"/>
                  <a:gd name="T49" fmla="*/ 2147483647 h 510"/>
                  <a:gd name="T50" fmla="*/ 2147483647 w 600"/>
                  <a:gd name="T51" fmla="*/ 2147483647 h 510"/>
                  <a:gd name="T52" fmla="*/ 2147483647 w 600"/>
                  <a:gd name="T53" fmla="*/ 2147483647 h 510"/>
                  <a:gd name="T54" fmla="*/ 2147483647 w 600"/>
                  <a:gd name="T55" fmla="*/ 2147483647 h 510"/>
                  <a:gd name="T56" fmla="*/ 2147483647 w 600"/>
                  <a:gd name="T57" fmla="*/ 2147483647 h 510"/>
                  <a:gd name="T58" fmla="*/ 2147483647 w 600"/>
                  <a:gd name="T59" fmla="*/ 2147483647 h 510"/>
                  <a:gd name="T60" fmla="*/ 2147483647 w 600"/>
                  <a:gd name="T61" fmla="*/ 2147483647 h 510"/>
                  <a:gd name="T62" fmla="*/ 2147483647 w 600"/>
                  <a:gd name="T63" fmla="*/ 2147483647 h 510"/>
                  <a:gd name="T64" fmla="*/ 2147483647 w 600"/>
                  <a:gd name="T65" fmla="*/ 2147483647 h 510"/>
                  <a:gd name="T66" fmla="*/ 2147483647 w 600"/>
                  <a:gd name="T67" fmla="*/ 2147483647 h 510"/>
                  <a:gd name="T68" fmla="*/ 2147483647 w 600"/>
                  <a:gd name="T69" fmla="*/ 2147483647 h 510"/>
                  <a:gd name="T70" fmla="*/ 2147483647 w 600"/>
                  <a:gd name="T71" fmla="*/ 2147483647 h 510"/>
                  <a:gd name="T72" fmla="*/ 2147483647 w 600"/>
                  <a:gd name="T73" fmla="*/ 2147483647 h 510"/>
                  <a:gd name="T74" fmla="*/ 2147483647 w 600"/>
                  <a:gd name="T75" fmla="*/ 2147483647 h 510"/>
                  <a:gd name="T76" fmla="*/ 2147483647 w 600"/>
                  <a:gd name="T77" fmla="*/ 2147483647 h 510"/>
                  <a:gd name="T78" fmla="*/ 0 w 600"/>
                  <a:gd name="T79" fmla="*/ 2147483647 h 510"/>
                  <a:gd name="T80" fmla="*/ 0 w 600"/>
                  <a:gd name="T81" fmla="*/ 2147483647 h 510"/>
                  <a:gd name="T82" fmla="*/ 2147483647 w 600"/>
                  <a:gd name="T83" fmla="*/ 2147483647 h 510"/>
                  <a:gd name="T84" fmla="*/ 2147483647 w 600"/>
                  <a:gd name="T85" fmla="*/ 2147483647 h 510"/>
                  <a:gd name="T86" fmla="*/ 2147483647 w 600"/>
                  <a:gd name="T87" fmla="*/ 2147483647 h 510"/>
                  <a:gd name="T88" fmla="*/ 2147483647 w 600"/>
                  <a:gd name="T89" fmla="*/ 2147483647 h 510"/>
                  <a:gd name="T90" fmla="*/ 2147483647 w 600"/>
                  <a:gd name="T91" fmla="*/ 2147483647 h 510"/>
                  <a:gd name="T92" fmla="*/ 2147483647 w 600"/>
                  <a:gd name="T93" fmla="*/ 2147483647 h 510"/>
                  <a:gd name="T94" fmla="*/ 2147483647 w 600"/>
                  <a:gd name="T95" fmla="*/ 2147483647 h 510"/>
                  <a:gd name="T96" fmla="*/ 2147483647 w 600"/>
                  <a:gd name="T97" fmla="*/ 2147483647 h 510"/>
                  <a:gd name="T98" fmla="*/ 2147483647 w 600"/>
                  <a:gd name="T99" fmla="*/ 2147483647 h 510"/>
                  <a:gd name="T100" fmla="*/ 2147483647 w 600"/>
                  <a:gd name="T101" fmla="*/ 2147483647 h 510"/>
                  <a:gd name="T102" fmla="*/ 2147483647 w 600"/>
                  <a:gd name="T103" fmla="*/ 2147483647 h 510"/>
                  <a:gd name="T104" fmla="*/ 2147483647 w 600"/>
                  <a:gd name="T105" fmla="*/ 2147483647 h 510"/>
                  <a:gd name="T106" fmla="*/ 2147483647 w 600"/>
                  <a:gd name="T107" fmla="*/ 2147483647 h 510"/>
                  <a:gd name="T108" fmla="*/ 2147483647 w 600"/>
                  <a:gd name="T109" fmla="*/ 2147483647 h 510"/>
                  <a:gd name="T110" fmla="*/ 2147483647 w 600"/>
                  <a:gd name="T111" fmla="*/ 2147483647 h 510"/>
                  <a:gd name="T112" fmla="*/ 2147483647 w 600"/>
                  <a:gd name="T113" fmla="*/ 0 h 510"/>
                  <a:gd name="T114" fmla="*/ 2147483647 w 600"/>
                  <a:gd name="T115" fmla="*/ 0 h 5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00"/>
                  <a:gd name="T175" fmla="*/ 0 h 510"/>
                  <a:gd name="T176" fmla="*/ 600 w 600"/>
                  <a:gd name="T177" fmla="*/ 510 h 5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00" h="510">
                    <a:moveTo>
                      <a:pt x="546" y="0"/>
                    </a:moveTo>
                    <a:lnTo>
                      <a:pt x="288" y="0"/>
                    </a:lnTo>
                    <a:lnTo>
                      <a:pt x="282" y="6"/>
                    </a:lnTo>
                    <a:lnTo>
                      <a:pt x="270" y="30"/>
                    </a:lnTo>
                    <a:lnTo>
                      <a:pt x="270" y="42"/>
                    </a:lnTo>
                    <a:lnTo>
                      <a:pt x="264" y="54"/>
                    </a:lnTo>
                    <a:lnTo>
                      <a:pt x="264" y="66"/>
                    </a:lnTo>
                    <a:lnTo>
                      <a:pt x="234" y="96"/>
                    </a:lnTo>
                    <a:lnTo>
                      <a:pt x="198" y="96"/>
                    </a:lnTo>
                    <a:lnTo>
                      <a:pt x="186" y="108"/>
                    </a:lnTo>
                    <a:lnTo>
                      <a:pt x="186" y="144"/>
                    </a:lnTo>
                    <a:lnTo>
                      <a:pt x="156" y="174"/>
                    </a:lnTo>
                    <a:lnTo>
                      <a:pt x="156" y="186"/>
                    </a:lnTo>
                    <a:lnTo>
                      <a:pt x="168" y="210"/>
                    </a:lnTo>
                    <a:lnTo>
                      <a:pt x="168" y="222"/>
                    </a:lnTo>
                    <a:lnTo>
                      <a:pt x="156" y="246"/>
                    </a:lnTo>
                    <a:lnTo>
                      <a:pt x="144" y="252"/>
                    </a:lnTo>
                    <a:lnTo>
                      <a:pt x="138" y="252"/>
                    </a:lnTo>
                    <a:lnTo>
                      <a:pt x="132" y="258"/>
                    </a:lnTo>
                    <a:lnTo>
                      <a:pt x="126" y="270"/>
                    </a:lnTo>
                    <a:lnTo>
                      <a:pt x="114" y="282"/>
                    </a:lnTo>
                    <a:lnTo>
                      <a:pt x="102" y="288"/>
                    </a:lnTo>
                    <a:lnTo>
                      <a:pt x="96" y="294"/>
                    </a:lnTo>
                    <a:lnTo>
                      <a:pt x="84" y="300"/>
                    </a:lnTo>
                    <a:lnTo>
                      <a:pt x="78" y="306"/>
                    </a:lnTo>
                    <a:lnTo>
                      <a:pt x="78" y="318"/>
                    </a:lnTo>
                    <a:lnTo>
                      <a:pt x="90" y="324"/>
                    </a:lnTo>
                    <a:lnTo>
                      <a:pt x="78" y="330"/>
                    </a:lnTo>
                    <a:lnTo>
                      <a:pt x="60" y="366"/>
                    </a:lnTo>
                    <a:lnTo>
                      <a:pt x="60" y="384"/>
                    </a:lnTo>
                    <a:lnTo>
                      <a:pt x="48" y="384"/>
                    </a:lnTo>
                    <a:lnTo>
                      <a:pt x="48" y="390"/>
                    </a:lnTo>
                    <a:lnTo>
                      <a:pt x="54" y="396"/>
                    </a:lnTo>
                    <a:lnTo>
                      <a:pt x="54" y="408"/>
                    </a:lnTo>
                    <a:lnTo>
                      <a:pt x="48" y="420"/>
                    </a:lnTo>
                    <a:lnTo>
                      <a:pt x="36" y="426"/>
                    </a:lnTo>
                    <a:lnTo>
                      <a:pt x="24" y="426"/>
                    </a:lnTo>
                    <a:lnTo>
                      <a:pt x="18" y="432"/>
                    </a:lnTo>
                    <a:lnTo>
                      <a:pt x="6" y="456"/>
                    </a:lnTo>
                    <a:lnTo>
                      <a:pt x="0" y="462"/>
                    </a:lnTo>
                    <a:lnTo>
                      <a:pt x="0" y="510"/>
                    </a:lnTo>
                    <a:lnTo>
                      <a:pt x="276" y="510"/>
                    </a:lnTo>
                    <a:lnTo>
                      <a:pt x="282" y="408"/>
                    </a:lnTo>
                    <a:lnTo>
                      <a:pt x="276" y="396"/>
                    </a:lnTo>
                    <a:lnTo>
                      <a:pt x="276" y="378"/>
                    </a:lnTo>
                    <a:lnTo>
                      <a:pt x="282" y="366"/>
                    </a:lnTo>
                    <a:lnTo>
                      <a:pt x="306" y="354"/>
                    </a:lnTo>
                    <a:lnTo>
                      <a:pt x="336" y="354"/>
                    </a:lnTo>
                    <a:lnTo>
                      <a:pt x="348" y="348"/>
                    </a:lnTo>
                    <a:lnTo>
                      <a:pt x="354" y="342"/>
                    </a:lnTo>
                    <a:lnTo>
                      <a:pt x="354" y="150"/>
                    </a:lnTo>
                    <a:lnTo>
                      <a:pt x="366" y="144"/>
                    </a:lnTo>
                    <a:lnTo>
                      <a:pt x="366" y="132"/>
                    </a:lnTo>
                    <a:lnTo>
                      <a:pt x="588" y="126"/>
                    </a:lnTo>
                    <a:lnTo>
                      <a:pt x="588" y="90"/>
                    </a:lnTo>
                    <a:lnTo>
                      <a:pt x="594" y="84"/>
                    </a:lnTo>
                    <a:lnTo>
                      <a:pt x="600" y="0"/>
                    </a:lnTo>
                    <a:lnTo>
                      <a:pt x="546" y="0"/>
                    </a:lnTo>
                    <a:close/>
                  </a:path>
                </a:pathLst>
              </a:custGeom>
              <a:solidFill>
                <a:srgbClr val="B1B1B1"/>
              </a:solidFill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78" name="Alge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3F0ADC3-CA4C-417B-A11D-F862B2057C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269897" y="3176679"/>
                <a:ext cx="655190" cy="655422"/>
              </a:xfrm>
              <a:custGeom>
                <a:avLst/>
                <a:gdLst>
                  <a:gd name="T0" fmla="*/ 2147483647 w 1476"/>
                  <a:gd name="T1" fmla="*/ 2147483647 h 1464"/>
                  <a:gd name="T2" fmla="*/ 2147483647 w 1476"/>
                  <a:gd name="T3" fmla="*/ 2147483647 h 1464"/>
                  <a:gd name="T4" fmla="*/ 2147483647 w 1476"/>
                  <a:gd name="T5" fmla="*/ 2147483647 h 1464"/>
                  <a:gd name="T6" fmla="*/ 2147483647 w 1476"/>
                  <a:gd name="T7" fmla="*/ 2147483647 h 1464"/>
                  <a:gd name="T8" fmla="*/ 2147483647 w 1476"/>
                  <a:gd name="T9" fmla="*/ 2147483647 h 1464"/>
                  <a:gd name="T10" fmla="*/ 2147483647 w 1476"/>
                  <a:gd name="T11" fmla="*/ 2147483647 h 1464"/>
                  <a:gd name="T12" fmla="*/ 2147483647 w 1476"/>
                  <a:gd name="T13" fmla="*/ 2147483647 h 1464"/>
                  <a:gd name="T14" fmla="*/ 2147483647 w 1476"/>
                  <a:gd name="T15" fmla="*/ 2147483647 h 1464"/>
                  <a:gd name="T16" fmla="*/ 2147483647 w 1476"/>
                  <a:gd name="T17" fmla="*/ 2147483647 h 1464"/>
                  <a:gd name="T18" fmla="*/ 2147483647 w 1476"/>
                  <a:gd name="T19" fmla="*/ 2147483647 h 1464"/>
                  <a:gd name="T20" fmla="*/ 2147483647 w 1476"/>
                  <a:gd name="T21" fmla="*/ 2147483647 h 1464"/>
                  <a:gd name="T22" fmla="*/ 2147483647 w 1476"/>
                  <a:gd name="T23" fmla="*/ 2147483647 h 1464"/>
                  <a:gd name="T24" fmla="*/ 2147483647 w 1476"/>
                  <a:gd name="T25" fmla="*/ 2147483647 h 1464"/>
                  <a:gd name="T26" fmla="*/ 2147483647 w 1476"/>
                  <a:gd name="T27" fmla="*/ 2147483647 h 1464"/>
                  <a:gd name="T28" fmla="*/ 2147483647 w 1476"/>
                  <a:gd name="T29" fmla="*/ 2147483647 h 1464"/>
                  <a:gd name="T30" fmla="*/ 2147483647 w 1476"/>
                  <a:gd name="T31" fmla="*/ 2147483647 h 1464"/>
                  <a:gd name="T32" fmla="*/ 2147483647 w 1476"/>
                  <a:gd name="T33" fmla="*/ 2147483647 h 1464"/>
                  <a:gd name="T34" fmla="*/ 2147483647 w 1476"/>
                  <a:gd name="T35" fmla="*/ 2147483647 h 1464"/>
                  <a:gd name="T36" fmla="*/ 2147483647 w 1476"/>
                  <a:gd name="T37" fmla="*/ 2147483647 h 1464"/>
                  <a:gd name="T38" fmla="*/ 2147483647 w 1476"/>
                  <a:gd name="T39" fmla="*/ 2147483647 h 1464"/>
                  <a:gd name="T40" fmla="*/ 2147483647 w 1476"/>
                  <a:gd name="T41" fmla="*/ 2147483647 h 1464"/>
                  <a:gd name="T42" fmla="*/ 2147483647 w 1476"/>
                  <a:gd name="T43" fmla="*/ 2147483647 h 1464"/>
                  <a:gd name="T44" fmla="*/ 2147483647 w 1476"/>
                  <a:gd name="T45" fmla="*/ 2147483647 h 1464"/>
                  <a:gd name="T46" fmla="*/ 2147483647 w 1476"/>
                  <a:gd name="T47" fmla="*/ 2147483647 h 1464"/>
                  <a:gd name="T48" fmla="*/ 2147483647 w 1476"/>
                  <a:gd name="T49" fmla="*/ 2147483647 h 1464"/>
                  <a:gd name="T50" fmla="*/ 2147483647 w 1476"/>
                  <a:gd name="T51" fmla="*/ 2147483647 h 1464"/>
                  <a:gd name="T52" fmla="*/ 2147483647 w 1476"/>
                  <a:gd name="T53" fmla="*/ 2147483647 h 1464"/>
                  <a:gd name="T54" fmla="*/ 2147483647 w 1476"/>
                  <a:gd name="T55" fmla="*/ 2147483647 h 1464"/>
                  <a:gd name="T56" fmla="*/ 2147483647 w 1476"/>
                  <a:gd name="T57" fmla="*/ 2147483647 h 1464"/>
                  <a:gd name="T58" fmla="*/ 2147483647 w 1476"/>
                  <a:gd name="T59" fmla="*/ 2147483647 h 1464"/>
                  <a:gd name="T60" fmla="*/ 2147483647 w 1476"/>
                  <a:gd name="T61" fmla="*/ 2147483647 h 1464"/>
                  <a:gd name="T62" fmla="*/ 2147483647 w 1476"/>
                  <a:gd name="T63" fmla="*/ 2147483647 h 1464"/>
                  <a:gd name="T64" fmla="*/ 2147483647 w 1476"/>
                  <a:gd name="T65" fmla="*/ 2147483647 h 1464"/>
                  <a:gd name="T66" fmla="*/ 2147483647 w 1476"/>
                  <a:gd name="T67" fmla="*/ 2147483647 h 1464"/>
                  <a:gd name="T68" fmla="*/ 2147483647 w 1476"/>
                  <a:gd name="T69" fmla="*/ 2147483647 h 1464"/>
                  <a:gd name="T70" fmla="*/ 2147483647 w 1476"/>
                  <a:gd name="T71" fmla="*/ 2147483647 h 1464"/>
                  <a:gd name="T72" fmla="*/ 2147483647 w 1476"/>
                  <a:gd name="T73" fmla="*/ 2147483647 h 1464"/>
                  <a:gd name="T74" fmla="*/ 2147483647 w 1476"/>
                  <a:gd name="T75" fmla="*/ 2147483647 h 1464"/>
                  <a:gd name="T76" fmla="*/ 2147483647 w 1476"/>
                  <a:gd name="T77" fmla="*/ 2147483647 h 1464"/>
                  <a:gd name="T78" fmla="*/ 2147483647 w 1476"/>
                  <a:gd name="T79" fmla="*/ 2147483647 h 1464"/>
                  <a:gd name="T80" fmla="*/ 2147483647 w 1476"/>
                  <a:gd name="T81" fmla="*/ 2147483647 h 1464"/>
                  <a:gd name="T82" fmla="*/ 2147483647 w 1476"/>
                  <a:gd name="T83" fmla="*/ 2147483647 h 1464"/>
                  <a:gd name="T84" fmla="*/ 2147483647 w 1476"/>
                  <a:gd name="T85" fmla="*/ 2147483647 h 1464"/>
                  <a:gd name="T86" fmla="*/ 2147483647 w 1476"/>
                  <a:gd name="T87" fmla="*/ 2147483647 h 1464"/>
                  <a:gd name="T88" fmla="*/ 2147483647 w 1476"/>
                  <a:gd name="T89" fmla="*/ 2147483647 h 1464"/>
                  <a:gd name="T90" fmla="*/ 2147483647 w 1476"/>
                  <a:gd name="T91" fmla="*/ 2147483647 h 1464"/>
                  <a:gd name="T92" fmla="*/ 2147483647 w 1476"/>
                  <a:gd name="T93" fmla="*/ 2147483647 h 1464"/>
                  <a:gd name="T94" fmla="*/ 2147483647 w 1476"/>
                  <a:gd name="T95" fmla="*/ 2147483647 h 1464"/>
                  <a:gd name="T96" fmla="*/ 2147483647 w 1476"/>
                  <a:gd name="T97" fmla="*/ 2147483647 h 1464"/>
                  <a:gd name="T98" fmla="*/ 2147483647 w 1476"/>
                  <a:gd name="T99" fmla="*/ 2147483647 h 1464"/>
                  <a:gd name="T100" fmla="*/ 2147483647 w 1476"/>
                  <a:gd name="T101" fmla="*/ 2147483647 h 1464"/>
                  <a:gd name="T102" fmla="*/ 2147483647 w 1476"/>
                  <a:gd name="T103" fmla="*/ 2147483647 h 1464"/>
                  <a:gd name="T104" fmla="*/ 2147483647 w 1476"/>
                  <a:gd name="T105" fmla="*/ 2147483647 h 146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476"/>
                  <a:gd name="T160" fmla="*/ 0 h 1464"/>
                  <a:gd name="T161" fmla="*/ 1476 w 1476"/>
                  <a:gd name="T162" fmla="*/ 1464 h 146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476" h="1464">
                    <a:moveTo>
                      <a:pt x="360" y="534"/>
                    </a:moveTo>
                    <a:lnTo>
                      <a:pt x="318" y="534"/>
                    </a:lnTo>
                    <a:lnTo>
                      <a:pt x="312" y="546"/>
                    </a:lnTo>
                    <a:lnTo>
                      <a:pt x="306" y="552"/>
                    </a:lnTo>
                    <a:lnTo>
                      <a:pt x="294" y="576"/>
                    </a:lnTo>
                    <a:lnTo>
                      <a:pt x="282" y="588"/>
                    </a:lnTo>
                    <a:lnTo>
                      <a:pt x="258" y="588"/>
                    </a:lnTo>
                    <a:lnTo>
                      <a:pt x="246" y="582"/>
                    </a:lnTo>
                    <a:lnTo>
                      <a:pt x="234" y="582"/>
                    </a:lnTo>
                    <a:lnTo>
                      <a:pt x="228" y="594"/>
                    </a:lnTo>
                    <a:lnTo>
                      <a:pt x="204" y="600"/>
                    </a:lnTo>
                    <a:lnTo>
                      <a:pt x="204" y="606"/>
                    </a:lnTo>
                    <a:lnTo>
                      <a:pt x="198" y="618"/>
                    </a:lnTo>
                    <a:lnTo>
                      <a:pt x="186" y="618"/>
                    </a:lnTo>
                    <a:lnTo>
                      <a:pt x="180" y="612"/>
                    </a:lnTo>
                    <a:lnTo>
                      <a:pt x="168" y="606"/>
                    </a:lnTo>
                    <a:lnTo>
                      <a:pt x="138" y="624"/>
                    </a:lnTo>
                    <a:lnTo>
                      <a:pt x="120" y="624"/>
                    </a:lnTo>
                    <a:lnTo>
                      <a:pt x="120" y="630"/>
                    </a:lnTo>
                    <a:lnTo>
                      <a:pt x="90" y="660"/>
                    </a:lnTo>
                    <a:lnTo>
                      <a:pt x="78" y="666"/>
                    </a:lnTo>
                    <a:lnTo>
                      <a:pt x="72" y="672"/>
                    </a:lnTo>
                    <a:lnTo>
                      <a:pt x="60" y="678"/>
                    </a:lnTo>
                    <a:lnTo>
                      <a:pt x="54" y="708"/>
                    </a:lnTo>
                    <a:lnTo>
                      <a:pt x="54" y="768"/>
                    </a:lnTo>
                    <a:lnTo>
                      <a:pt x="0" y="768"/>
                    </a:lnTo>
                    <a:lnTo>
                      <a:pt x="54" y="768"/>
                    </a:lnTo>
                    <a:lnTo>
                      <a:pt x="54" y="804"/>
                    </a:lnTo>
                    <a:lnTo>
                      <a:pt x="312" y="984"/>
                    </a:lnTo>
                    <a:lnTo>
                      <a:pt x="720" y="1296"/>
                    </a:lnTo>
                    <a:lnTo>
                      <a:pt x="720" y="1320"/>
                    </a:lnTo>
                    <a:lnTo>
                      <a:pt x="744" y="1320"/>
                    </a:lnTo>
                    <a:lnTo>
                      <a:pt x="750" y="1326"/>
                    </a:lnTo>
                    <a:lnTo>
                      <a:pt x="750" y="1344"/>
                    </a:lnTo>
                    <a:lnTo>
                      <a:pt x="762" y="1356"/>
                    </a:lnTo>
                    <a:lnTo>
                      <a:pt x="798" y="1356"/>
                    </a:lnTo>
                    <a:lnTo>
                      <a:pt x="804" y="1386"/>
                    </a:lnTo>
                    <a:lnTo>
                      <a:pt x="810" y="1386"/>
                    </a:lnTo>
                    <a:lnTo>
                      <a:pt x="816" y="1380"/>
                    </a:lnTo>
                    <a:lnTo>
                      <a:pt x="846" y="1380"/>
                    </a:lnTo>
                    <a:lnTo>
                      <a:pt x="858" y="1386"/>
                    </a:lnTo>
                    <a:lnTo>
                      <a:pt x="870" y="1410"/>
                    </a:lnTo>
                    <a:lnTo>
                      <a:pt x="870" y="1428"/>
                    </a:lnTo>
                    <a:lnTo>
                      <a:pt x="852" y="1446"/>
                    </a:lnTo>
                    <a:lnTo>
                      <a:pt x="852" y="1452"/>
                    </a:lnTo>
                    <a:lnTo>
                      <a:pt x="858" y="1458"/>
                    </a:lnTo>
                    <a:lnTo>
                      <a:pt x="870" y="1464"/>
                    </a:lnTo>
                    <a:lnTo>
                      <a:pt x="900" y="1464"/>
                    </a:lnTo>
                    <a:lnTo>
                      <a:pt x="906" y="1458"/>
                    </a:lnTo>
                    <a:lnTo>
                      <a:pt x="924" y="1458"/>
                    </a:lnTo>
                    <a:lnTo>
                      <a:pt x="954" y="1452"/>
                    </a:lnTo>
                    <a:lnTo>
                      <a:pt x="984" y="1440"/>
                    </a:lnTo>
                    <a:lnTo>
                      <a:pt x="1020" y="1434"/>
                    </a:lnTo>
                    <a:lnTo>
                      <a:pt x="1038" y="1434"/>
                    </a:lnTo>
                    <a:lnTo>
                      <a:pt x="1062" y="1416"/>
                    </a:lnTo>
                    <a:lnTo>
                      <a:pt x="1098" y="1386"/>
                    </a:lnTo>
                    <a:lnTo>
                      <a:pt x="1128" y="1350"/>
                    </a:lnTo>
                    <a:lnTo>
                      <a:pt x="1158" y="1326"/>
                    </a:lnTo>
                    <a:lnTo>
                      <a:pt x="1182" y="1314"/>
                    </a:lnTo>
                    <a:lnTo>
                      <a:pt x="1224" y="1284"/>
                    </a:lnTo>
                    <a:lnTo>
                      <a:pt x="1272" y="1248"/>
                    </a:lnTo>
                    <a:lnTo>
                      <a:pt x="1332" y="1206"/>
                    </a:lnTo>
                    <a:lnTo>
                      <a:pt x="1386" y="1170"/>
                    </a:lnTo>
                    <a:lnTo>
                      <a:pt x="1434" y="1134"/>
                    </a:lnTo>
                    <a:lnTo>
                      <a:pt x="1464" y="1110"/>
                    </a:lnTo>
                    <a:lnTo>
                      <a:pt x="1476" y="1104"/>
                    </a:lnTo>
                    <a:lnTo>
                      <a:pt x="1476" y="1098"/>
                    </a:lnTo>
                    <a:lnTo>
                      <a:pt x="1470" y="1092"/>
                    </a:lnTo>
                    <a:lnTo>
                      <a:pt x="1464" y="1080"/>
                    </a:lnTo>
                    <a:lnTo>
                      <a:pt x="1458" y="1062"/>
                    </a:lnTo>
                    <a:lnTo>
                      <a:pt x="1452" y="1050"/>
                    </a:lnTo>
                    <a:lnTo>
                      <a:pt x="1452" y="1044"/>
                    </a:lnTo>
                    <a:lnTo>
                      <a:pt x="1440" y="1032"/>
                    </a:lnTo>
                    <a:lnTo>
                      <a:pt x="1428" y="1032"/>
                    </a:lnTo>
                    <a:lnTo>
                      <a:pt x="1392" y="1014"/>
                    </a:lnTo>
                    <a:lnTo>
                      <a:pt x="1386" y="1014"/>
                    </a:lnTo>
                    <a:lnTo>
                      <a:pt x="1362" y="1026"/>
                    </a:lnTo>
                    <a:lnTo>
                      <a:pt x="1338" y="1002"/>
                    </a:lnTo>
                    <a:lnTo>
                      <a:pt x="1338" y="960"/>
                    </a:lnTo>
                    <a:lnTo>
                      <a:pt x="1332" y="954"/>
                    </a:lnTo>
                    <a:lnTo>
                      <a:pt x="1326" y="942"/>
                    </a:lnTo>
                    <a:lnTo>
                      <a:pt x="1314" y="930"/>
                    </a:lnTo>
                    <a:lnTo>
                      <a:pt x="1308" y="912"/>
                    </a:lnTo>
                    <a:lnTo>
                      <a:pt x="1296" y="900"/>
                    </a:lnTo>
                    <a:lnTo>
                      <a:pt x="1290" y="888"/>
                    </a:lnTo>
                    <a:lnTo>
                      <a:pt x="1290" y="882"/>
                    </a:lnTo>
                    <a:lnTo>
                      <a:pt x="1296" y="876"/>
                    </a:lnTo>
                    <a:lnTo>
                      <a:pt x="1308" y="876"/>
                    </a:lnTo>
                    <a:lnTo>
                      <a:pt x="1320" y="870"/>
                    </a:lnTo>
                    <a:lnTo>
                      <a:pt x="1326" y="864"/>
                    </a:lnTo>
                    <a:lnTo>
                      <a:pt x="1332" y="852"/>
                    </a:lnTo>
                    <a:lnTo>
                      <a:pt x="1332" y="840"/>
                    </a:lnTo>
                    <a:lnTo>
                      <a:pt x="1326" y="834"/>
                    </a:lnTo>
                    <a:lnTo>
                      <a:pt x="1326" y="828"/>
                    </a:lnTo>
                    <a:lnTo>
                      <a:pt x="1320" y="774"/>
                    </a:lnTo>
                    <a:lnTo>
                      <a:pt x="1332" y="750"/>
                    </a:lnTo>
                    <a:lnTo>
                      <a:pt x="1326" y="732"/>
                    </a:lnTo>
                    <a:lnTo>
                      <a:pt x="1326" y="726"/>
                    </a:lnTo>
                    <a:lnTo>
                      <a:pt x="1332" y="720"/>
                    </a:lnTo>
                    <a:lnTo>
                      <a:pt x="1332" y="690"/>
                    </a:lnTo>
                    <a:lnTo>
                      <a:pt x="1338" y="678"/>
                    </a:lnTo>
                    <a:lnTo>
                      <a:pt x="1338" y="672"/>
                    </a:lnTo>
                    <a:lnTo>
                      <a:pt x="1326" y="648"/>
                    </a:lnTo>
                    <a:lnTo>
                      <a:pt x="1302" y="588"/>
                    </a:lnTo>
                    <a:lnTo>
                      <a:pt x="1290" y="570"/>
                    </a:lnTo>
                    <a:lnTo>
                      <a:pt x="1296" y="564"/>
                    </a:lnTo>
                    <a:lnTo>
                      <a:pt x="1308" y="558"/>
                    </a:lnTo>
                    <a:lnTo>
                      <a:pt x="1296" y="528"/>
                    </a:lnTo>
                    <a:lnTo>
                      <a:pt x="1284" y="480"/>
                    </a:lnTo>
                    <a:lnTo>
                      <a:pt x="1278" y="438"/>
                    </a:lnTo>
                    <a:lnTo>
                      <a:pt x="1272" y="414"/>
                    </a:lnTo>
                    <a:lnTo>
                      <a:pt x="1266" y="408"/>
                    </a:lnTo>
                    <a:lnTo>
                      <a:pt x="1260" y="396"/>
                    </a:lnTo>
                    <a:lnTo>
                      <a:pt x="1236" y="384"/>
                    </a:lnTo>
                    <a:lnTo>
                      <a:pt x="1230" y="378"/>
                    </a:lnTo>
                    <a:lnTo>
                      <a:pt x="1224" y="378"/>
                    </a:lnTo>
                    <a:lnTo>
                      <a:pt x="1224" y="336"/>
                    </a:lnTo>
                    <a:lnTo>
                      <a:pt x="1212" y="324"/>
                    </a:lnTo>
                    <a:lnTo>
                      <a:pt x="1194" y="318"/>
                    </a:lnTo>
                    <a:lnTo>
                      <a:pt x="1182" y="318"/>
                    </a:lnTo>
                    <a:lnTo>
                      <a:pt x="1182" y="288"/>
                    </a:lnTo>
                    <a:lnTo>
                      <a:pt x="1170" y="288"/>
                    </a:lnTo>
                    <a:lnTo>
                      <a:pt x="1170" y="246"/>
                    </a:lnTo>
                    <a:lnTo>
                      <a:pt x="1194" y="222"/>
                    </a:lnTo>
                    <a:lnTo>
                      <a:pt x="1218" y="204"/>
                    </a:lnTo>
                    <a:lnTo>
                      <a:pt x="1218" y="198"/>
                    </a:lnTo>
                    <a:lnTo>
                      <a:pt x="1224" y="192"/>
                    </a:lnTo>
                    <a:lnTo>
                      <a:pt x="1224" y="180"/>
                    </a:lnTo>
                    <a:lnTo>
                      <a:pt x="1230" y="168"/>
                    </a:lnTo>
                    <a:lnTo>
                      <a:pt x="1230" y="126"/>
                    </a:lnTo>
                    <a:lnTo>
                      <a:pt x="1224" y="114"/>
                    </a:lnTo>
                    <a:lnTo>
                      <a:pt x="1224" y="78"/>
                    </a:lnTo>
                    <a:lnTo>
                      <a:pt x="1230" y="66"/>
                    </a:lnTo>
                    <a:lnTo>
                      <a:pt x="1230" y="54"/>
                    </a:lnTo>
                    <a:lnTo>
                      <a:pt x="1212" y="48"/>
                    </a:lnTo>
                    <a:lnTo>
                      <a:pt x="1254" y="30"/>
                    </a:lnTo>
                    <a:lnTo>
                      <a:pt x="1254" y="18"/>
                    </a:lnTo>
                    <a:lnTo>
                      <a:pt x="1242" y="18"/>
                    </a:lnTo>
                    <a:lnTo>
                      <a:pt x="1236" y="12"/>
                    </a:lnTo>
                    <a:lnTo>
                      <a:pt x="1224" y="12"/>
                    </a:lnTo>
                    <a:lnTo>
                      <a:pt x="1206" y="24"/>
                    </a:lnTo>
                    <a:lnTo>
                      <a:pt x="1170" y="6"/>
                    </a:lnTo>
                    <a:lnTo>
                      <a:pt x="1152" y="6"/>
                    </a:lnTo>
                    <a:lnTo>
                      <a:pt x="1152" y="18"/>
                    </a:lnTo>
                    <a:lnTo>
                      <a:pt x="1116" y="18"/>
                    </a:lnTo>
                    <a:lnTo>
                      <a:pt x="1092" y="0"/>
                    </a:lnTo>
                    <a:lnTo>
                      <a:pt x="1086" y="30"/>
                    </a:lnTo>
                    <a:lnTo>
                      <a:pt x="1056" y="18"/>
                    </a:lnTo>
                    <a:lnTo>
                      <a:pt x="1026" y="42"/>
                    </a:lnTo>
                    <a:lnTo>
                      <a:pt x="1002" y="30"/>
                    </a:lnTo>
                    <a:lnTo>
                      <a:pt x="984" y="30"/>
                    </a:lnTo>
                    <a:lnTo>
                      <a:pt x="966" y="24"/>
                    </a:lnTo>
                    <a:lnTo>
                      <a:pt x="948" y="24"/>
                    </a:lnTo>
                    <a:lnTo>
                      <a:pt x="924" y="30"/>
                    </a:lnTo>
                    <a:lnTo>
                      <a:pt x="906" y="30"/>
                    </a:lnTo>
                    <a:lnTo>
                      <a:pt x="900" y="36"/>
                    </a:lnTo>
                    <a:lnTo>
                      <a:pt x="888" y="36"/>
                    </a:lnTo>
                    <a:lnTo>
                      <a:pt x="876" y="42"/>
                    </a:lnTo>
                    <a:lnTo>
                      <a:pt x="816" y="42"/>
                    </a:lnTo>
                    <a:lnTo>
                      <a:pt x="810" y="48"/>
                    </a:lnTo>
                    <a:lnTo>
                      <a:pt x="750" y="48"/>
                    </a:lnTo>
                    <a:lnTo>
                      <a:pt x="744" y="54"/>
                    </a:lnTo>
                    <a:lnTo>
                      <a:pt x="726" y="54"/>
                    </a:lnTo>
                    <a:lnTo>
                      <a:pt x="714" y="60"/>
                    </a:lnTo>
                    <a:lnTo>
                      <a:pt x="696" y="66"/>
                    </a:lnTo>
                    <a:lnTo>
                      <a:pt x="684" y="78"/>
                    </a:lnTo>
                    <a:lnTo>
                      <a:pt x="678" y="90"/>
                    </a:lnTo>
                    <a:lnTo>
                      <a:pt x="666" y="102"/>
                    </a:lnTo>
                    <a:lnTo>
                      <a:pt x="666" y="108"/>
                    </a:lnTo>
                    <a:lnTo>
                      <a:pt x="636" y="108"/>
                    </a:lnTo>
                    <a:lnTo>
                      <a:pt x="624" y="114"/>
                    </a:lnTo>
                    <a:lnTo>
                      <a:pt x="606" y="114"/>
                    </a:lnTo>
                    <a:lnTo>
                      <a:pt x="594" y="120"/>
                    </a:lnTo>
                    <a:lnTo>
                      <a:pt x="588" y="126"/>
                    </a:lnTo>
                    <a:lnTo>
                      <a:pt x="588" y="132"/>
                    </a:lnTo>
                    <a:lnTo>
                      <a:pt x="558" y="162"/>
                    </a:lnTo>
                    <a:lnTo>
                      <a:pt x="546" y="168"/>
                    </a:lnTo>
                    <a:lnTo>
                      <a:pt x="522" y="168"/>
                    </a:lnTo>
                    <a:lnTo>
                      <a:pt x="528" y="174"/>
                    </a:lnTo>
                    <a:lnTo>
                      <a:pt x="534" y="186"/>
                    </a:lnTo>
                    <a:lnTo>
                      <a:pt x="546" y="192"/>
                    </a:lnTo>
                    <a:lnTo>
                      <a:pt x="540" y="198"/>
                    </a:lnTo>
                    <a:lnTo>
                      <a:pt x="540" y="210"/>
                    </a:lnTo>
                    <a:lnTo>
                      <a:pt x="552" y="210"/>
                    </a:lnTo>
                    <a:lnTo>
                      <a:pt x="546" y="276"/>
                    </a:lnTo>
                    <a:lnTo>
                      <a:pt x="558" y="294"/>
                    </a:lnTo>
                    <a:lnTo>
                      <a:pt x="546" y="324"/>
                    </a:lnTo>
                    <a:lnTo>
                      <a:pt x="564" y="324"/>
                    </a:lnTo>
                    <a:lnTo>
                      <a:pt x="564" y="354"/>
                    </a:lnTo>
                    <a:lnTo>
                      <a:pt x="588" y="372"/>
                    </a:lnTo>
                    <a:lnTo>
                      <a:pt x="570" y="390"/>
                    </a:lnTo>
                    <a:lnTo>
                      <a:pt x="570" y="402"/>
                    </a:lnTo>
                    <a:lnTo>
                      <a:pt x="516" y="408"/>
                    </a:lnTo>
                    <a:lnTo>
                      <a:pt x="504" y="402"/>
                    </a:lnTo>
                    <a:lnTo>
                      <a:pt x="486" y="402"/>
                    </a:lnTo>
                    <a:lnTo>
                      <a:pt x="486" y="408"/>
                    </a:lnTo>
                    <a:lnTo>
                      <a:pt x="480" y="414"/>
                    </a:lnTo>
                    <a:lnTo>
                      <a:pt x="474" y="408"/>
                    </a:lnTo>
                    <a:lnTo>
                      <a:pt x="462" y="408"/>
                    </a:lnTo>
                    <a:lnTo>
                      <a:pt x="462" y="414"/>
                    </a:lnTo>
                    <a:lnTo>
                      <a:pt x="456" y="420"/>
                    </a:lnTo>
                    <a:lnTo>
                      <a:pt x="456" y="432"/>
                    </a:lnTo>
                    <a:lnTo>
                      <a:pt x="432" y="432"/>
                    </a:lnTo>
                    <a:lnTo>
                      <a:pt x="420" y="438"/>
                    </a:lnTo>
                    <a:lnTo>
                      <a:pt x="396" y="438"/>
                    </a:lnTo>
                    <a:lnTo>
                      <a:pt x="390" y="444"/>
                    </a:lnTo>
                    <a:lnTo>
                      <a:pt x="390" y="456"/>
                    </a:lnTo>
                    <a:lnTo>
                      <a:pt x="396" y="462"/>
                    </a:lnTo>
                    <a:lnTo>
                      <a:pt x="402" y="474"/>
                    </a:lnTo>
                    <a:lnTo>
                      <a:pt x="414" y="492"/>
                    </a:lnTo>
                    <a:lnTo>
                      <a:pt x="390" y="504"/>
                    </a:lnTo>
                    <a:lnTo>
                      <a:pt x="390" y="510"/>
                    </a:lnTo>
                    <a:lnTo>
                      <a:pt x="378" y="522"/>
                    </a:lnTo>
                    <a:lnTo>
                      <a:pt x="366" y="528"/>
                    </a:lnTo>
                    <a:lnTo>
                      <a:pt x="360" y="53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197" name="Central_East_Europe_Middle_East">
              <a:extLst>
                <a:ext uri="{FF2B5EF4-FFF2-40B4-BE49-F238E27FC236}">
                  <a16:creationId xmlns:a16="http://schemas.microsoft.com/office/drawing/2014/main" id="{CDF0FCEA-2E35-41B2-A0B4-6C3E75B6C814}"/>
                </a:ext>
              </a:extLst>
            </p:cNvPr>
            <p:cNvGrpSpPr/>
            <p:nvPr/>
          </p:nvGrpSpPr>
          <p:grpSpPr>
            <a:xfrm>
              <a:off x="5810157" y="938037"/>
              <a:ext cx="5167928" cy="2595692"/>
              <a:chOff x="5766095" y="1736525"/>
              <a:chExt cx="4366190" cy="2193004"/>
            </a:xfrm>
            <a:solidFill>
              <a:srgbClr val="008143"/>
            </a:solidFill>
          </p:grpSpPr>
          <p:sp>
            <p:nvSpPr>
              <p:cNvPr id="270" name="United Arab Emirate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DC97FCA-56EF-43B9-9792-02CD6C2B66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42870" y="3561071"/>
                <a:ext cx="148509" cy="143484"/>
              </a:xfrm>
              <a:custGeom>
                <a:avLst/>
                <a:gdLst>
                  <a:gd name="T0" fmla="*/ 2147483647 w 336"/>
                  <a:gd name="T1" fmla="*/ 2147483647 h 318"/>
                  <a:gd name="T2" fmla="*/ 2147483647 w 336"/>
                  <a:gd name="T3" fmla="*/ 2147483647 h 318"/>
                  <a:gd name="T4" fmla="*/ 2147483647 w 336"/>
                  <a:gd name="T5" fmla="*/ 2147483647 h 318"/>
                  <a:gd name="T6" fmla="*/ 2147483647 w 336"/>
                  <a:gd name="T7" fmla="*/ 2147483647 h 318"/>
                  <a:gd name="T8" fmla="*/ 2147483647 w 336"/>
                  <a:gd name="T9" fmla="*/ 2147483647 h 318"/>
                  <a:gd name="T10" fmla="*/ 2147483647 w 336"/>
                  <a:gd name="T11" fmla="*/ 0 h 318"/>
                  <a:gd name="T12" fmla="*/ 2147483647 w 336"/>
                  <a:gd name="T13" fmla="*/ 2147483647 h 318"/>
                  <a:gd name="T14" fmla="*/ 2147483647 w 336"/>
                  <a:gd name="T15" fmla="*/ 2147483647 h 318"/>
                  <a:gd name="T16" fmla="*/ 2147483647 w 336"/>
                  <a:gd name="T17" fmla="*/ 2147483647 h 318"/>
                  <a:gd name="T18" fmla="*/ 2147483647 w 336"/>
                  <a:gd name="T19" fmla="*/ 2147483647 h 318"/>
                  <a:gd name="T20" fmla="*/ 2147483647 w 336"/>
                  <a:gd name="T21" fmla="*/ 2147483647 h 318"/>
                  <a:gd name="T22" fmla="*/ 2147483647 w 336"/>
                  <a:gd name="T23" fmla="*/ 2147483647 h 318"/>
                  <a:gd name="T24" fmla="*/ 2147483647 w 336"/>
                  <a:gd name="T25" fmla="*/ 2147483647 h 318"/>
                  <a:gd name="T26" fmla="*/ 2147483647 w 336"/>
                  <a:gd name="T27" fmla="*/ 2147483647 h 318"/>
                  <a:gd name="T28" fmla="*/ 2147483647 w 336"/>
                  <a:gd name="T29" fmla="*/ 2147483647 h 318"/>
                  <a:gd name="T30" fmla="*/ 2147483647 w 336"/>
                  <a:gd name="T31" fmla="*/ 2147483647 h 318"/>
                  <a:gd name="T32" fmla="*/ 2147483647 w 336"/>
                  <a:gd name="T33" fmla="*/ 2147483647 h 318"/>
                  <a:gd name="T34" fmla="*/ 2147483647 w 336"/>
                  <a:gd name="T35" fmla="*/ 2147483647 h 318"/>
                  <a:gd name="T36" fmla="*/ 0 w 336"/>
                  <a:gd name="T37" fmla="*/ 2147483647 h 318"/>
                  <a:gd name="T38" fmla="*/ 2147483647 w 336"/>
                  <a:gd name="T39" fmla="*/ 2147483647 h 318"/>
                  <a:gd name="T40" fmla="*/ 2147483647 w 336"/>
                  <a:gd name="T41" fmla="*/ 2147483647 h 318"/>
                  <a:gd name="T42" fmla="*/ 2147483647 w 336"/>
                  <a:gd name="T43" fmla="*/ 2147483647 h 318"/>
                  <a:gd name="T44" fmla="*/ 2147483647 w 336"/>
                  <a:gd name="T45" fmla="*/ 2147483647 h 318"/>
                  <a:gd name="T46" fmla="*/ 2147483647 w 336"/>
                  <a:gd name="T47" fmla="*/ 2147483647 h 318"/>
                  <a:gd name="T48" fmla="*/ 2147483647 w 336"/>
                  <a:gd name="T49" fmla="*/ 2147483647 h 318"/>
                  <a:gd name="T50" fmla="*/ 2147483647 w 336"/>
                  <a:gd name="T51" fmla="*/ 2147483647 h 318"/>
                  <a:gd name="T52" fmla="*/ 2147483647 w 336"/>
                  <a:gd name="T53" fmla="*/ 2147483647 h 318"/>
                  <a:gd name="T54" fmla="*/ 2147483647 w 336"/>
                  <a:gd name="T55" fmla="*/ 2147483647 h 318"/>
                  <a:gd name="T56" fmla="*/ 2147483647 w 336"/>
                  <a:gd name="T57" fmla="*/ 2147483647 h 318"/>
                  <a:gd name="T58" fmla="*/ 2147483647 w 336"/>
                  <a:gd name="T59" fmla="*/ 2147483647 h 318"/>
                  <a:gd name="T60" fmla="*/ 2147483647 w 336"/>
                  <a:gd name="T61" fmla="*/ 2147483647 h 318"/>
                  <a:gd name="T62" fmla="*/ 2147483647 w 336"/>
                  <a:gd name="T63" fmla="*/ 2147483647 h 318"/>
                  <a:gd name="T64" fmla="*/ 2147483647 w 336"/>
                  <a:gd name="T65" fmla="*/ 2147483647 h 318"/>
                  <a:gd name="T66" fmla="*/ 2147483647 w 336"/>
                  <a:gd name="T67" fmla="*/ 2147483647 h 318"/>
                  <a:gd name="T68" fmla="*/ 2147483647 w 336"/>
                  <a:gd name="T69" fmla="*/ 2147483647 h 31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36"/>
                  <a:gd name="T106" fmla="*/ 0 h 318"/>
                  <a:gd name="T107" fmla="*/ 336 w 336"/>
                  <a:gd name="T108" fmla="*/ 318 h 318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36" h="318">
                    <a:moveTo>
                      <a:pt x="300" y="120"/>
                    </a:moveTo>
                    <a:lnTo>
                      <a:pt x="306" y="120"/>
                    </a:lnTo>
                    <a:lnTo>
                      <a:pt x="306" y="126"/>
                    </a:lnTo>
                    <a:lnTo>
                      <a:pt x="312" y="138"/>
                    </a:lnTo>
                    <a:lnTo>
                      <a:pt x="336" y="132"/>
                    </a:lnTo>
                    <a:lnTo>
                      <a:pt x="330" y="120"/>
                    </a:lnTo>
                    <a:lnTo>
                      <a:pt x="324" y="102"/>
                    </a:lnTo>
                    <a:lnTo>
                      <a:pt x="324" y="60"/>
                    </a:lnTo>
                    <a:lnTo>
                      <a:pt x="330" y="42"/>
                    </a:lnTo>
                    <a:lnTo>
                      <a:pt x="330" y="6"/>
                    </a:lnTo>
                    <a:lnTo>
                      <a:pt x="324" y="0"/>
                    </a:lnTo>
                    <a:lnTo>
                      <a:pt x="318" y="0"/>
                    </a:lnTo>
                    <a:lnTo>
                      <a:pt x="312" y="6"/>
                    </a:lnTo>
                    <a:lnTo>
                      <a:pt x="306" y="18"/>
                    </a:lnTo>
                    <a:lnTo>
                      <a:pt x="300" y="36"/>
                    </a:lnTo>
                    <a:lnTo>
                      <a:pt x="288" y="60"/>
                    </a:lnTo>
                    <a:lnTo>
                      <a:pt x="282" y="66"/>
                    </a:lnTo>
                    <a:lnTo>
                      <a:pt x="282" y="72"/>
                    </a:lnTo>
                    <a:lnTo>
                      <a:pt x="276" y="72"/>
                    </a:lnTo>
                    <a:lnTo>
                      <a:pt x="264" y="78"/>
                    </a:lnTo>
                    <a:lnTo>
                      <a:pt x="234" y="108"/>
                    </a:lnTo>
                    <a:lnTo>
                      <a:pt x="228" y="120"/>
                    </a:lnTo>
                    <a:lnTo>
                      <a:pt x="216" y="132"/>
                    </a:lnTo>
                    <a:lnTo>
                      <a:pt x="204" y="138"/>
                    </a:lnTo>
                    <a:lnTo>
                      <a:pt x="198" y="150"/>
                    </a:lnTo>
                    <a:lnTo>
                      <a:pt x="198" y="168"/>
                    </a:lnTo>
                    <a:lnTo>
                      <a:pt x="192" y="180"/>
                    </a:lnTo>
                    <a:lnTo>
                      <a:pt x="192" y="186"/>
                    </a:lnTo>
                    <a:lnTo>
                      <a:pt x="186" y="192"/>
                    </a:lnTo>
                    <a:lnTo>
                      <a:pt x="150" y="192"/>
                    </a:lnTo>
                    <a:lnTo>
                      <a:pt x="132" y="186"/>
                    </a:lnTo>
                    <a:lnTo>
                      <a:pt x="90" y="186"/>
                    </a:lnTo>
                    <a:lnTo>
                      <a:pt x="72" y="192"/>
                    </a:lnTo>
                    <a:lnTo>
                      <a:pt x="48" y="204"/>
                    </a:lnTo>
                    <a:lnTo>
                      <a:pt x="24" y="204"/>
                    </a:lnTo>
                    <a:lnTo>
                      <a:pt x="12" y="192"/>
                    </a:lnTo>
                    <a:lnTo>
                      <a:pt x="0" y="186"/>
                    </a:lnTo>
                    <a:lnTo>
                      <a:pt x="0" y="198"/>
                    </a:lnTo>
                    <a:lnTo>
                      <a:pt x="18" y="216"/>
                    </a:lnTo>
                    <a:lnTo>
                      <a:pt x="30" y="240"/>
                    </a:lnTo>
                    <a:lnTo>
                      <a:pt x="54" y="264"/>
                    </a:lnTo>
                    <a:lnTo>
                      <a:pt x="60" y="276"/>
                    </a:lnTo>
                    <a:lnTo>
                      <a:pt x="72" y="282"/>
                    </a:lnTo>
                    <a:lnTo>
                      <a:pt x="78" y="294"/>
                    </a:lnTo>
                    <a:lnTo>
                      <a:pt x="96" y="294"/>
                    </a:lnTo>
                    <a:lnTo>
                      <a:pt x="132" y="300"/>
                    </a:lnTo>
                    <a:lnTo>
                      <a:pt x="228" y="312"/>
                    </a:lnTo>
                    <a:lnTo>
                      <a:pt x="270" y="318"/>
                    </a:lnTo>
                    <a:lnTo>
                      <a:pt x="264" y="306"/>
                    </a:lnTo>
                    <a:lnTo>
                      <a:pt x="258" y="300"/>
                    </a:lnTo>
                    <a:lnTo>
                      <a:pt x="252" y="288"/>
                    </a:lnTo>
                    <a:lnTo>
                      <a:pt x="252" y="276"/>
                    </a:lnTo>
                    <a:lnTo>
                      <a:pt x="258" y="270"/>
                    </a:lnTo>
                    <a:lnTo>
                      <a:pt x="264" y="258"/>
                    </a:lnTo>
                    <a:lnTo>
                      <a:pt x="270" y="252"/>
                    </a:lnTo>
                    <a:lnTo>
                      <a:pt x="276" y="240"/>
                    </a:lnTo>
                    <a:lnTo>
                      <a:pt x="276" y="228"/>
                    </a:lnTo>
                    <a:lnTo>
                      <a:pt x="282" y="216"/>
                    </a:lnTo>
                    <a:lnTo>
                      <a:pt x="282" y="204"/>
                    </a:lnTo>
                    <a:lnTo>
                      <a:pt x="288" y="198"/>
                    </a:lnTo>
                    <a:lnTo>
                      <a:pt x="288" y="192"/>
                    </a:lnTo>
                    <a:lnTo>
                      <a:pt x="300" y="192"/>
                    </a:lnTo>
                    <a:lnTo>
                      <a:pt x="300" y="198"/>
                    </a:lnTo>
                    <a:lnTo>
                      <a:pt x="306" y="198"/>
                    </a:lnTo>
                    <a:lnTo>
                      <a:pt x="306" y="192"/>
                    </a:lnTo>
                    <a:lnTo>
                      <a:pt x="288" y="174"/>
                    </a:lnTo>
                    <a:lnTo>
                      <a:pt x="288" y="144"/>
                    </a:lnTo>
                    <a:lnTo>
                      <a:pt x="294" y="132"/>
                    </a:lnTo>
                    <a:lnTo>
                      <a:pt x="294" y="126"/>
                    </a:lnTo>
                    <a:lnTo>
                      <a:pt x="300" y="12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71" name="Ukrain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B5852F9-6086-43A1-B626-5E76F8A7FA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01139" y="2636399"/>
                <a:ext cx="494450" cy="281654"/>
              </a:xfrm>
              <a:custGeom>
                <a:avLst/>
                <a:gdLst>
                  <a:gd name="T0" fmla="*/ 2147483647 w 1116"/>
                  <a:gd name="T1" fmla="*/ 2147483647 h 624"/>
                  <a:gd name="T2" fmla="*/ 2147483647 w 1116"/>
                  <a:gd name="T3" fmla="*/ 2147483647 h 624"/>
                  <a:gd name="T4" fmla="*/ 2147483647 w 1116"/>
                  <a:gd name="T5" fmla="*/ 2147483647 h 624"/>
                  <a:gd name="T6" fmla="*/ 2147483647 w 1116"/>
                  <a:gd name="T7" fmla="*/ 2147483647 h 624"/>
                  <a:gd name="T8" fmla="*/ 2147483647 w 1116"/>
                  <a:gd name="T9" fmla="*/ 2147483647 h 624"/>
                  <a:gd name="T10" fmla="*/ 2147483647 w 1116"/>
                  <a:gd name="T11" fmla="*/ 2147483647 h 624"/>
                  <a:gd name="T12" fmla="*/ 2147483647 w 1116"/>
                  <a:gd name="T13" fmla="*/ 2147483647 h 624"/>
                  <a:gd name="T14" fmla="*/ 2147483647 w 1116"/>
                  <a:gd name="T15" fmla="*/ 2147483647 h 624"/>
                  <a:gd name="T16" fmla="*/ 2147483647 w 1116"/>
                  <a:gd name="T17" fmla="*/ 2147483647 h 624"/>
                  <a:gd name="T18" fmla="*/ 2147483647 w 1116"/>
                  <a:gd name="T19" fmla="*/ 2147483647 h 624"/>
                  <a:gd name="T20" fmla="*/ 2147483647 w 1116"/>
                  <a:gd name="T21" fmla="*/ 2147483647 h 624"/>
                  <a:gd name="T22" fmla="*/ 2147483647 w 1116"/>
                  <a:gd name="T23" fmla="*/ 2147483647 h 624"/>
                  <a:gd name="T24" fmla="*/ 2147483647 w 1116"/>
                  <a:gd name="T25" fmla="*/ 2147483647 h 624"/>
                  <a:gd name="T26" fmla="*/ 2147483647 w 1116"/>
                  <a:gd name="T27" fmla="*/ 2147483647 h 624"/>
                  <a:gd name="T28" fmla="*/ 2147483647 w 1116"/>
                  <a:gd name="T29" fmla="*/ 2147483647 h 624"/>
                  <a:gd name="T30" fmla="*/ 2147483647 w 1116"/>
                  <a:gd name="T31" fmla="*/ 2147483647 h 624"/>
                  <a:gd name="T32" fmla="*/ 2147483647 w 1116"/>
                  <a:gd name="T33" fmla="*/ 2147483647 h 624"/>
                  <a:gd name="T34" fmla="*/ 2147483647 w 1116"/>
                  <a:gd name="T35" fmla="*/ 2147483647 h 624"/>
                  <a:gd name="T36" fmla="*/ 2147483647 w 1116"/>
                  <a:gd name="T37" fmla="*/ 2147483647 h 624"/>
                  <a:gd name="T38" fmla="*/ 2147483647 w 1116"/>
                  <a:gd name="T39" fmla="*/ 2147483647 h 624"/>
                  <a:gd name="T40" fmla="*/ 2147483647 w 1116"/>
                  <a:gd name="T41" fmla="*/ 2147483647 h 624"/>
                  <a:gd name="T42" fmla="*/ 2147483647 w 1116"/>
                  <a:gd name="T43" fmla="*/ 2147483647 h 624"/>
                  <a:gd name="T44" fmla="*/ 2147483647 w 1116"/>
                  <a:gd name="T45" fmla="*/ 2147483647 h 624"/>
                  <a:gd name="T46" fmla="*/ 2147483647 w 1116"/>
                  <a:gd name="T47" fmla="*/ 2147483647 h 624"/>
                  <a:gd name="T48" fmla="*/ 2147483647 w 1116"/>
                  <a:gd name="T49" fmla="*/ 2147483647 h 624"/>
                  <a:gd name="T50" fmla="*/ 2147483647 w 1116"/>
                  <a:gd name="T51" fmla="*/ 2147483647 h 624"/>
                  <a:gd name="T52" fmla="*/ 2147483647 w 1116"/>
                  <a:gd name="T53" fmla="*/ 2147483647 h 624"/>
                  <a:gd name="T54" fmla="*/ 2147483647 w 1116"/>
                  <a:gd name="T55" fmla="*/ 2147483647 h 624"/>
                  <a:gd name="T56" fmla="*/ 2147483647 w 1116"/>
                  <a:gd name="T57" fmla="*/ 2147483647 h 624"/>
                  <a:gd name="T58" fmla="*/ 2147483647 w 1116"/>
                  <a:gd name="T59" fmla="*/ 2147483647 h 624"/>
                  <a:gd name="T60" fmla="*/ 2147483647 w 1116"/>
                  <a:gd name="T61" fmla="*/ 2147483647 h 624"/>
                  <a:gd name="T62" fmla="*/ 2147483647 w 1116"/>
                  <a:gd name="T63" fmla="*/ 2147483647 h 624"/>
                  <a:gd name="T64" fmla="*/ 2147483647 w 1116"/>
                  <a:gd name="T65" fmla="*/ 2147483647 h 624"/>
                  <a:gd name="T66" fmla="*/ 2147483647 w 1116"/>
                  <a:gd name="T67" fmla="*/ 2147483647 h 624"/>
                  <a:gd name="T68" fmla="*/ 2147483647 w 1116"/>
                  <a:gd name="T69" fmla="*/ 2147483647 h 624"/>
                  <a:gd name="T70" fmla="*/ 2147483647 w 1116"/>
                  <a:gd name="T71" fmla="*/ 2147483647 h 624"/>
                  <a:gd name="T72" fmla="*/ 2147483647 w 1116"/>
                  <a:gd name="T73" fmla="*/ 2147483647 h 624"/>
                  <a:gd name="T74" fmla="*/ 2147483647 w 1116"/>
                  <a:gd name="T75" fmla="*/ 2147483647 h 624"/>
                  <a:gd name="T76" fmla="*/ 2147483647 w 1116"/>
                  <a:gd name="T77" fmla="*/ 2147483647 h 624"/>
                  <a:gd name="T78" fmla="*/ 2147483647 w 1116"/>
                  <a:gd name="T79" fmla="*/ 2147483647 h 624"/>
                  <a:gd name="T80" fmla="*/ 2147483647 w 1116"/>
                  <a:gd name="T81" fmla="*/ 2147483647 h 624"/>
                  <a:gd name="T82" fmla="*/ 2147483647 w 1116"/>
                  <a:gd name="T83" fmla="*/ 2147483647 h 624"/>
                  <a:gd name="T84" fmla="*/ 2147483647 w 1116"/>
                  <a:gd name="T85" fmla="*/ 2147483647 h 624"/>
                  <a:gd name="T86" fmla="*/ 2147483647 w 1116"/>
                  <a:gd name="T87" fmla="*/ 2147483647 h 624"/>
                  <a:gd name="T88" fmla="*/ 2147483647 w 1116"/>
                  <a:gd name="T89" fmla="*/ 0 h 624"/>
                  <a:gd name="T90" fmla="*/ 2147483647 w 1116"/>
                  <a:gd name="T91" fmla="*/ 2147483647 h 624"/>
                  <a:gd name="T92" fmla="*/ 2147483647 w 1116"/>
                  <a:gd name="T93" fmla="*/ 2147483647 h 624"/>
                  <a:gd name="T94" fmla="*/ 2147483647 w 1116"/>
                  <a:gd name="T95" fmla="*/ 2147483647 h 624"/>
                  <a:gd name="T96" fmla="*/ 2147483647 w 1116"/>
                  <a:gd name="T97" fmla="*/ 2147483647 h 624"/>
                  <a:gd name="T98" fmla="*/ 2147483647 w 1116"/>
                  <a:gd name="T99" fmla="*/ 2147483647 h 624"/>
                  <a:gd name="T100" fmla="*/ 2147483647 w 1116"/>
                  <a:gd name="T101" fmla="*/ 2147483647 h 624"/>
                  <a:gd name="T102" fmla="*/ 2147483647 w 1116"/>
                  <a:gd name="T103" fmla="*/ 2147483647 h 624"/>
                  <a:gd name="T104" fmla="*/ 2147483647 w 1116"/>
                  <a:gd name="T105" fmla="*/ 2147483647 h 624"/>
                  <a:gd name="T106" fmla="*/ 2147483647 w 1116"/>
                  <a:gd name="T107" fmla="*/ 2147483647 h 624"/>
                  <a:gd name="T108" fmla="*/ 2147483647 w 1116"/>
                  <a:gd name="T109" fmla="*/ 2147483647 h 624"/>
                  <a:gd name="T110" fmla="*/ 2147483647 w 1116"/>
                  <a:gd name="T111" fmla="*/ 2147483647 h 624"/>
                  <a:gd name="T112" fmla="*/ 2147483647 w 1116"/>
                  <a:gd name="T113" fmla="*/ 2147483647 h 624"/>
                  <a:gd name="T114" fmla="*/ 2147483647 w 1116"/>
                  <a:gd name="T115" fmla="*/ 2147483647 h 624"/>
                  <a:gd name="T116" fmla="*/ 2147483647 w 1116"/>
                  <a:gd name="T117" fmla="*/ 2147483647 h 6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116"/>
                  <a:gd name="T178" fmla="*/ 0 h 624"/>
                  <a:gd name="T179" fmla="*/ 1116 w 1116"/>
                  <a:gd name="T180" fmla="*/ 624 h 6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116" h="624">
                    <a:moveTo>
                      <a:pt x="24" y="324"/>
                    </a:moveTo>
                    <a:lnTo>
                      <a:pt x="30" y="324"/>
                    </a:lnTo>
                    <a:lnTo>
                      <a:pt x="36" y="330"/>
                    </a:lnTo>
                    <a:lnTo>
                      <a:pt x="48" y="330"/>
                    </a:lnTo>
                    <a:lnTo>
                      <a:pt x="54" y="336"/>
                    </a:lnTo>
                    <a:lnTo>
                      <a:pt x="78" y="336"/>
                    </a:lnTo>
                    <a:lnTo>
                      <a:pt x="84" y="342"/>
                    </a:lnTo>
                    <a:lnTo>
                      <a:pt x="108" y="342"/>
                    </a:lnTo>
                    <a:lnTo>
                      <a:pt x="114" y="348"/>
                    </a:lnTo>
                    <a:lnTo>
                      <a:pt x="126" y="342"/>
                    </a:lnTo>
                    <a:lnTo>
                      <a:pt x="132" y="342"/>
                    </a:lnTo>
                    <a:lnTo>
                      <a:pt x="144" y="336"/>
                    </a:lnTo>
                    <a:lnTo>
                      <a:pt x="150" y="336"/>
                    </a:lnTo>
                    <a:lnTo>
                      <a:pt x="174" y="360"/>
                    </a:lnTo>
                    <a:lnTo>
                      <a:pt x="186" y="360"/>
                    </a:lnTo>
                    <a:lnTo>
                      <a:pt x="198" y="348"/>
                    </a:lnTo>
                    <a:lnTo>
                      <a:pt x="198" y="342"/>
                    </a:lnTo>
                    <a:lnTo>
                      <a:pt x="222" y="348"/>
                    </a:lnTo>
                    <a:lnTo>
                      <a:pt x="228" y="336"/>
                    </a:lnTo>
                    <a:lnTo>
                      <a:pt x="234" y="342"/>
                    </a:lnTo>
                    <a:lnTo>
                      <a:pt x="252" y="342"/>
                    </a:lnTo>
                    <a:lnTo>
                      <a:pt x="258" y="336"/>
                    </a:lnTo>
                    <a:lnTo>
                      <a:pt x="258" y="330"/>
                    </a:lnTo>
                    <a:lnTo>
                      <a:pt x="270" y="318"/>
                    </a:lnTo>
                    <a:lnTo>
                      <a:pt x="282" y="318"/>
                    </a:lnTo>
                    <a:lnTo>
                      <a:pt x="288" y="306"/>
                    </a:lnTo>
                    <a:lnTo>
                      <a:pt x="294" y="306"/>
                    </a:lnTo>
                    <a:lnTo>
                      <a:pt x="306" y="312"/>
                    </a:lnTo>
                    <a:lnTo>
                      <a:pt x="318" y="312"/>
                    </a:lnTo>
                    <a:lnTo>
                      <a:pt x="318" y="306"/>
                    </a:lnTo>
                    <a:lnTo>
                      <a:pt x="324" y="306"/>
                    </a:lnTo>
                    <a:lnTo>
                      <a:pt x="336" y="300"/>
                    </a:lnTo>
                    <a:lnTo>
                      <a:pt x="342" y="300"/>
                    </a:lnTo>
                    <a:lnTo>
                      <a:pt x="354" y="312"/>
                    </a:lnTo>
                    <a:lnTo>
                      <a:pt x="360" y="312"/>
                    </a:lnTo>
                    <a:lnTo>
                      <a:pt x="360" y="318"/>
                    </a:lnTo>
                    <a:lnTo>
                      <a:pt x="402" y="318"/>
                    </a:lnTo>
                    <a:lnTo>
                      <a:pt x="408" y="324"/>
                    </a:lnTo>
                    <a:lnTo>
                      <a:pt x="408" y="336"/>
                    </a:lnTo>
                    <a:lnTo>
                      <a:pt x="426" y="336"/>
                    </a:lnTo>
                    <a:lnTo>
                      <a:pt x="438" y="342"/>
                    </a:lnTo>
                    <a:lnTo>
                      <a:pt x="444" y="348"/>
                    </a:lnTo>
                    <a:lnTo>
                      <a:pt x="450" y="360"/>
                    </a:lnTo>
                    <a:lnTo>
                      <a:pt x="444" y="366"/>
                    </a:lnTo>
                    <a:lnTo>
                      <a:pt x="444" y="390"/>
                    </a:lnTo>
                    <a:lnTo>
                      <a:pt x="456" y="384"/>
                    </a:lnTo>
                    <a:lnTo>
                      <a:pt x="462" y="384"/>
                    </a:lnTo>
                    <a:lnTo>
                      <a:pt x="468" y="390"/>
                    </a:lnTo>
                    <a:lnTo>
                      <a:pt x="462" y="396"/>
                    </a:lnTo>
                    <a:lnTo>
                      <a:pt x="462" y="414"/>
                    </a:lnTo>
                    <a:lnTo>
                      <a:pt x="474" y="414"/>
                    </a:lnTo>
                    <a:lnTo>
                      <a:pt x="480" y="420"/>
                    </a:lnTo>
                    <a:lnTo>
                      <a:pt x="492" y="420"/>
                    </a:lnTo>
                    <a:lnTo>
                      <a:pt x="498" y="426"/>
                    </a:lnTo>
                    <a:lnTo>
                      <a:pt x="498" y="456"/>
                    </a:lnTo>
                    <a:lnTo>
                      <a:pt x="492" y="456"/>
                    </a:lnTo>
                    <a:lnTo>
                      <a:pt x="480" y="462"/>
                    </a:lnTo>
                    <a:lnTo>
                      <a:pt x="462" y="462"/>
                    </a:lnTo>
                    <a:lnTo>
                      <a:pt x="456" y="456"/>
                    </a:lnTo>
                    <a:lnTo>
                      <a:pt x="438" y="456"/>
                    </a:lnTo>
                    <a:lnTo>
                      <a:pt x="432" y="462"/>
                    </a:lnTo>
                    <a:lnTo>
                      <a:pt x="432" y="468"/>
                    </a:lnTo>
                    <a:lnTo>
                      <a:pt x="438" y="468"/>
                    </a:lnTo>
                    <a:lnTo>
                      <a:pt x="450" y="474"/>
                    </a:lnTo>
                    <a:lnTo>
                      <a:pt x="456" y="480"/>
                    </a:lnTo>
                    <a:lnTo>
                      <a:pt x="438" y="492"/>
                    </a:lnTo>
                    <a:lnTo>
                      <a:pt x="432" y="498"/>
                    </a:lnTo>
                    <a:lnTo>
                      <a:pt x="420" y="504"/>
                    </a:lnTo>
                    <a:lnTo>
                      <a:pt x="414" y="504"/>
                    </a:lnTo>
                    <a:lnTo>
                      <a:pt x="414" y="516"/>
                    </a:lnTo>
                    <a:lnTo>
                      <a:pt x="420" y="522"/>
                    </a:lnTo>
                    <a:lnTo>
                      <a:pt x="420" y="534"/>
                    </a:lnTo>
                    <a:lnTo>
                      <a:pt x="396" y="540"/>
                    </a:lnTo>
                    <a:lnTo>
                      <a:pt x="390" y="528"/>
                    </a:lnTo>
                    <a:lnTo>
                      <a:pt x="390" y="516"/>
                    </a:lnTo>
                    <a:lnTo>
                      <a:pt x="390" y="528"/>
                    </a:lnTo>
                    <a:lnTo>
                      <a:pt x="396" y="540"/>
                    </a:lnTo>
                    <a:lnTo>
                      <a:pt x="396" y="546"/>
                    </a:lnTo>
                    <a:lnTo>
                      <a:pt x="408" y="552"/>
                    </a:lnTo>
                    <a:lnTo>
                      <a:pt x="438" y="552"/>
                    </a:lnTo>
                    <a:lnTo>
                      <a:pt x="444" y="546"/>
                    </a:lnTo>
                    <a:lnTo>
                      <a:pt x="450" y="546"/>
                    </a:lnTo>
                    <a:lnTo>
                      <a:pt x="456" y="540"/>
                    </a:lnTo>
                    <a:lnTo>
                      <a:pt x="474" y="540"/>
                    </a:lnTo>
                    <a:lnTo>
                      <a:pt x="480" y="534"/>
                    </a:lnTo>
                    <a:lnTo>
                      <a:pt x="486" y="534"/>
                    </a:lnTo>
                    <a:lnTo>
                      <a:pt x="480" y="528"/>
                    </a:lnTo>
                    <a:lnTo>
                      <a:pt x="486" y="528"/>
                    </a:lnTo>
                    <a:lnTo>
                      <a:pt x="492" y="522"/>
                    </a:lnTo>
                    <a:lnTo>
                      <a:pt x="510" y="516"/>
                    </a:lnTo>
                    <a:lnTo>
                      <a:pt x="522" y="510"/>
                    </a:lnTo>
                    <a:lnTo>
                      <a:pt x="528" y="504"/>
                    </a:lnTo>
                    <a:lnTo>
                      <a:pt x="534" y="492"/>
                    </a:lnTo>
                    <a:lnTo>
                      <a:pt x="540" y="486"/>
                    </a:lnTo>
                    <a:lnTo>
                      <a:pt x="546" y="474"/>
                    </a:lnTo>
                    <a:lnTo>
                      <a:pt x="552" y="468"/>
                    </a:lnTo>
                    <a:lnTo>
                      <a:pt x="552" y="462"/>
                    </a:lnTo>
                    <a:lnTo>
                      <a:pt x="582" y="450"/>
                    </a:lnTo>
                    <a:lnTo>
                      <a:pt x="600" y="438"/>
                    </a:lnTo>
                    <a:lnTo>
                      <a:pt x="612" y="444"/>
                    </a:lnTo>
                    <a:lnTo>
                      <a:pt x="624" y="444"/>
                    </a:lnTo>
                    <a:lnTo>
                      <a:pt x="636" y="450"/>
                    </a:lnTo>
                    <a:lnTo>
                      <a:pt x="654" y="450"/>
                    </a:lnTo>
                    <a:lnTo>
                      <a:pt x="666" y="438"/>
                    </a:lnTo>
                    <a:lnTo>
                      <a:pt x="648" y="462"/>
                    </a:lnTo>
                    <a:lnTo>
                      <a:pt x="624" y="462"/>
                    </a:lnTo>
                    <a:lnTo>
                      <a:pt x="630" y="468"/>
                    </a:lnTo>
                    <a:lnTo>
                      <a:pt x="642" y="474"/>
                    </a:lnTo>
                    <a:lnTo>
                      <a:pt x="654" y="486"/>
                    </a:lnTo>
                    <a:lnTo>
                      <a:pt x="726" y="486"/>
                    </a:lnTo>
                    <a:lnTo>
                      <a:pt x="738" y="504"/>
                    </a:lnTo>
                    <a:lnTo>
                      <a:pt x="726" y="510"/>
                    </a:lnTo>
                    <a:lnTo>
                      <a:pt x="720" y="516"/>
                    </a:lnTo>
                    <a:lnTo>
                      <a:pt x="684" y="534"/>
                    </a:lnTo>
                    <a:lnTo>
                      <a:pt x="678" y="540"/>
                    </a:lnTo>
                    <a:lnTo>
                      <a:pt x="678" y="546"/>
                    </a:lnTo>
                    <a:lnTo>
                      <a:pt x="684" y="546"/>
                    </a:lnTo>
                    <a:lnTo>
                      <a:pt x="690" y="552"/>
                    </a:lnTo>
                    <a:lnTo>
                      <a:pt x="720" y="552"/>
                    </a:lnTo>
                    <a:lnTo>
                      <a:pt x="732" y="558"/>
                    </a:lnTo>
                    <a:lnTo>
                      <a:pt x="744" y="570"/>
                    </a:lnTo>
                    <a:lnTo>
                      <a:pt x="744" y="594"/>
                    </a:lnTo>
                    <a:lnTo>
                      <a:pt x="738" y="606"/>
                    </a:lnTo>
                    <a:lnTo>
                      <a:pt x="738" y="618"/>
                    </a:lnTo>
                    <a:lnTo>
                      <a:pt x="756" y="618"/>
                    </a:lnTo>
                    <a:lnTo>
                      <a:pt x="768" y="624"/>
                    </a:lnTo>
                    <a:lnTo>
                      <a:pt x="780" y="624"/>
                    </a:lnTo>
                    <a:lnTo>
                      <a:pt x="780" y="618"/>
                    </a:lnTo>
                    <a:lnTo>
                      <a:pt x="792" y="606"/>
                    </a:lnTo>
                    <a:lnTo>
                      <a:pt x="804" y="600"/>
                    </a:lnTo>
                    <a:lnTo>
                      <a:pt x="810" y="594"/>
                    </a:lnTo>
                    <a:lnTo>
                      <a:pt x="840" y="594"/>
                    </a:lnTo>
                    <a:lnTo>
                      <a:pt x="858" y="576"/>
                    </a:lnTo>
                    <a:lnTo>
                      <a:pt x="858" y="570"/>
                    </a:lnTo>
                    <a:lnTo>
                      <a:pt x="864" y="564"/>
                    </a:lnTo>
                    <a:lnTo>
                      <a:pt x="870" y="564"/>
                    </a:lnTo>
                    <a:lnTo>
                      <a:pt x="882" y="576"/>
                    </a:lnTo>
                    <a:lnTo>
                      <a:pt x="918" y="570"/>
                    </a:lnTo>
                    <a:lnTo>
                      <a:pt x="918" y="552"/>
                    </a:lnTo>
                    <a:lnTo>
                      <a:pt x="930" y="540"/>
                    </a:lnTo>
                    <a:lnTo>
                      <a:pt x="900" y="540"/>
                    </a:lnTo>
                    <a:lnTo>
                      <a:pt x="894" y="546"/>
                    </a:lnTo>
                    <a:lnTo>
                      <a:pt x="882" y="552"/>
                    </a:lnTo>
                    <a:lnTo>
                      <a:pt x="852" y="552"/>
                    </a:lnTo>
                    <a:lnTo>
                      <a:pt x="846" y="546"/>
                    </a:lnTo>
                    <a:lnTo>
                      <a:pt x="834" y="540"/>
                    </a:lnTo>
                    <a:lnTo>
                      <a:pt x="828" y="534"/>
                    </a:lnTo>
                    <a:lnTo>
                      <a:pt x="828" y="522"/>
                    </a:lnTo>
                    <a:lnTo>
                      <a:pt x="822" y="516"/>
                    </a:lnTo>
                    <a:lnTo>
                      <a:pt x="810" y="516"/>
                    </a:lnTo>
                    <a:lnTo>
                      <a:pt x="786" y="498"/>
                    </a:lnTo>
                    <a:lnTo>
                      <a:pt x="750" y="492"/>
                    </a:lnTo>
                    <a:lnTo>
                      <a:pt x="744" y="480"/>
                    </a:lnTo>
                    <a:lnTo>
                      <a:pt x="810" y="480"/>
                    </a:lnTo>
                    <a:lnTo>
                      <a:pt x="822" y="474"/>
                    </a:lnTo>
                    <a:lnTo>
                      <a:pt x="834" y="462"/>
                    </a:lnTo>
                    <a:lnTo>
                      <a:pt x="846" y="468"/>
                    </a:lnTo>
                    <a:lnTo>
                      <a:pt x="852" y="462"/>
                    </a:lnTo>
                    <a:lnTo>
                      <a:pt x="864" y="456"/>
                    </a:lnTo>
                    <a:lnTo>
                      <a:pt x="870" y="450"/>
                    </a:lnTo>
                    <a:lnTo>
                      <a:pt x="882" y="444"/>
                    </a:lnTo>
                    <a:lnTo>
                      <a:pt x="906" y="444"/>
                    </a:lnTo>
                    <a:lnTo>
                      <a:pt x="918" y="438"/>
                    </a:lnTo>
                    <a:lnTo>
                      <a:pt x="930" y="438"/>
                    </a:lnTo>
                    <a:lnTo>
                      <a:pt x="978" y="408"/>
                    </a:lnTo>
                    <a:lnTo>
                      <a:pt x="1014" y="408"/>
                    </a:lnTo>
                    <a:lnTo>
                      <a:pt x="1014" y="372"/>
                    </a:lnTo>
                    <a:lnTo>
                      <a:pt x="1032" y="372"/>
                    </a:lnTo>
                    <a:lnTo>
                      <a:pt x="1038" y="366"/>
                    </a:lnTo>
                    <a:lnTo>
                      <a:pt x="1038" y="360"/>
                    </a:lnTo>
                    <a:lnTo>
                      <a:pt x="1050" y="348"/>
                    </a:lnTo>
                    <a:lnTo>
                      <a:pt x="1080" y="348"/>
                    </a:lnTo>
                    <a:lnTo>
                      <a:pt x="1092" y="342"/>
                    </a:lnTo>
                    <a:lnTo>
                      <a:pt x="1104" y="342"/>
                    </a:lnTo>
                    <a:lnTo>
                      <a:pt x="1116" y="330"/>
                    </a:lnTo>
                    <a:lnTo>
                      <a:pt x="1116" y="324"/>
                    </a:lnTo>
                    <a:lnTo>
                      <a:pt x="1110" y="312"/>
                    </a:lnTo>
                    <a:lnTo>
                      <a:pt x="1110" y="300"/>
                    </a:lnTo>
                    <a:lnTo>
                      <a:pt x="1098" y="294"/>
                    </a:lnTo>
                    <a:lnTo>
                      <a:pt x="1086" y="282"/>
                    </a:lnTo>
                    <a:lnTo>
                      <a:pt x="1092" y="276"/>
                    </a:lnTo>
                    <a:lnTo>
                      <a:pt x="1110" y="276"/>
                    </a:lnTo>
                    <a:lnTo>
                      <a:pt x="1116" y="270"/>
                    </a:lnTo>
                    <a:lnTo>
                      <a:pt x="1110" y="264"/>
                    </a:lnTo>
                    <a:lnTo>
                      <a:pt x="1104" y="264"/>
                    </a:lnTo>
                    <a:lnTo>
                      <a:pt x="1098" y="258"/>
                    </a:lnTo>
                    <a:lnTo>
                      <a:pt x="1092" y="258"/>
                    </a:lnTo>
                    <a:lnTo>
                      <a:pt x="1110" y="246"/>
                    </a:lnTo>
                    <a:lnTo>
                      <a:pt x="1110" y="222"/>
                    </a:lnTo>
                    <a:lnTo>
                      <a:pt x="1104" y="216"/>
                    </a:lnTo>
                    <a:lnTo>
                      <a:pt x="1080" y="216"/>
                    </a:lnTo>
                    <a:lnTo>
                      <a:pt x="1062" y="204"/>
                    </a:lnTo>
                    <a:lnTo>
                      <a:pt x="1056" y="198"/>
                    </a:lnTo>
                    <a:lnTo>
                      <a:pt x="1056" y="192"/>
                    </a:lnTo>
                    <a:lnTo>
                      <a:pt x="1014" y="192"/>
                    </a:lnTo>
                    <a:lnTo>
                      <a:pt x="1002" y="186"/>
                    </a:lnTo>
                    <a:lnTo>
                      <a:pt x="996" y="180"/>
                    </a:lnTo>
                    <a:lnTo>
                      <a:pt x="978" y="180"/>
                    </a:lnTo>
                    <a:lnTo>
                      <a:pt x="966" y="186"/>
                    </a:lnTo>
                    <a:lnTo>
                      <a:pt x="942" y="162"/>
                    </a:lnTo>
                    <a:lnTo>
                      <a:pt x="936" y="150"/>
                    </a:lnTo>
                    <a:lnTo>
                      <a:pt x="924" y="150"/>
                    </a:lnTo>
                    <a:lnTo>
                      <a:pt x="918" y="156"/>
                    </a:lnTo>
                    <a:lnTo>
                      <a:pt x="918" y="162"/>
                    </a:lnTo>
                    <a:lnTo>
                      <a:pt x="912" y="156"/>
                    </a:lnTo>
                    <a:lnTo>
                      <a:pt x="864" y="156"/>
                    </a:lnTo>
                    <a:lnTo>
                      <a:pt x="858" y="150"/>
                    </a:lnTo>
                    <a:lnTo>
                      <a:pt x="846" y="150"/>
                    </a:lnTo>
                    <a:lnTo>
                      <a:pt x="840" y="144"/>
                    </a:lnTo>
                    <a:lnTo>
                      <a:pt x="816" y="150"/>
                    </a:lnTo>
                    <a:lnTo>
                      <a:pt x="810" y="150"/>
                    </a:lnTo>
                    <a:lnTo>
                      <a:pt x="798" y="102"/>
                    </a:lnTo>
                    <a:lnTo>
                      <a:pt x="756" y="84"/>
                    </a:lnTo>
                    <a:lnTo>
                      <a:pt x="720" y="84"/>
                    </a:lnTo>
                    <a:lnTo>
                      <a:pt x="720" y="66"/>
                    </a:lnTo>
                    <a:lnTo>
                      <a:pt x="714" y="48"/>
                    </a:lnTo>
                    <a:lnTo>
                      <a:pt x="720" y="48"/>
                    </a:lnTo>
                    <a:lnTo>
                      <a:pt x="726" y="42"/>
                    </a:lnTo>
                    <a:lnTo>
                      <a:pt x="726" y="30"/>
                    </a:lnTo>
                    <a:lnTo>
                      <a:pt x="720" y="30"/>
                    </a:lnTo>
                    <a:lnTo>
                      <a:pt x="708" y="24"/>
                    </a:lnTo>
                    <a:lnTo>
                      <a:pt x="702" y="18"/>
                    </a:lnTo>
                    <a:lnTo>
                      <a:pt x="696" y="18"/>
                    </a:lnTo>
                    <a:lnTo>
                      <a:pt x="690" y="0"/>
                    </a:lnTo>
                    <a:lnTo>
                      <a:pt x="642" y="0"/>
                    </a:lnTo>
                    <a:lnTo>
                      <a:pt x="630" y="6"/>
                    </a:lnTo>
                    <a:lnTo>
                      <a:pt x="600" y="6"/>
                    </a:lnTo>
                    <a:lnTo>
                      <a:pt x="600" y="18"/>
                    </a:lnTo>
                    <a:lnTo>
                      <a:pt x="594" y="24"/>
                    </a:lnTo>
                    <a:lnTo>
                      <a:pt x="558" y="24"/>
                    </a:lnTo>
                    <a:lnTo>
                      <a:pt x="546" y="18"/>
                    </a:lnTo>
                    <a:lnTo>
                      <a:pt x="516" y="18"/>
                    </a:lnTo>
                    <a:lnTo>
                      <a:pt x="510" y="30"/>
                    </a:lnTo>
                    <a:lnTo>
                      <a:pt x="498" y="36"/>
                    </a:lnTo>
                    <a:lnTo>
                      <a:pt x="492" y="42"/>
                    </a:lnTo>
                    <a:lnTo>
                      <a:pt x="486" y="54"/>
                    </a:lnTo>
                    <a:lnTo>
                      <a:pt x="492" y="60"/>
                    </a:lnTo>
                    <a:lnTo>
                      <a:pt x="492" y="72"/>
                    </a:lnTo>
                    <a:lnTo>
                      <a:pt x="486" y="78"/>
                    </a:lnTo>
                    <a:lnTo>
                      <a:pt x="468" y="78"/>
                    </a:lnTo>
                    <a:lnTo>
                      <a:pt x="462" y="72"/>
                    </a:lnTo>
                    <a:lnTo>
                      <a:pt x="438" y="72"/>
                    </a:lnTo>
                    <a:lnTo>
                      <a:pt x="426" y="78"/>
                    </a:lnTo>
                    <a:lnTo>
                      <a:pt x="420" y="78"/>
                    </a:lnTo>
                    <a:lnTo>
                      <a:pt x="420" y="66"/>
                    </a:lnTo>
                    <a:lnTo>
                      <a:pt x="414" y="60"/>
                    </a:lnTo>
                    <a:lnTo>
                      <a:pt x="396" y="60"/>
                    </a:lnTo>
                    <a:lnTo>
                      <a:pt x="390" y="66"/>
                    </a:lnTo>
                    <a:lnTo>
                      <a:pt x="390" y="72"/>
                    </a:lnTo>
                    <a:lnTo>
                      <a:pt x="378" y="60"/>
                    </a:lnTo>
                    <a:lnTo>
                      <a:pt x="366" y="66"/>
                    </a:lnTo>
                    <a:lnTo>
                      <a:pt x="360" y="60"/>
                    </a:lnTo>
                    <a:lnTo>
                      <a:pt x="342" y="66"/>
                    </a:lnTo>
                    <a:lnTo>
                      <a:pt x="336" y="54"/>
                    </a:lnTo>
                    <a:lnTo>
                      <a:pt x="324" y="66"/>
                    </a:lnTo>
                    <a:lnTo>
                      <a:pt x="306" y="54"/>
                    </a:lnTo>
                    <a:lnTo>
                      <a:pt x="300" y="60"/>
                    </a:lnTo>
                    <a:lnTo>
                      <a:pt x="282" y="48"/>
                    </a:lnTo>
                    <a:lnTo>
                      <a:pt x="258" y="42"/>
                    </a:lnTo>
                    <a:lnTo>
                      <a:pt x="222" y="42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168" y="30"/>
                    </a:lnTo>
                    <a:lnTo>
                      <a:pt x="162" y="36"/>
                    </a:lnTo>
                    <a:lnTo>
                      <a:pt x="150" y="42"/>
                    </a:lnTo>
                    <a:lnTo>
                      <a:pt x="114" y="42"/>
                    </a:lnTo>
                    <a:lnTo>
                      <a:pt x="114" y="48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66" y="60"/>
                    </a:lnTo>
                    <a:lnTo>
                      <a:pt x="72" y="78"/>
                    </a:lnTo>
                    <a:lnTo>
                      <a:pt x="90" y="96"/>
                    </a:lnTo>
                    <a:lnTo>
                      <a:pt x="90" y="102"/>
                    </a:lnTo>
                    <a:lnTo>
                      <a:pt x="102" y="108"/>
                    </a:lnTo>
                    <a:lnTo>
                      <a:pt x="108" y="114"/>
                    </a:lnTo>
                    <a:lnTo>
                      <a:pt x="102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14" y="144"/>
                    </a:lnTo>
                    <a:lnTo>
                      <a:pt x="108" y="150"/>
                    </a:lnTo>
                    <a:lnTo>
                      <a:pt x="102" y="150"/>
                    </a:lnTo>
                    <a:lnTo>
                      <a:pt x="96" y="156"/>
                    </a:lnTo>
                    <a:lnTo>
                      <a:pt x="84" y="156"/>
                    </a:lnTo>
                    <a:lnTo>
                      <a:pt x="30" y="204"/>
                    </a:lnTo>
                    <a:lnTo>
                      <a:pt x="30" y="246"/>
                    </a:lnTo>
                    <a:lnTo>
                      <a:pt x="42" y="258"/>
                    </a:lnTo>
                    <a:lnTo>
                      <a:pt x="18" y="258"/>
                    </a:lnTo>
                    <a:lnTo>
                      <a:pt x="18" y="270"/>
                    </a:lnTo>
                    <a:lnTo>
                      <a:pt x="12" y="276"/>
                    </a:lnTo>
                    <a:lnTo>
                      <a:pt x="12" y="282"/>
                    </a:lnTo>
                    <a:lnTo>
                      <a:pt x="6" y="288"/>
                    </a:lnTo>
                    <a:lnTo>
                      <a:pt x="0" y="288"/>
                    </a:lnTo>
                    <a:lnTo>
                      <a:pt x="0" y="306"/>
                    </a:lnTo>
                    <a:lnTo>
                      <a:pt x="6" y="306"/>
                    </a:lnTo>
                    <a:lnTo>
                      <a:pt x="24" y="32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72" name="Turke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D58759A-23F8-485D-86F9-56166473A2B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302479" y="2995995"/>
                <a:ext cx="588797" cy="226740"/>
              </a:xfrm>
              <a:custGeom>
                <a:avLst/>
                <a:gdLst>
                  <a:gd name="T0" fmla="*/ 2147483647 w 1332"/>
                  <a:gd name="T1" fmla="*/ 2147483647 h 510"/>
                  <a:gd name="T2" fmla="*/ 2147483647 w 1332"/>
                  <a:gd name="T3" fmla="*/ 2147483647 h 510"/>
                  <a:gd name="T4" fmla="*/ 2147483647 w 1332"/>
                  <a:gd name="T5" fmla="*/ 2147483647 h 510"/>
                  <a:gd name="T6" fmla="*/ 2147483647 w 1332"/>
                  <a:gd name="T7" fmla="*/ 2147483647 h 510"/>
                  <a:gd name="T8" fmla="*/ 2147483647 w 1332"/>
                  <a:gd name="T9" fmla="*/ 2147483647 h 510"/>
                  <a:gd name="T10" fmla="*/ 2147483647 w 1332"/>
                  <a:gd name="T11" fmla="*/ 2147483647 h 510"/>
                  <a:gd name="T12" fmla="*/ 2147483647 w 1332"/>
                  <a:gd name="T13" fmla="*/ 2147483647 h 510"/>
                  <a:gd name="T14" fmla="*/ 2147483647 w 1332"/>
                  <a:gd name="T15" fmla="*/ 2147483647 h 510"/>
                  <a:gd name="T16" fmla="*/ 2147483647 w 1332"/>
                  <a:gd name="T17" fmla="*/ 2147483647 h 510"/>
                  <a:gd name="T18" fmla="*/ 2147483647 w 1332"/>
                  <a:gd name="T19" fmla="*/ 2147483647 h 510"/>
                  <a:gd name="T20" fmla="*/ 2147483647 w 1332"/>
                  <a:gd name="T21" fmla="*/ 2147483647 h 510"/>
                  <a:gd name="T22" fmla="*/ 2147483647 w 1332"/>
                  <a:gd name="T23" fmla="*/ 2147483647 h 510"/>
                  <a:gd name="T24" fmla="*/ 2147483647 w 1332"/>
                  <a:gd name="T25" fmla="*/ 2147483647 h 510"/>
                  <a:gd name="T26" fmla="*/ 2147483647 w 1332"/>
                  <a:gd name="T27" fmla="*/ 2147483647 h 510"/>
                  <a:gd name="T28" fmla="*/ 2147483647 w 1332"/>
                  <a:gd name="T29" fmla="*/ 2147483647 h 510"/>
                  <a:gd name="T30" fmla="*/ 2147483647 w 1332"/>
                  <a:gd name="T31" fmla="*/ 2147483647 h 510"/>
                  <a:gd name="T32" fmla="*/ 2147483647 w 1332"/>
                  <a:gd name="T33" fmla="*/ 2147483647 h 510"/>
                  <a:gd name="T34" fmla="*/ 2147483647 w 1332"/>
                  <a:gd name="T35" fmla="*/ 2147483647 h 510"/>
                  <a:gd name="T36" fmla="*/ 2147483647 w 1332"/>
                  <a:gd name="T37" fmla="*/ 2147483647 h 510"/>
                  <a:gd name="T38" fmla="*/ 2147483647 w 1332"/>
                  <a:gd name="T39" fmla="*/ 2147483647 h 510"/>
                  <a:gd name="T40" fmla="*/ 2147483647 w 1332"/>
                  <a:gd name="T41" fmla="*/ 2147483647 h 510"/>
                  <a:gd name="T42" fmla="*/ 2147483647 w 1332"/>
                  <a:gd name="T43" fmla="*/ 2147483647 h 510"/>
                  <a:gd name="T44" fmla="*/ 2147483647 w 1332"/>
                  <a:gd name="T45" fmla="*/ 2147483647 h 510"/>
                  <a:gd name="T46" fmla="*/ 2147483647 w 1332"/>
                  <a:gd name="T47" fmla="*/ 2147483647 h 510"/>
                  <a:gd name="T48" fmla="*/ 2147483647 w 1332"/>
                  <a:gd name="T49" fmla="*/ 2147483647 h 510"/>
                  <a:gd name="T50" fmla="*/ 2147483647 w 1332"/>
                  <a:gd name="T51" fmla="*/ 2147483647 h 510"/>
                  <a:gd name="T52" fmla="*/ 2147483647 w 1332"/>
                  <a:gd name="T53" fmla="*/ 2147483647 h 510"/>
                  <a:gd name="T54" fmla="*/ 2147483647 w 1332"/>
                  <a:gd name="T55" fmla="*/ 2147483647 h 510"/>
                  <a:gd name="T56" fmla="*/ 2147483647 w 1332"/>
                  <a:gd name="T57" fmla="*/ 2147483647 h 510"/>
                  <a:gd name="T58" fmla="*/ 2147483647 w 1332"/>
                  <a:gd name="T59" fmla="*/ 2147483647 h 510"/>
                  <a:gd name="T60" fmla="*/ 2147483647 w 1332"/>
                  <a:gd name="T61" fmla="*/ 2147483647 h 510"/>
                  <a:gd name="T62" fmla="*/ 2147483647 w 1332"/>
                  <a:gd name="T63" fmla="*/ 2147483647 h 510"/>
                  <a:gd name="T64" fmla="*/ 2147483647 w 1332"/>
                  <a:gd name="T65" fmla="*/ 2147483647 h 510"/>
                  <a:gd name="T66" fmla="*/ 2147483647 w 1332"/>
                  <a:gd name="T67" fmla="*/ 2147483647 h 510"/>
                  <a:gd name="T68" fmla="*/ 2147483647 w 1332"/>
                  <a:gd name="T69" fmla="*/ 2147483647 h 510"/>
                  <a:gd name="T70" fmla="*/ 2147483647 w 1332"/>
                  <a:gd name="T71" fmla="*/ 2147483647 h 510"/>
                  <a:gd name="T72" fmla="*/ 2147483647 w 1332"/>
                  <a:gd name="T73" fmla="*/ 2147483647 h 510"/>
                  <a:gd name="T74" fmla="*/ 2147483647 w 1332"/>
                  <a:gd name="T75" fmla="*/ 2147483647 h 510"/>
                  <a:gd name="T76" fmla="*/ 2147483647 w 1332"/>
                  <a:gd name="T77" fmla="*/ 2147483647 h 510"/>
                  <a:gd name="T78" fmla="*/ 2147483647 w 1332"/>
                  <a:gd name="T79" fmla="*/ 2147483647 h 510"/>
                  <a:gd name="T80" fmla="*/ 2147483647 w 1332"/>
                  <a:gd name="T81" fmla="*/ 2147483647 h 510"/>
                  <a:gd name="T82" fmla="*/ 2147483647 w 1332"/>
                  <a:gd name="T83" fmla="*/ 2147483647 h 510"/>
                  <a:gd name="T84" fmla="*/ 2147483647 w 1332"/>
                  <a:gd name="T85" fmla="*/ 2147483647 h 510"/>
                  <a:gd name="T86" fmla="*/ 2147483647 w 1332"/>
                  <a:gd name="T87" fmla="*/ 2147483647 h 510"/>
                  <a:gd name="T88" fmla="*/ 2147483647 w 1332"/>
                  <a:gd name="T89" fmla="*/ 2147483647 h 510"/>
                  <a:gd name="T90" fmla="*/ 2147483647 w 1332"/>
                  <a:gd name="T91" fmla="*/ 2147483647 h 510"/>
                  <a:gd name="T92" fmla="*/ 2147483647 w 1332"/>
                  <a:gd name="T93" fmla="*/ 2147483647 h 510"/>
                  <a:gd name="T94" fmla="*/ 2147483647 w 1332"/>
                  <a:gd name="T95" fmla="*/ 2147483647 h 510"/>
                  <a:gd name="T96" fmla="*/ 2147483647 w 1332"/>
                  <a:gd name="T97" fmla="*/ 2147483647 h 510"/>
                  <a:gd name="T98" fmla="*/ 2147483647 w 1332"/>
                  <a:gd name="T99" fmla="*/ 2147483647 h 510"/>
                  <a:gd name="T100" fmla="*/ 2147483647 w 1332"/>
                  <a:gd name="T101" fmla="*/ 2147483647 h 510"/>
                  <a:gd name="T102" fmla="*/ 2147483647 w 1332"/>
                  <a:gd name="T103" fmla="*/ 2147483647 h 510"/>
                  <a:gd name="T104" fmla="*/ 2147483647 w 1332"/>
                  <a:gd name="T105" fmla="*/ 2147483647 h 510"/>
                  <a:gd name="T106" fmla="*/ 2147483647 w 1332"/>
                  <a:gd name="T107" fmla="*/ 2147483647 h 510"/>
                  <a:gd name="T108" fmla="*/ 2147483647 w 1332"/>
                  <a:gd name="T109" fmla="*/ 2147483647 h 510"/>
                  <a:gd name="T110" fmla="*/ 2147483647 w 1332"/>
                  <a:gd name="T111" fmla="*/ 2147483647 h 510"/>
                  <a:gd name="T112" fmla="*/ 2147483647 w 1332"/>
                  <a:gd name="T113" fmla="*/ 2147483647 h 510"/>
                  <a:gd name="T114" fmla="*/ 2147483647 w 1332"/>
                  <a:gd name="T115" fmla="*/ 2147483647 h 51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32"/>
                  <a:gd name="T175" fmla="*/ 0 h 510"/>
                  <a:gd name="T176" fmla="*/ 1332 w 1332"/>
                  <a:gd name="T177" fmla="*/ 510 h 51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32" h="510">
                    <a:moveTo>
                      <a:pt x="6" y="192"/>
                    </a:moveTo>
                    <a:lnTo>
                      <a:pt x="24" y="186"/>
                    </a:lnTo>
                    <a:lnTo>
                      <a:pt x="30" y="174"/>
                    </a:lnTo>
                    <a:lnTo>
                      <a:pt x="0" y="174"/>
                    </a:lnTo>
                    <a:lnTo>
                      <a:pt x="6" y="192"/>
                    </a:lnTo>
                    <a:close/>
                    <a:moveTo>
                      <a:pt x="42" y="162"/>
                    </a:moveTo>
                    <a:lnTo>
                      <a:pt x="42" y="168"/>
                    </a:lnTo>
                    <a:lnTo>
                      <a:pt x="48" y="174"/>
                    </a:lnTo>
                    <a:lnTo>
                      <a:pt x="60" y="174"/>
                    </a:lnTo>
                    <a:lnTo>
                      <a:pt x="60" y="162"/>
                    </a:lnTo>
                    <a:lnTo>
                      <a:pt x="54" y="156"/>
                    </a:lnTo>
                    <a:lnTo>
                      <a:pt x="54" y="150"/>
                    </a:lnTo>
                    <a:lnTo>
                      <a:pt x="48" y="150"/>
                    </a:lnTo>
                    <a:lnTo>
                      <a:pt x="48" y="156"/>
                    </a:lnTo>
                    <a:lnTo>
                      <a:pt x="42" y="162"/>
                    </a:lnTo>
                    <a:close/>
                    <a:moveTo>
                      <a:pt x="96" y="138"/>
                    </a:moveTo>
                    <a:lnTo>
                      <a:pt x="66" y="138"/>
                    </a:lnTo>
                    <a:lnTo>
                      <a:pt x="66" y="174"/>
                    </a:lnTo>
                    <a:lnTo>
                      <a:pt x="78" y="150"/>
                    </a:lnTo>
                    <a:lnTo>
                      <a:pt x="96" y="138"/>
                    </a:lnTo>
                    <a:close/>
                    <a:moveTo>
                      <a:pt x="1332" y="402"/>
                    </a:moveTo>
                    <a:lnTo>
                      <a:pt x="1332" y="390"/>
                    </a:lnTo>
                    <a:lnTo>
                      <a:pt x="1308" y="384"/>
                    </a:lnTo>
                    <a:lnTo>
                      <a:pt x="1308" y="354"/>
                    </a:lnTo>
                    <a:lnTo>
                      <a:pt x="1272" y="336"/>
                    </a:lnTo>
                    <a:lnTo>
                      <a:pt x="1278" y="330"/>
                    </a:lnTo>
                    <a:lnTo>
                      <a:pt x="1284" y="318"/>
                    </a:lnTo>
                    <a:lnTo>
                      <a:pt x="1284" y="312"/>
                    </a:lnTo>
                    <a:lnTo>
                      <a:pt x="1290" y="306"/>
                    </a:lnTo>
                    <a:lnTo>
                      <a:pt x="1284" y="306"/>
                    </a:lnTo>
                    <a:lnTo>
                      <a:pt x="1278" y="300"/>
                    </a:lnTo>
                    <a:lnTo>
                      <a:pt x="1278" y="288"/>
                    </a:lnTo>
                    <a:lnTo>
                      <a:pt x="1266" y="276"/>
                    </a:lnTo>
                    <a:lnTo>
                      <a:pt x="1266" y="246"/>
                    </a:lnTo>
                    <a:lnTo>
                      <a:pt x="1248" y="222"/>
                    </a:lnTo>
                    <a:lnTo>
                      <a:pt x="1272" y="222"/>
                    </a:lnTo>
                    <a:lnTo>
                      <a:pt x="1272" y="216"/>
                    </a:lnTo>
                    <a:lnTo>
                      <a:pt x="1278" y="210"/>
                    </a:lnTo>
                    <a:lnTo>
                      <a:pt x="1272" y="198"/>
                    </a:lnTo>
                    <a:lnTo>
                      <a:pt x="1272" y="186"/>
                    </a:lnTo>
                    <a:lnTo>
                      <a:pt x="1266" y="180"/>
                    </a:lnTo>
                    <a:lnTo>
                      <a:pt x="1266" y="174"/>
                    </a:lnTo>
                    <a:lnTo>
                      <a:pt x="1260" y="174"/>
                    </a:lnTo>
                    <a:lnTo>
                      <a:pt x="1248" y="180"/>
                    </a:lnTo>
                    <a:lnTo>
                      <a:pt x="1236" y="180"/>
                    </a:lnTo>
                    <a:lnTo>
                      <a:pt x="1224" y="174"/>
                    </a:lnTo>
                    <a:lnTo>
                      <a:pt x="1218" y="168"/>
                    </a:lnTo>
                    <a:lnTo>
                      <a:pt x="1212" y="156"/>
                    </a:lnTo>
                    <a:lnTo>
                      <a:pt x="1212" y="144"/>
                    </a:lnTo>
                    <a:lnTo>
                      <a:pt x="1200" y="108"/>
                    </a:lnTo>
                    <a:lnTo>
                      <a:pt x="1194" y="96"/>
                    </a:lnTo>
                    <a:lnTo>
                      <a:pt x="1194" y="84"/>
                    </a:lnTo>
                    <a:lnTo>
                      <a:pt x="1188" y="78"/>
                    </a:lnTo>
                    <a:lnTo>
                      <a:pt x="1164" y="78"/>
                    </a:lnTo>
                    <a:lnTo>
                      <a:pt x="1164" y="72"/>
                    </a:lnTo>
                    <a:lnTo>
                      <a:pt x="1158" y="60"/>
                    </a:lnTo>
                    <a:lnTo>
                      <a:pt x="1152" y="54"/>
                    </a:lnTo>
                    <a:lnTo>
                      <a:pt x="1140" y="48"/>
                    </a:lnTo>
                    <a:lnTo>
                      <a:pt x="1128" y="48"/>
                    </a:lnTo>
                    <a:lnTo>
                      <a:pt x="1116" y="54"/>
                    </a:lnTo>
                    <a:lnTo>
                      <a:pt x="1110" y="60"/>
                    </a:lnTo>
                    <a:lnTo>
                      <a:pt x="1074" y="54"/>
                    </a:lnTo>
                    <a:lnTo>
                      <a:pt x="1062" y="66"/>
                    </a:lnTo>
                    <a:lnTo>
                      <a:pt x="1026" y="90"/>
                    </a:lnTo>
                    <a:lnTo>
                      <a:pt x="1014" y="96"/>
                    </a:lnTo>
                    <a:lnTo>
                      <a:pt x="930" y="96"/>
                    </a:lnTo>
                    <a:lnTo>
                      <a:pt x="876" y="108"/>
                    </a:lnTo>
                    <a:lnTo>
                      <a:pt x="810" y="84"/>
                    </a:lnTo>
                    <a:lnTo>
                      <a:pt x="786" y="96"/>
                    </a:lnTo>
                    <a:lnTo>
                      <a:pt x="786" y="90"/>
                    </a:lnTo>
                    <a:lnTo>
                      <a:pt x="780" y="84"/>
                    </a:lnTo>
                    <a:lnTo>
                      <a:pt x="774" y="72"/>
                    </a:lnTo>
                    <a:lnTo>
                      <a:pt x="768" y="66"/>
                    </a:lnTo>
                    <a:lnTo>
                      <a:pt x="756" y="66"/>
                    </a:lnTo>
                    <a:lnTo>
                      <a:pt x="744" y="72"/>
                    </a:lnTo>
                    <a:lnTo>
                      <a:pt x="738" y="78"/>
                    </a:lnTo>
                    <a:lnTo>
                      <a:pt x="708" y="60"/>
                    </a:lnTo>
                    <a:lnTo>
                      <a:pt x="708" y="36"/>
                    </a:lnTo>
                    <a:lnTo>
                      <a:pt x="660" y="48"/>
                    </a:lnTo>
                    <a:lnTo>
                      <a:pt x="636" y="30"/>
                    </a:lnTo>
                    <a:lnTo>
                      <a:pt x="630" y="12"/>
                    </a:lnTo>
                    <a:lnTo>
                      <a:pt x="624" y="12"/>
                    </a:lnTo>
                    <a:lnTo>
                      <a:pt x="618" y="18"/>
                    </a:lnTo>
                    <a:lnTo>
                      <a:pt x="600" y="18"/>
                    </a:lnTo>
                    <a:lnTo>
                      <a:pt x="588" y="24"/>
                    </a:lnTo>
                    <a:lnTo>
                      <a:pt x="558" y="24"/>
                    </a:lnTo>
                    <a:lnTo>
                      <a:pt x="534" y="18"/>
                    </a:lnTo>
                    <a:lnTo>
                      <a:pt x="504" y="18"/>
                    </a:lnTo>
                    <a:lnTo>
                      <a:pt x="492" y="24"/>
                    </a:lnTo>
                    <a:lnTo>
                      <a:pt x="456" y="36"/>
                    </a:lnTo>
                    <a:lnTo>
                      <a:pt x="444" y="42"/>
                    </a:lnTo>
                    <a:lnTo>
                      <a:pt x="438" y="48"/>
                    </a:lnTo>
                    <a:lnTo>
                      <a:pt x="426" y="54"/>
                    </a:lnTo>
                    <a:lnTo>
                      <a:pt x="414" y="66"/>
                    </a:lnTo>
                    <a:lnTo>
                      <a:pt x="408" y="66"/>
                    </a:lnTo>
                    <a:lnTo>
                      <a:pt x="396" y="90"/>
                    </a:lnTo>
                    <a:lnTo>
                      <a:pt x="378" y="90"/>
                    </a:lnTo>
                    <a:lnTo>
                      <a:pt x="354" y="84"/>
                    </a:lnTo>
                    <a:lnTo>
                      <a:pt x="294" y="84"/>
                    </a:lnTo>
                    <a:lnTo>
                      <a:pt x="282" y="78"/>
                    </a:lnTo>
                    <a:lnTo>
                      <a:pt x="264" y="78"/>
                    </a:lnTo>
                    <a:lnTo>
                      <a:pt x="252" y="72"/>
                    </a:lnTo>
                    <a:lnTo>
                      <a:pt x="240" y="72"/>
                    </a:lnTo>
                    <a:lnTo>
                      <a:pt x="234" y="66"/>
                    </a:lnTo>
                    <a:lnTo>
                      <a:pt x="198" y="66"/>
                    </a:lnTo>
                    <a:lnTo>
                      <a:pt x="186" y="54"/>
                    </a:lnTo>
                    <a:lnTo>
                      <a:pt x="180" y="36"/>
                    </a:lnTo>
                    <a:lnTo>
                      <a:pt x="180" y="24"/>
                    </a:lnTo>
                    <a:lnTo>
                      <a:pt x="168" y="24"/>
                    </a:lnTo>
                    <a:lnTo>
                      <a:pt x="156" y="18"/>
                    </a:lnTo>
                    <a:lnTo>
                      <a:pt x="144" y="18"/>
                    </a:lnTo>
                    <a:lnTo>
                      <a:pt x="132" y="0"/>
                    </a:lnTo>
                    <a:lnTo>
                      <a:pt x="120" y="18"/>
                    </a:lnTo>
                    <a:lnTo>
                      <a:pt x="90" y="12"/>
                    </a:lnTo>
                    <a:lnTo>
                      <a:pt x="72" y="36"/>
                    </a:lnTo>
                    <a:lnTo>
                      <a:pt x="78" y="42"/>
                    </a:lnTo>
                    <a:lnTo>
                      <a:pt x="90" y="42"/>
                    </a:lnTo>
                    <a:lnTo>
                      <a:pt x="90" y="48"/>
                    </a:lnTo>
                    <a:lnTo>
                      <a:pt x="96" y="54"/>
                    </a:lnTo>
                    <a:lnTo>
                      <a:pt x="96" y="66"/>
                    </a:lnTo>
                    <a:lnTo>
                      <a:pt x="78" y="66"/>
                    </a:lnTo>
                    <a:lnTo>
                      <a:pt x="72" y="72"/>
                    </a:lnTo>
                    <a:lnTo>
                      <a:pt x="72" y="78"/>
                    </a:lnTo>
                    <a:lnTo>
                      <a:pt x="78" y="84"/>
                    </a:lnTo>
                    <a:lnTo>
                      <a:pt x="78" y="96"/>
                    </a:lnTo>
                    <a:lnTo>
                      <a:pt x="72" y="108"/>
                    </a:lnTo>
                    <a:lnTo>
                      <a:pt x="72" y="114"/>
                    </a:lnTo>
                    <a:lnTo>
                      <a:pt x="66" y="120"/>
                    </a:lnTo>
                    <a:lnTo>
                      <a:pt x="66" y="132"/>
                    </a:lnTo>
                    <a:lnTo>
                      <a:pt x="72" y="132"/>
                    </a:lnTo>
                    <a:lnTo>
                      <a:pt x="90" y="126"/>
                    </a:lnTo>
                    <a:lnTo>
                      <a:pt x="102" y="126"/>
                    </a:lnTo>
                    <a:lnTo>
                      <a:pt x="108" y="120"/>
                    </a:lnTo>
                    <a:lnTo>
                      <a:pt x="114" y="120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8" y="120"/>
                    </a:lnTo>
                    <a:lnTo>
                      <a:pt x="162" y="96"/>
                    </a:lnTo>
                    <a:lnTo>
                      <a:pt x="168" y="96"/>
                    </a:lnTo>
                    <a:lnTo>
                      <a:pt x="174" y="90"/>
                    </a:lnTo>
                    <a:lnTo>
                      <a:pt x="186" y="90"/>
                    </a:lnTo>
                    <a:lnTo>
                      <a:pt x="204" y="84"/>
                    </a:lnTo>
                    <a:lnTo>
                      <a:pt x="216" y="84"/>
                    </a:lnTo>
                    <a:lnTo>
                      <a:pt x="252" y="102"/>
                    </a:lnTo>
                    <a:lnTo>
                      <a:pt x="270" y="108"/>
                    </a:lnTo>
                    <a:lnTo>
                      <a:pt x="282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270" y="114"/>
                    </a:lnTo>
                    <a:lnTo>
                      <a:pt x="258" y="120"/>
                    </a:lnTo>
                    <a:lnTo>
                      <a:pt x="246" y="120"/>
                    </a:lnTo>
                    <a:lnTo>
                      <a:pt x="246" y="132"/>
                    </a:lnTo>
                    <a:lnTo>
                      <a:pt x="240" y="138"/>
                    </a:lnTo>
                    <a:lnTo>
                      <a:pt x="186" y="144"/>
                    </a:lnTo>
                    <a:lnTo>
                      <a:pt x="138" y="138"/>
                    </a:lnTo>
                    <a:lnTo>
                      <a:pt x="120" y="138"/>
                    </a:lnTo>
                    <a:lnTo>
                      <a:pt x="96" y="150"/>
                    </a:lnTo>
                    <a:lnTo>
                      <a:pt x="84" y="162"/>
                    </a:lnTo>
                    <a:lnTo>
                      <a:pt x="84" y="174"/>
                    </a:lnTo>
                    <a:lnTo>
                      <a:pt x="78" y="192"/>
                    </a:lnTo>
                    <a:lnTo>
                      <a:pt x="78" y="204"/>
                    </a:lnTo>
                    <a:lnTo>
                      <a:pt x="72" y="210"/>
                    </a:lnTo>
                    <a:lnTo>
                      <a:pt x="72" y="216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20" y="246"/>
                    </a:lnTo>
                    <a:lnTo>
                      <a:pt x="126" y="258"/>
                    </a:lnTo>
                    <a:lnTo>
                      <a:pt x="132" y="264"/>
                    </a:lnTo>
                    <a:lnTo>
                      <a:pt x="126" y="282"/>
                    </a:lnTo>
                    <a:lnTo>
                      <a:pt x="138" y="300"/>
                    </a:lnTo>
                    <a:lnTo>
                      <a:pt x="126" y="318"/>
                    </a:lnTo>
                    <a:lnTo>
                      <a:pt x="162" y="354"/>
                    </a:lnTo>
                    <a:lnTo>
                      <a:pt x="156" y="390"/>
                    </a:lnTo>
                    <a:lnTo>
                      <a:pt x="210" y="414"/>
                    </a:lnTo>
                    <a:lnTo>
                      <a:pt x="216" y="444"/>
                    </a:lnTo>
                    <a:lnTo>
                      <a:pt x="216" y="438"/>
                    </a:lnTo>
                    <a:lnTo>
                      <a:pt x="222" y="438"/>
                    </a:lnTo>
                    <a:lnTo>
                      <a:pt x="222" y="432"/>
                    </a:lnTo>
                    <a:lnTo>
                      <a:pt x="228" y="432"/>
                    </a:lnTo>
                    <a:lnTo>
                      <a:pt x="252" y="444"/>
                    </a:lnTo>
                    <a:lnTo>
                      <a:pt x="258" y="444"/>
                    </a:lnTo>
                    <a:lnTo>
                      <a:pt x="264" y="450"/>
                    </a:lnTo>
                    <a:lnTo>
                      <a:pt x="270" y="462"/>
                    </a:lnTo>
                    <a:lnTo>
                      <a:pt x="282" y="468"/>
                    </a:lnTo>
                    <a:lnTo>
                      <a:pt x="294" y="468"/>
                    </a:lnTo>
                    <a:lnTo>
                      <a:pt x="312" y="474"/>
                    </a:lnTo>
                    <a:lnTo>
                      <a:pt x="372" y="474"/>
                    </a:lnTo>
                    <a:lnTo>
                      <a:pt x="372" y="450"/>
                    </a:lnTo>
                    <a:lnTo>
                      <a:pt x="378" y="438"/>
                    </a:lnTo>
                    <a:lnTo>
                      <a:pt x="390" y="426"/>
                    </a:lnTo>
                    <a:lnTo>
                      <a:pt x="408" y="426"/>
                    </a:lnTo>
                    <a:lnTo>
                      <a:pt x="432" y="432"/>
                    </a:lnTo>
                    <a:lnTo>
                      <a:pt x="468" y="444"/>
                    </a:lnTo>
                    <a:lnTo>
                      <a:pt x="474" y="450"/>
                    </a:lnTo>
                    <a:lnTo>
                      <a:pt x="480" y="450"/>
                    </a:lnTo>
                    <a:lnTo>
                      <a:pt x="480" y="456"/>
                    </a:lnTo>
                    <a:lnTo>
                      <a:pt x="486" y="468"/>
                    </a:lnTo>
                    <a:lnTo>
                      <a:pt x="486" y="474"/>
                    </a:lnTo>
                    <a:lnTo>
                      <a:pt x="492" y="480"/>
                    </a:lnTo>
                    <a:lnTo>
                      <a:pt x="504" y="486"/>
                    </a:lnTo>
                    <a:lnTo>
                      <a:pt x="564" y="486"/>
                    </a:lnTo>
                    <a:lnTo>
                      <a:pt x="576" y="480"/>
                    </a:lnTo>
                    <a:lnTo>
                      <a:pt x="594" y="474"/>
                    </a:lnTo>
                    <a:lnTo>
                      <a:pt x="606" y="462"/>
                    </a:lnTo>
                    <a:lnTo>
                      <a:pt x="618" y="456"/>
                    </a:lnTo>
                    <a:lnTo>
                      <a:pt x="630" y="444"/>
                    </a:lnTo>
                    <a:lnTo>
                      <a:pt x="648" y="438"/>
                    </a:lnTo>
                    <a:lnTo>
                      <a:pt x="660" y="432"/>
                    </a:lnTo>
                    <a:lnTo>
                      <a:pt x="672" y="432"/>
                    </a:lnTo>
                    <a:lnTo>
                      <a:pt x="684" y="438"/>
                    </a:lnTo>
                    <a:lnTo>
                      <a:pt x="690" y="444"/>
                    </a:lnTo>
                    <a:lnTo>
                      <a:pt x="696" y="444"/>
                    </a:lnTo>
                    <a:lnTo>
                      <a:pt x="702" y="450"/>
                    </a:lnTo>
                    <a:lnTo>
                      <a:pt x="714" y="450"/>
                    </a:lnTo>
                    <a:lnTo>
                      <a:pt x="726" y="444"/>
                    </a:lnTo>
                    <a:lnTo>
                      <a:pt x="732" y="432"/>
                    </a:lnTo>
                    <a:lnTo>
                      <a:pt x="744" y="420"/>
                    </a:lnTo>
                    <a:lnTo>
                      <a:pt x="756" y="432"/>
                    </a:lnTo>
                    <a:lnTo>
                      <a:pt x="756" y="444"/>
                    </a:lnTo>
                    <a:lnTo>
                      <a:pt x="750" y="450"/>
                    </a:lnTo>
                    <a:lnTo>
                      <a:pt x="744" y="462"/>
                    </a:lnTo>
                    <a:lnTo>
                      <a:pt x="744" y="468"/>
                    </a:lnTo>
                    <a:lnTo>
                      <a:pt x="738" y="474"/>
                    </a:lnTo>
                    <a:lnTo>
                      <a:pt x="738" y="486"/>
                    </a:lnTo>
                    <a:lnTo>
                      <a:pt x="744" y="492"/>
                    </a:lnTo>
                    <a:lnTo>
                      <a:pt x="744" y="498"/>
                    </a:lnTo>
                    <a:lnTo>
                      <a:pt x="756" y="510"/>
                    </a:lnTo>
                    <a:lnTo>
                      <a:pt x="768" y="510"/>
                    </a:lnTo>
                    <a:lnTo>
                      <a:pt x="768" y="504"/>
                    </a:lnTo>
                    <a:lnTo>
                      <a:pt x="774" y="498"/>
                    </a:lnTo>
                    <a:lnTo>
                      <a:pt x="774" y="480"/>
                    </a:lnTo>
                    <a:lnTo>
                      <a:pt x="780" y="486"/>
                    </a:lnTo>
                    <a:lnTo>
                      <a:pt x="792" y="486"/>
                    </a:lnTo>
                    <a:lnTo>
                      <a:pt x="792" y="462"/>
                    </a:lnTo>
                    <a:lnTo>
                      <a:pt x="786" y="462"/>
                    </a:lnTo>
                    <a:lnTo>
                      <a:pt x="786" y="432"/>
                    </a:lnTo>
                    <a:lnTo>
                      <a:pt x="810" y="432"/>
                    </a:lnTo>
                    <a:lnTo>
                      <a:pt x="804" y="438"/>
                    </a:lnTo>
                    <a:lnTo>
                      <a:pt x="804" y="444"/>
                    </a:lnTo>
                    <a:lnTo>
                      <a:pt x="840" y="444"/>
                    </a:lnTo>
                    <a:lnTo>
                      <a:pt x="858" y="438"/>
                    </a:lnTo>
                    <a:lnTo>
                      <a:pt x="864" y="432"/>
                    </a:lnTo>
                    <a:lnTo>
                      <a:pt x="870" y="432"/>
                    </a:lnTo>
                    <a:lnTo>
                      <a:pt x="888" y="414"/>
                    </a:lnTo>
                    <a:lnTo>
                      <a:pt x="894" y="414"/>
                    </a:lnTo>
                    <a:lnTo>
                      <a:pt x="900" y="420"/>
                    </a:lnTo>
                    <a:lnTo>
                      <a:pt x="912" y="426"/>
                    </a:lnTo>
                    <a:lnTo>
                      <a:pt x="924" y="438"/>
                    </a:lnTo>
                    <a:lnTo>
                      <a:pt x="942" y="438"/>
                    </a:lnTo>
                    <a:lnTo>
                      <a:pt x="954" y="444"/>
                    </a:lnTo>
                    <a:lnTo>
                      <a:pt x="966" y="444"/>
                    </a:lnTo>
                    <a:lnTo>
                      <a:pt x="978" y="438"/>
                    </a:lnTo>
                    <a:lnTo>
                      <a:pt x="996" y="438"/>
                    </a:lnTo>
                    <a:lnTo>
                      <a:pt x="1002" y="432"/>
                    </a:lnTo>
                    <a:lnTo>
                      <a:pt x="1014" y="426"/>
                    </a:lnTo>
                    <a:lnTo>
                      <a:pt x="1026" y="414"/>
                    </a:lnTo>
                    <a:lnTo>
                      <a:pt x="1038" y="408"/>
                    </a:lnTo>
                    <a:lnTo>
                      <a:pt x="1086" y="408"/>
                    </a:lnTo>
                    <a:lnTo>
                      <a:pt x="1092" y="414"/>
                    </a:lnTo>
                    <a:lnTo>
                      <a:pt x="1110" y="414"/>
                    </a:lnTo>
                    <a:lnTo>
                      <a:pt x="1122" y="402"/>
                    </a:lnTo>
                    <a:lnTo>
                      <a:pt x="1146" y="402"/>
                    </a:lnTo>
                    <a:lnTo>
                      <a:pt x="1152" y="390"/>
                    </a:lnTo>
                    <a:lnTo>
                      <a:pt x="1152" y="384"/>
                    </a:lnTo>
                    <a:lnTo>
                      <a:pt x="1158" y="384"/>
                    </a:lnTo>
                    <a:lnTo>
                      <a:pt x="1158" y="408"/>
                    </a:lnTo>
                    <a:lnTo>
                      <a:pt x="1164" y="414"/>
                    </a:lnTo>
                    <a:lnTo>
                      <a:pt x="1170" y="414"/>
                    </a:lnTo>
                    <a:lnTo>
                      <a:pt x="1182" y="408"/>
                    </a:lnTo>
                    <a:lnTo>
                      <a:pt x="1188" y="402"/>
                    </a:lnTo>
                    <a:lnTo>
                      <a:pt x="1188" y="390"/>
                    </a:lnTo>
                    <a:lnTo>
                      <a:pt x="1230" y="390"/>
                    </a:lnTo>
                    <a:lnTo>
                      <a:pt x="1242" y="402"/>
                    </a:lnTo>
                    <a:lnTo>
                      <a:pt x="1254" y="402"/>
                    </a:lnTo>
                    <a:lnTo>
                      <a:pt x="1260" y="396"/>
                    </a:lnTo>
                    <a:lnTo>
                      <a:pt x="1260" y="390"/>
                    </a:lnTo>
                    <a:lnTo>
                      <a:pt x="1284" y="390"/>
                    </a:lnTo>
                    <a:lnTo>
                      <a:pt x="1290" y="396"/>
                    </a:lnTo>
                    <a:lnTo>
                      <a:pt x="1290" y="414"/>
                    </a:lnTo>
                    <a:lnTo>
                      <a:pt x="1332" y="402"/>
                    </a:lnTo>
                    <a:close/>
                    <a:moveTo>
                      <a:pt x="102" y="282"/>
                    </a:moveTo>
                    <a:lnTo>
                      <a:pt x="96" y="282"/>
                    </a:lnTo>
                    <a:lnTo>
                      <a:pt x="96" y="312"/>
                    </a:lnTo>
                    <a:lnTo>
                      <a:pt x="102" y="324"/>
                    </a:lnTo>
                    <a:lnTo>
                      <a:pt x="108" y="330"/>
                    </a:lnTo>
                    <a:lnTo>
                      <a:pt x="114" y="324"/>
                    </a:lnTo>
                    <a:lnTo>
                      <a:pt x="114" y="318"/>
                    </a:lnTo>
                    <a:lnTo>
                      <a:pt x="120" y="312"/>
                    </a:lnTo>
                    <a:lnTo>
                      <a:pt x="120" y="300"/>
                    </a:lnTo>
                    <a:lnTo>
                      <a:pt x="102" y="28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73" name="Slove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988AF98-55BF-4F85-86B8-75D0E01B92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56535" y="2824166"/>
                <a:ext cx="92600" cy="54915"/>
              </a:xfrm>
              <a:custGeom>
                <a:avLst/>
                <a:gdLst>
                  <a:gd name="T0" fmla="*/ 2147483647 w 210"/>
                  <a:gd name="T1" fmla="*/ 2147483647 h 120"/>
                  <a:gd name="T2" fmla="*/ 2147483647 w 210"/>
                  <a:gd name="T3" fmla="*/ 2147483647 h 120"/>
                  <a:gd name="T4" fmla="*/ 2147483647 w 210"/>
                  <a:gd name="T5" fmla="*/ 2147483647 h 120"/>
                  <a:gd name="T6" fmla="*/ 2147483647 w 210"/>
                  <a:gd name="T7" fmla="*/ 2147483647 h 120"/>
                  <a:gd name="T8" fmla="*/ 2147483647 w 210"/>
                  <a:gd name="T9" fmla="*/ 2147483647 h 120"/>
                  <a:gd name="T10" fmla="*/ 2147483647 w 210"/>
                  <a:gd name="T11" fmla="*/ 2147483647 h 120"/>
                  <a:gd name="T12" fmla="*/ 2147483647 w 210"/>
                  <a:gd name="T13" fmla="*/ 2147483647 h 120"/>
                  <a:gd name="T14" fmla="*/ 2147483647 w 210"/>
                  <a:gd name="T15" fmla="*/ 2147483647 h 120"/>
                  <a:gd name="T16" fmla="*/ 2147483647 w 210"/>
                  <a:gd name="T17" fmla="*/ 2147483647 h 120"/>
                  <a:gd name="T18" fmla="*/ 2147483647 w 210"/>
                  <a:gd name="T19" fmla="*/ 2147483647 h 120"/>
                  <a:gd name="T20" fmla="*/ 2147483647 w 210"/>
                  <a:gd name="T21" fmla="*/ 2147483647 h 120"/>
                  <a:gd name="T22" fmla="*/ 2147483647 w 210"/>
                  <a:gd name="T23" fmla="*/ 2147483647 h 120"/>
                  <a:gd name="T24" fmla="*/ 2147483647 w 210"/>
                  <a:gd name="T25" fmla="*/ 2147483647 h 120"/>
                  <a:gd name="T26" fmla="*/ 2147483647 w 210"/>
                  <a:gd name="T27" fmla="*/ 2147483647 h 120"/>
                  <a:gd name="T28" fmla="*/ 2147483647 w 210"/>
                  <a:gd name="T29" fmla="*/ 2147483647 h 120"/>
                  <a:gd name="T30" fmla="*/ 2147483647 w 210"/>
                  <a:gd name="T31" fmla="*/ 2147483647 h 120"/>
                  <a:gd name="T32" fmla="*/ 2147483647 w 210"/>
                  <a:gd name="T33" fmla="*/ 2147483647 h 120"/>
                  <a:gd name="T34" fmla="*/ 2147483647 w 210"/>
                  <a:gd name="T35" fmla="*/ 2147483647 h 120"/>
                  <a:gd name="T36" fmla="*/ 2147483647 w 210"/>
                  <a:gd name="T37" fmla="*/ 2147483647 h 120"/>
                  <a:gd name="T38" fmla="*/ 2147483647 w 210"/>
                  <a:gd name="T39" fmla="*/ 2147483647 h 120"/>
                  <a:gd name="T40" fmla="*/ 2147483647 w 210"/>
                  <a:gd name="T41" fmla="*/ 2147483647 h 120"/>
                  <a:gd name="T42" fmla="*/ 2147483647 w 210"/>
                  <a:gd name="T43" fmla="*/ 0 h 120"/>
                  <a:gd name="T44" fmla="*/ 2147483647 w 210"/>
                  <a:gd name="T45" fmla="*/ 2147483647 h 120"/>
                  <a:gd name="T46" fmla="*/ 2147483647 w 210"/>
                  <a:gd name="T47" fmla="*/ 2147483647 h 120"/>
                  <a:gd name="T48" fmla="*/ 2147483647 w 210"/>
                  <a:gd name="T49" fmla="*/ 2147483647 h 120"/>
                  <a:gd name="T50" fmla="*/ 2147483647 w 210"/>
                  <a:gd name="T51" fmla="*/ 2147483647 h 120"/>
                  <a:gd name="T52" fmla="*/ 2147483647 w 210"/>
                  <a:gd name="T53" fmla="*/ 2147483647 h 120"/>
                  <a:gd name="T54" fmla="*/ 2147483647 w 210"/>
                  <a:gd name="T55" fmla="*/ 2147483647 h 120"/>
                  <a:gd name="T56" fmla="*/ 2147483647 w 210"/>
                  <a:gd name="T57" fmla="*/ 2147483647 h 120"/>
                  <a:gd name="T58" fmla="*/ 2147483647 w 210"/>
                  <a:gd name="T59" fmla="*/ 2147483647 h 120"/>
                  <a:gd name="T60" fmla="*/ 2147483647 w 210"/>
                  <a:gd name="T61" fmla="*/ 2147483647 h 120"/>
                  <a:gd name="T62" fmla="*/ 2147483647 w 210"/>
                  <a:gd name="T63" fmla="*/ 2147483647 h 120"/>
                  <a:gd name="T64" fmla="*/ 2147483647 w 210"/>
                  <a:gd name="T65" fmla="*/ 2147483647 h 120"/>
                  <a:gd name="T66" fmla="*/ 2147483647 w 210"/>
                  <a:gd name="T67" fmla="*/ 2147483647 h 120"/>
                  <a:gd name="T68" fmla="*/ 0 w 210"/>
                  <a:gd name="T69" fmla="*/ 2147483647 h 120"/>
                  <a:gd name="T70" fmla="*/ 2147483647 w 210"/>
                  <a:gd name="T71" fmla="*/ 2147483647 h 120"/>
                  <a:gd name="T72" fmla="*/ 2147483647 w 210"/>
                  <a:gd name="T73" fmla="*/ 2147483647 h 120"/>
                  <a:gd name="T74" fmla="*/ 2147483647 w 210"/>
                  <a:gd name="T75" fmla="*/ 2147483647 h 120"/>
                  <a:gd name="T76" fmla="*/ 2147483647 w 210"/>
                  <a:gd name="T77" fmla="*/ 2147483647 h 120"/>
                  <a:gd name="T78" fmla="*/ 2147483647 w 210"/>
                  <a:gd name="T79" fmla="*/ 2147483647 h 120"/>
                  <a:gd name="T80" fmla="*/ 2147483647 w 210"/>
                  <a:gd name="T81" fmla="*/ 2147483647 h 120"/>
                  <a:gd name="T82" fmla="*/ 2147483647 w 210"/>
                  <a:gd name="T83" fmla="*/ 2147483647 h 120"/>
                  <a:gd name="T84" fmla="*/ 2147483647 w 210"/>
                  <a:gd name="T85" fmla="*/ 2147483647 h 120"/>
                  <a:gd name="T86" fmla="*/ 2147483647 w 210"/>
                  <a:gd name="T87" fmla="*/ 2147483647 h 12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0"/>
                  <a:gd name="T133" fmla="*/ 0 h 120"/>
                  <a:gd name="T134" fmla="*/ 210 w 210"/>
                  <a:gd name="T135" fmla="*/ 120 h 12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0" h="120">
                    <a:moveTo>
                      <a:pt x="24" y="120"/>
                    </a:moveTo>
                    <a:lnTo>
                      <a:pt x="42" y="120"/>
                    </a:lnTo>
                    <a:lnTo>
                      <a:pt x="42" y="108"/>
                    </a:lnTo>
                    <a:lnTo>
                      <a:pt x="54" y="114"/>
                    </a:lnTo>
                    <a:lnTo>
                      <a:pt x="72" y="114"/>
                    </a:lnTo>
                    <a:lnTo>
                      <a:pt x="78" y="102"/>
                    </a:lnTo>
                    <a:lnTo>
                      <a:pt x="78" y="108"/>
                    </a:lnTo>
                    <a:lnTo>
                      <a:pt x="84" y="114"/>
                    </a:lnTo>
                    <a:lnTo>
                      <a:pt x="126" y="114"/>
                    </a:lnTo>
                    <a:lnTo>
                      <a:pt x="126" y="96"/>
                    </a:lnTo>
                    <a:lnTo>
                      <a:pt x="138" y="90"/>
                    </a:lnTo>
                    <a:lnTo>
                      <a:pt x="150" y="78"/>
                    </a:lnTo>
                    <a:lnTo>
                      <a:pt x="150" y="72"/>
                    </a:lnTo>
                    <a:lnTo>
                      <a:pt x="144" y="66"/>
                    </a:lnTo>
                    <a:lnTo>
                      <a:pt x="144" y="54"/>
                    </a:lnTo>
                    <a:lnTo>
                      <a:pt x="174" y="54"/>
                    </a:lnTo>
                    <a:lnTo>
                      <a:pt x="186" y="48"/>
                    </a:lnTo>
                    <a:lnTo>
                      <a:pt x="186" y="36"/>
                    </a:lnTo>
                    <a:lnTo>
                      <a:pt x="210" y="36"/>
                    </a:lnTo>
                    <a:lnTo>
                      <a:pt x="192" y="24"/>
                    </a:lnTo>
                    <a:lnTo>
                      <a:pt x="186" y="6"/>
                    </a:lnTo>
                    <a:lnTo>
                      <a:pt x="180" y="0"/>
                    </a:lnTo>
                    <a:lnTo>
                      <a:pt x="174" y="12"/>
                    </a:lnTo>
                    <a:lnTo>
                      <a:pt x="168" y="30"/>
                    </a:lnTo>
                    <a:lnTo>
                      <a:pt x="144" y="24"/>
                    </a:lnTo>
                    <a:lnTo>
                      <a:pt x="132" y="30"/>
                    </a:lnTo>
                    <a:lnTo>
                      <a:pt x="84" y="30"/>
                    </a:lnTo>
                    <a:lnTo>
                      <a:pt x="84" y="42"/>
                    </a:lnTo>
                    <a:lnTo>
                      <a:pt x="54" y="42"/>
                    </a:lnTo>
                    <a:lnTo>
                      <a:pt x="48" y="36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12" y="60"/>
                    </a:lnTo>
                    <a:lnTo>
                      <a:pt x="6" y="96"/>
                    </a:lnTo>
                    <a:lnTo>
                      <a:pt x="18" y="96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30" y="114"/>
                    </a:lnTo>
                    <a:lnTo>
                      <a:pt x="24" y="12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74" name="Slovak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4C30583-AF3C-4811-A987-D2F87D6DCB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0883" y="2733826"/>
                <a:ext cx="158992" cy="65543"/>
              </a:xfrm>
              <a:custGeom>
                <a:avLst/>
                <a:gdLst>
                  <a:gd name="T0" fmla="*/ 2147483647 w 354"/>
                  <a:gd name="T1" fmla="*/ 2147483647 h 144"/>
                  <a:gd name="T2" fmla="*/ 2147483647 w 354"/>
                  <a:gd name="T3" fmla="*/ 2147483647 h 144"/>
                  <a:gd name="T4" fmla="*/ 2147483647 w 354"/>
                  <a:gd name="T5" fmla="*/ 2147483647 h 144"/>
                  <a:gd name="T6" fmla="*/ 2147483647 w 354"/>
                  <a:gd name="T7" fmla="*/ 2147483647 h 144"/>
                  <a:gd name="T8" fmla="*/ 2147483647 w 354"/>
                  <a:gd name="T9" fmla="*/ 2147483647 h 144"/>
                  <a:gd name="T10" fmla="*/ 2147483647 w 354"/>
                  <a:gd name="T11" fmla="*/ 2147483647 h 144"/>
                  <a:gd name="T12" fmla="*/ 2147483647 w 354"/>
                  <a:gd name="T13" fmla="*/ 2147483647 h 144"/>
                  <a:gd name="T14" fmla="*/ 2147483647 w 354"/>
                  <a:gd name="T15" fmla="*/ 0 h 144"/>
                  <a:gd name="T16" fmla="*/ 2147483647 w 354"/>
                  <a:gd name="T17" fmla="*/ 2147483647 h 144"/>
                  <a:gd name="T18" fmla="*/ 2147483647 w 354"/>
                  <a:gd name="T19" fmla="*/ 0 h 144"/>
                  <a:gd name="T20" fmla="*/ 2147483647 w 354"/>
                  <a:gd name="T21" fmla="*/ 2147483647 h 144"/>
                  <a:gd name="T22" fmla="*/ 2147483647 w 354"/>
                  <a:gd name="T23" fmla="*/ 2147483647 h 144"/>
                  <a:gd name="T24" fmla="*/ 2147483647 w 354"/>
                  <a:gd name="T25" fmla="*/ 2147483647 h 144"/>
                  <a:gd name="T26" fmla="*/ 2147483647 w 354"/>
                  <a:gd name="T27" fmla="*/ 2147483647 h 144"/>
                  <a:gd name="T28" fmla="*/ 2147483647 w 354"/>
                  <a:gd name="T29" fmla="*/ 2147483647 h 144"/>
                  <a:gd name="T30" fmla="*/ 0 w 354"/>
                  <a:gd name="T31" fmla="*/ 2147483647 h 144"/>
                  <a:gd name="T32" fmla="*/ 2147483647 w 354"/>
                  <a:gd name="T33" fmla="*/ 2147483647 h 144"/>
                  <a:gd name="T34" fmla="*/ 2147483647 w 354"/>
                  <a:gd name="T35" fmla="*/ 2147483647 h 144"/>
                  <a:gd name="T36" fmla="*/ 2147483647 w 354"/>
                  <a:gd name="T37" fmla="*/ 2147483647 h 144"/>
                  <a:gd name="T38" fmla="*/ 2147483647 w 354"/>
                  <a:gd name="T39" fmla="*/ 2147483647 h 144"/>
                  <a:gd name="T40" fmla="*/ 2147483647 w 354"/>
                  <a:gd name="T41" fmla="*/ 2147483647 h 144"/>
                  <a:gd name="T42" fmla="*/ 2147483647 w 354"/>
                  <a:gd name="T43" fmla="*/ 2147483647 h 144"/>
                  <a:gd name="T44" fmla="*/ 2147483647 w 354"/>
                  <a:gd name="T45" fmla="*/ 2147483647 h 144"/>
                  <a:gd name="T46" fmla="*/ 2147483647 w 354"/>
                  <a:gd name="T47" fmla="*/ 2147483647 h 144"/>
                  <a:gd name="T48" fmla="*/ 2147483647 w 354"/>
                  <a:gd name="T49" fmla="*/ 2147483647 h 144"/>
                  <a:gd name="T50" fmla="*/ 2147483647 w 354"/>
                  <a:gd name="T51" fmla="*/ 2147483647 h 144"/>
                  <a:gd name="T52" fmla="*/ 2147483647 w 354"/>
                  <a:gd name="T53" fmla="*/ 2147483647 h 144"/>
                  <a:gd name="T54" fmla="*/ 2147483647 w 354"/>
                  <a:gd name="T55" fmla="*/ 2147483647 h 144"/>
                  <a:gd name="T56" fmla="*/ 2147483647 w 354"/>
                  <a:gd name="T57" fmla="*/ 2147483647 h 144"/>
                  <a:gd name="T58" fmla="*/ 2147483647 w 354"/>
                  <a:gd name="T59" fmla="*/ 2147483647 h 144"/>
                  <a:gd name="T60" fmla="*/ 2147483647 w 354"/>
                  <a:gd name="T61" fmla="*/ 2147483647 h 144"/>
                  <a:gd name="T62" fmla="*/ 2147483647 w 354"/>
                  <a:gd name="T63" fmla="*/ 2147483647 h 144"/>
                  <a:gd name="T64" fmla="*/ 2147483647 w 354"/>
                  <a:gd name="T65" fmla="*/ 2147483647 h 144"/>
                  <a:gd name="T66" fmla="*/ 2147483647 w 354"/>
                  <a:gd name="T67" fmla="*/ 2147483647 h 144"/>
                  <a:gd name="T68" fmla="*/ 2147483647 w 354"/>
                  <a:gd name="T69" fmla="*/ 2147483647 h 14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54"/>
                  <a:gd name="T106" fmla="*/ 0 h 144"/>
                  <a:gd name="T107" fmla="*/ 354 w 354"/>
                  <a:gd name="T108" fmla="*/ 144 h 144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54" h="144">
                    <a:moveTo>
                      <a:pt x="348" y="30"/>
                    </a:moveTo>
                    <a:lnTo>
                      <a:pt x="324" y="30"/>
                    </a:lnTo>
                    <a:lnTo>
                      <a:pt x="300" y="6"/>
                    </a:lnTo>
                    <a:lnTo>
                      <a:pt x="276" y="6"/>
                    </a:lnTo>
                    <a:lnTo>
                      <a:pt x="270" y="12"/>
                    </a:lnTo>
                    <a:lnTo>
                      <a:pt x="258" y="18"/>
                    </a:lnTo>
                    <a:lnTo>
                      <a:pt x="246" y="18"/>
                    </a:lnTo>
                    <a:lnTo>
                      <a:pt x="240" y="12"/>
                    </a:lnTo>
                    <a:lnTo>
                      <a:pt x="210" y="12"/>
                    </a:lnTo>
                    <a:lnTo>
                      <a:pt x="210" y="18"/>
                    </a:lnTo>
                    <a:lnTo>
                      <a:pt x="204" y="24"/>
                    </a:lnTo>
                    <a:lnTo>
                      <a:pt x="192" y="24"/>
                    </a:lnTo>
                    <a:lnTo>
                      <a:pt x="186" y="18"/>
                    </a:lnTo>
                    <a:lnTo>
                      <a:pt x="186" y="12"/>
                    </a:lnTo>
                    <a:lnTo>
                      <a:pt x="180" y="12"/>
                    </a:lnTo>
                    <a:lnTo>
                      <a:pt x="168" y="0"/>
                    </a:lnTo>
                    <a:lnTo>
                      <a:pt x="156" y="0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0"/>
                    </a:lnTo>
                    <a:lnTo>
                      <a:pt x="108" y="12"/>
                    </a:lnTo>
                    <a:lnTo>
                      <a:pt x="84" y="18"/>
                    </a:lnTo>
                    <a:lnTo>
                      <a:pt x="84" y="42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54" y="60"/>
                    </a:lnTo>
                    <a:lnTo>
                      <a:pt x="36" y="60"/>
                    </a:lnTo>
                    <a:lnTo>
                      <a:pt x="36" y="54"/>
                    </a:lnTo>
                    <a:lnTo>
                      <a:pt x="30" y="60"/>
                    </a:lnTo>
                    <a:lnTo>
                      <a:pt x="12" y="60"/>
                    </a:lnTo>
                    <a:lnTo>
                      <a:pt x="6" y="66"/>
                    </a:lnTo>
                    <a:lnTo>
                      <a:pt x="0" y="90"/>
                    </a:lnTo>
                    <a:lnTo>
                      <a:pt x="0" y="102"/>
                    </a:lnTo>
                    <a:lnTo>
                      <a:pt x="6" y="102"/>
                    </a:lnTo>
                    <a:lnTo>
                      <a:pt x="6" y="114"/>
                    </a:lnTo>
                    <a:lnTo>
                      <a:pt x="12" y="114"/>
                    </a:lnTo>
                    <a:lnTo>
                      <a:pt x="12" y="126"/>
                    </a:lnTo>
                    <a:lnTo>
                      <a:pt x="6" y="132"/>
                    </a:lnTo>
                    <a:lnTo>
                      <a:pt x="18" y="138"/>
                    </a:lnTo>
                    <a:lnTo>
                      <a:pt x="30" y="120"/>
                    </a:lnTo>
                    <a:lnTo>
                      <a:pt x="36" y="126"/>
                    </a:lnTo>
                    <a:lnTo>
                      <a:pt x="42" y="138"/>
                    </a:lnTo>
                    <a:lnTo>
                      <a:pt x="48" y="144"/>
                    </a:lnTo>
                    <a:lnTo>
                      <a:pt x="90" y="144"/>
                    </a:lnTo>
                    <a:lnTo>
                      <a:pt x="108" y="138"/>
                    </a:lnTo>
                    <a:lnTo>
                      <a:pt x="120" y="138"/>
                    </a:lnTo>
                    <a:lnTo>
                      <a:pt x="132" y="114"/>
                    </a:lnTo>
                    <a:lnTo>
                      <a:pt x="168" y="120"/>
                    </a:lnTo>
                    <a:lnTo>
                      <a:pt x="174" y="108"/>
                    </a:lnTo>
                    <a:lnTo>
                      <a:pt x="198" y="108"/>
                    </a:lnTo>
                    <a:lnTo>
                      <a:pt x="210" y="102"/>
                    </a:lnTo>
                    <a:lnTo>
                      <a:pt x="216" y="102"/>
                    </a:lnTo>
                    <a:lnTo>
                      <a:pt x="228" y="90"/>
                    </a:lnTo>
                    <a:lnTo>
                      <a:pt x="234" y="78"/>
                    </a:lnTo>
                    <a:lnTo>
                      <a:pt x="258" y="78"/>
                    </a:lnTo>
                    <a:lnTo>
                      <a:pt x="258" y="90"/>
                    </a:lnTo>
                    <a:lnTo>
                      <a:pt x="276" y="96"/>
                    </a:lnTo>
                    <a:lnTo>
                      <a:pt x="276" y="78"/>
                    </a:lnTo>
                    <a:lnTo>
                      <a:pt x="288" y="78"/>
                    </a:lnTo>
                    <a:lnTo>
                      <a:pt x="288" y="90"/>
                    </a:lnTo>
                    <a:lnTo>
                      <a:pt x="300" y="90"/>
                    </a:lnTo>
                    <a:lnTo>
                      <a:pt x="312" y="84"/>
                    </a:lnTo>
                    <a:lnTo>
                      <a:pt x="336" y="84"/>
                    </a:lnTo>
                    <a:lnTo>
                      <a:pt x="336" y="90"/>
                    </a:lnTo>
                    <a:lnTo>
                      <a:pt x="336" y="72"/>
                    </a:lnTo>
                    <a:lnTo>
                      <a:pt x="342" y="72"/>
                    </a:lnTo>
                    <a:lnTo>
                      <a:pt x="348" y="66"/>
                    </a:lnTo>
                    <a:lnTo>
                      <a:pt x="348" y="60"/>
                    </a:lnTo>
                    <a:lnTo>
                      <a:pt x="354" y="54"/>
                    </a:lnTo>
                    <a:lnTo>
                      <a:pt x="354" y="30"/>
                    </a:lnTo>
                    <a:lnTo>
                      <a:pt x="348" y="3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75" name="Saudi Arab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F1221FC-09AC-45C7-9116-CEA7EC24DA4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16968" y="3357363"/>
                <a:ext cx="656936" cy="572166"/>
              </a:xfrm>
              <a:custGeom>
                <a:avLst/>
                <a:gdLst>
                  <a:gd name="T0" fmla="*/ 2147483647 w 1488"/>
                  <a:gd name="T1" fmla="*/ 2147483647 h 1278"/>
                  <a:gd name="T2" fmla="*/ 2147483647 w 1488"/>
                  <a:gd name="T3" fmla="*/ 2147483647 h 1278"/>
                  <a:gd name="T4" fmla="*/ 2147483647 w 1488"/>
                  <a:gd name="T5" fmla="*/ 2147483647 h 1278"/>
                  <a:gd name="T6" fmla="*/ 2147483647 w 1488"/>
                  <a:gd name="T7" fmla="*/ 2147483647 h 1278"/>
                  <a:gd name="T8" fmla="*/ 2147483647 w 1488"/>
                  <a:gd name="T9" fmla="*/ 2147483647 h 1278"/>
                  <a:gd name="T10" fmla="*/ 2147483647 w 1488"/>
                  <a:gd name="T11" fmla="*/ 2147483647 h 1278"/>
                  <a:gd name="T12" fmla="*/ 2147483647 w 1488"/>
                  <a:gd name="T13" fmla="*/ 2147483647 h 1278"/>
                  <a:gd name="T14" fmla="*/ 2147483647 w 1488"/>
                  <a:gd name="T15" fmla="*/ 2147483647 h 1278"/>
                  <a:gd name="T16" fmla="*/ 2147483647 w 1488"/>
                  <a:gd name="T17" fmla="*/ 2147483647 h 1278"/>
                  <a:gd name="T18" fmla="*/ 2147483647 w 1488"/>
                  <a:gd name="T19" fmla="*/ 2147483647 h 1278"/>
                  <a:gd name="T20" fmla="*/ 2147483647 w 1488"/>
                  <a:gd name="T21" fmla="*/ 2147483647 h 1278"/>
                  <a:gd name="T22" fmla="*/ 2147483647 w 1488"/>
                  <a:gd name="T23" fmla="*/ 2147483647 h 1278"/>
                  <a:gd name="T24" fmla="*/ 2147483647 w 1488"/>
                  <a:gd name="T25" fmla="*/ 2147483647 h 1278"/>
                  <a:gd name="T26" fmla="*/ 2147483647 w 1488"/>
                  <a:gd name="T27" fmla="*/ 2147483647 h 1278"/>
                  <a:gd name="T28" fmla="*/ 2147483647 w 1488"/>
                  <a:gd name="T29" fmla="*/ 2147483647 h 1278"/>
                  <a:gd name="T30" fmla="*/ 2147483647 w 1488"/>
                  <a:gd name="T31" fmla="*/ 2147483647 h 1278"/>
                  <a:gd name="T32" fmla="*/ 2147483647 w 1488"/>
                  <a:gd name="T33" fmla="*/ 2147483647 h 1278"/>
                  <a:gd name="T34" fmla="*/ 2147483647 w 1488"/>
                  <a:gd name="T35" fmla="*/ 2147483647 h 1278"/>
                  <a:gd name="T36" fmla="*/ 2147483647 w 1488"/>
                  <a:gd name="T37" fmla="*/ 2147483647 h 1278"/>
                  <a:gd name="T38" fmla="*/ 2147483647 w 1488"/>
                  <a:gd name="T39" fmla="*/ 0 h 1278"/>
                  <a:gd name="T40" fmla="*/ 2147483647 w 1488"/>
                  <a:gd name="T41" fmla="*/ 2147483647 h 1278"/>
                  <a:gd name="T42" fmla="*/ 2147483647 w 1488"/>
                  <a:gd name="T43" fmla="*/ 2147483647 h 1278"/>
                  <a:gd name="T44" fmla="*/ 2147483647 w 1488"/>
                  <a:gd name="T45" fmla="*/ 2147483647 h 1278"/>
                  <a:gd name="T46" fmla="*/ 2147483647 w 1488"/>
                  <a:gd name="T47" fmla="*/ 2147483647 h 1278"/>
                  <a:gd name="T48" fmla="*/ 2147483647 w 1488"/>
                  <a:gd name="T49" fmla="*/ 2147483647 h 1278"/>
                  <a:gd name="T50" fmla="*/ 2147483647 w 1488"/>
                  <a:gd name="T51" fmla="*/ 2147483647 h 1278"/>
                  <a:gd name="T52" fmla="*/ 2147483647 w 1488"/>
                  <a:gd name="T53" fmla="*/ 2147483647 h 1278"/>
                  <a:gd name="T54" fmla="*/ 2147483647 w 1488"/>
                  <a:gd name="T55" fmla="*/ 2147483647 h 1278"/>
                  <a:gd name="T56" fmla="*/ 2147483647 w 1488"/>
                  <a:gd name="T57" fmla="*/ 2147483647 h 1278"/>
                  <a:gd name="T58" fmla="*/ 2147483647 w 1488"/>
                  <a:gd name="T59" fmla="*/ 2147483647 h 1278"/>
                  <a:gd name="T60" fmla="*/ 2147483647 w 1488"/>
                  <a:gd name="T61" fmla="*/ 2147483647 h 1278"/>
                  <a:gd name="T62" fmla="*/ 0 w 1488"/>
                  <a:gd name="T63" fmla="*/ 2147483647 h 1278"/>
                  <a:gd name="T64" fmla="*/ 2147483647 w 1488"/>
                  <a:gd name="T65" fmla="*/ 2147483647 h 1278"/>
                  <a:gd name="T66" fmla="*/ 2147483647 w 1488"/>
                  <a:gd name="T67" fmla="*/ 2147483647 h 1278"/>
                  <a:gd name="T68" fmla="*/ 2147483647 w 1488"/>
                  <a:gd name="T69" fmla="*/ 2147483647 h 1278"/>
                  <a:gd name="T70" fmla="*/ 2147483647 w 1488"/>
                  <a:gd name="T71" fmla="*/ 2147483647 h 1278"/>
                  <a:gd name="T72" fmla="*/ 2147483647 w 1488"/>
                  <a:gd name="T73" fmla="*/ 2147483647 h 1278"/>
                  <a:gd name="T74" fmla="*/ 2147483647 w 1488"/>
                  <a:gd name="T75" fmla="*/ 2147483647 h 1278"/>
                  <a:gd name="T76" fmla="*/ 2147483647 w 1488"/>
                  <a:gd name="T77" fmla="*/ 2147483647 h 1278"/>
                  <a:gd name="T78" fmla="*/ 2147483647 w 1488"/>
                  <a:gd name="T79" fmla="*/ 2147483647 h 1278"/>
                  <a:gd name="T80" fmla="*/ 2147483647 w 1488"/>
                  <a:gd name="T81" fmla="*/ 2147483647 h 1278"/>
                  <a:gd name="T82" fmla="*/ 2147483647 w 1488"/>
                  <a:gd name="T83" fmla="*/ 2147483647 h 1278"/>
                  <a:gd name="T84" fmla="*/ 2147483647 w 1488"/>
                  <a:gd name="T85" fmla="*/ 2147483647 h 1278"/>
                  <a:gd name="T86" fmla="*/ 2147483647 w 1488"/>
                  <a:gd name="T87" fmla="*/ 2147483647 h 1278"/>
                  <a:gd name="T88" fmla="*/ 2147483647 w 1488"/>
                  <a:gd name="T89" fmla="*/ 2147483647 h 1278"/>
                  <a:gd name="T90" fmla="*/ 2147483647 w 1488"/>
                  <a:gd name="T91" fmla="*/ 2147483647 h 1278"/>
                  <a:gd name="T92" fmla="*/ 2147483647 w 1488"/>
                  <a:gd name="T93" fmla="*/ 2147483647 h 1278"/>
                  <a:gd name="T94" fmla="*/ 2147483647 w 1488"/>
                  <a:gd name="T95" fmla="*/ 2147483647 h 1278"/>
                  <a:gd name="T96" fmla="*/ 2147483647 w 1488"/>
                  <a:gd name="T97" fmla="*/ 2147483647 h 1278"/>
                  <a:gd name="T98" fmla="*/ 2147483647 w 1488"/>
                  <a:gd name="T99" fmla="*/ 2147483647 h 1278"/>
                  <a:gd name="T100" fmla="*/ 2147483647 w 1488"/>
                  <a:gd name="T101" fmla="*/ 2147483647 h 1278"/>
                  <a:gd name="T102" fmla="*/ 2147483647 w 1488"/>
                  <a:gd name="T103" fmla="*/ 2147483647 h 1278"/>
                  <a:gd name="T104" fmla="*/ 2147483647 w 1488"/>
                  <a:gd name="T105" fmla="*/ 2147483647 h 1278"/>
                  <a:gd name="T106" fmla="*/ 2147483647 w 1488"/>
                  <a:gd name="T107" fmla="*/ 2147483647 h 1278"/>
                  <a:gd name="T108" fmla="*/ 2147483647 w 1488"/>
                  <a:gd name="T109" fmla="*/ 2147483647 h 1278"/>
                  <a:gd name="T110" fmla="*/ 2147483647 w 1488"/>
                  <a:gd name="T111" fmla="*/ 2147483647 h 1278"/>
                  <a:gd name="T112" fmla="*/ 2147483647 w 1488"/>
                  <a:gd name="T113" fmla="*/ 2147483647 h 1278"/>
                  <a:gd name="T114" fmla="*/ 2147483647 w 1488"/>
                  <a:gd name="T115" fmla="*/ 2147483647 h 1278"/>
                  <a:gd name="T116" fmla="*/ 2147483647 w 1488"/>
                  <a:gd name="T117" fmla="*/ 2147483647 h 127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488"/>
                  <a:gd name="T178" fmla="*/ 0 h 1278"/>
                  <a:gd name="T179" fmla="*/ 1488 w 1488"/>
                  <a:gd name="T180" fmla="*/ 1278 h 127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488" h="1278">
                    <a:moveTo>
                      <a:pt x="1464" y="792"/>
                    </a:moveTo>
                    <a:lnTo>
                      <a:pt x="1464" y="780"/>
                    </a:lnTo>
                    <a:lnTo>
                      <a:pt x="1458" y="774"/>
                    </a:lnTo>
                    <a:lnTo>
                      <a:pt x="1416" y="768"/>
                    </a:lnTo>
                    <a:lnTo>
                      <a:pt x="1320" y="756"/>
                    </a:lnTo>
                    <a:lnTo>
                      <a:pt x="1284" y="750"/>
                    </a:lnTo>
                    <a:lnTo>
                      <a:pt x="1266" y="750"/>
                    </a:lnTo>
                    <a:lnTo>
                      <a:pt x="1260" y="738"/>
                    </a:lnTo>
                    <a:lnTo>
                      <a:pt x="1248" y="732"/>
                    </a:lnTo>
                    <a:lnTo>
                      <a:pt x="1242" y="720"/>
                    </a:lnTo>
                    <a:lnTo>
                      <a:pt x="1218" y="696"/>
                    </a:lnTo>
                    <a:lnTo>
                      <a:pt x="1206" y="672"/>
                    </a:lnTo>
                    <a:lnTo>
                      <a:pt x="1188" y="654"/>
                    </a:lnTo>
                    <a:lnTo>
                      <a:pt x="1188" y="642"/>
                    </a:lnTo>
                    <a:lnTo>
                      <a:pt x="1182" y="636"/>
                    </a:lnTo>
                    <a:lnTo>
                      <a:pt x="1182" y="618"/>
                    </a:lnTo>
                    <a:lnTo>
                      <a:pt x="1176" y="624"/>
                    </a:lnTo>
                    <a:lnTo>
                      <a:pt x="1164" y="612"/>
                    </a:lnTo>
                    <a:lnTo>
                      <a:pt x="1146" y="612"/>
                    </a:lnTo>
                    <a:lnTo>
                      <a:pt x="1140" y="600"/>
                    </a:lnTo>
                    <a:lnTo>
                      <a:pt x="1134" y="594"/>
                    </a:lnTo>
                    <a:lnTo>
                      <a:pt x="1128" y="582"/>
                    </a:lnTo>
                    <a:lnTo>
                      <a:pt x="1122" y="564"/>
                    </a:lnTo>
                    <a:lnTo>
                      <a:pt x="1116" y="552"/>
                    </a:lnTo>
                    <a:lnTo>
                      <a:pt x="1116" y="540"/>
                    </a:lnTo>
                    <a:lnTo>
                      <a:pt x="1110" y="534"/>
                    </a:lnTo>
                    <a:lnTo>
                      <a:pt x="1098" y="528"/>
                    </a:lnTo>
                    <a:lnTo>
                      <a:pt x="1086" y="516"/>
                    </a:lnTo>
                    <a:lnTo>
                      <a:pt x="1074" y="510"/>
                    </a:lnTo>
                    <a:lnTo>
                      <a:pt x="1068" y="498"/>
                    </a:lnTo>
                    <a:lnTo>
                      <a:pt x="1068" y="462"/>
                    </a:lnTo>
                    <a:lnTo>
                      <a:pt x="1062" y="450"/>
                    </a:lnTo>
                    <a:lnTo>
                      <a:pt x="1062" y="438"/>
                    </a:lnTo>
                    <a:lnTo>
                      <a:pt x="1050" y="426"/>
                    </a:lnTo>
                    <a:lnTo>
                      <a:pt x="1002" y="402"/>
                    </a:lnTo>
                    <a:lnTo>
                      <a:pt x="996" y="396"/>
                    </a:lnTo>
                    <a:lnTo>
                      <a:pt x="990" y="384"/>
                    </a:lnTo>
                    <a:lnTo>
                      <a:pt x="990" y="360"/>
                    </a:lnTo>
                    <a:lnTo>
                      <a:pt x="972" y="342"/>
                    </a:lnTo>
                    <a:lnTo>
                      <a:pt x="966" y="330"/>
                    </a:lnTo>
                    <a:lnTo>
                      <a:pt x="960" y="324"/>
                    </a:lnTo>
                    <a:lnTo>
                      <a:pt x="960" y="300"/>
                    </a:lnTo>
                    <a:lnTo>
                      <a:pt x="954" y="300"/>
                    </a:lnTo>
                    <a:lnTo>
                      <a:pt x="948" y="294"/>
                    </a:lnTo>
                    <a:lnTo>
                      <a:pt x="882" y="294"/>
                    </a:lnTo>
                    <a:lnTo>
                      <a:pt x="876" y="288"/>
                    </a:lnTo>
                    <a:lnTo>
                      <a:pt x="876" y="252"/>
                    </a:lnTo>
                    <a:lnTo>
                      <a:pt x="852" y="246"/>
                    </a:lnTo>
                    <a:lnTo>
                      <a:pt x="804" y="246"/>
                    </a:lnTo>
                    <a:lnTo>
                      <a:pt x="750" y="240"/>
                    </a:lnTo>
                    <a:lnTo>
                      <a:pt x="684" y="240"/>
                    </a:lnTo>
                    <a:lnTo>
                      <a:pt x="492" y="96"/>
                    </a:lnTo>
                    <a:lnTo>
                      <a:pt x="480" y="90"/>
                    </a:lnTo>
                    <a:lnTo>
                      <a:pt x="474" y="84"/>
                    </a:lnTo>
                    <a:lnTo>
                      <a:pt x="426" y="60"/>
                    </a:lnTo>
                    <a:lnTo>
                      <a:pt x="414" y="48"/>
                    </a:lnTo>
                    <a:lnTo>
                      <a:pt x="402" y="42"/>
                    </a:lnTo>
                    <a:lnTo>
                      <a:pt x="372" y="12"/>
                    </a:lnTo>
                    <a:lnTo>
                      <a:pt x="306" y="12"/>
                    </a:lnTo>
                    <a:lnTo>
                      <a:pt x="294" y="0"/>
                    </a:lnTo>
                    <a:lnTo>
                      <a:pt x="288" y="6"/>
                    </a:lnTo>
                    <a:lnTo>
                      <a:pt x="276" y="12"/>
                    </a:lnTo>
                    <a:lnTo>
                      <a:pt x="270" y="12"/>
                    </a:lnTo>
                    <a:lnTo>
                      <a:pt x="264" y="18"/>
                    </a:lnTo>
                    <a:lnTo>
                      <a:pt x="252" y="24"/>
                    </a:lnTo>
                    <a:lnTo>
                      <a:pt x="210" y="24"/>
                    </a:lnTo>
                    <a:lnTo>
                      <a:pt x="198" y="48"/>
                    </a:lnTo>
                    <a:lnTo>
                      <a:pt x="132" y="48"/>
                    </a:lnTo>
                    <a:lnTo>
                      <a:pt x="120" y="54"/>
                    </a:lnTo>
                    <a:lnTo>
                      <a:pt x="108" y="54"/>
                    </a:lnTo>
                    <a:lnTo>
                      <a:pt x="108" y="60"/>
                    </a:lnTo>
                    <a:lnTo>
                      <a:pt x="132" y="60"/>
                    </a:lnTo>
                    <a:lnTo>
                      <a:pt x="144" y="66"/>
                    </a:lnTo>
                    <a:lnTo>
                      <a:pt x="156" y="66"/>
                    </a:lnTo>
                    <a:lnTo>
                      <a:pt x="180" y="90"/>
                    </a:lnTo>
                    <a:lnTo>
                      <a:pt x="192" y="114"/>
                    </a:lnTo>
                    <a:lnTo>
                      <a:pt x="198" y="120"/>
                    </a:lnTo>
                    <a:lnTo>
                      <a:pt x="198" y="132"/>
                    </a:lnTo>
                    <a:lnTo>
                      <a:pt x="192" y="138"/>
                    </a:lnTo>
                    <a:lnTo>
                      <a:pt x="192" y="150"/>
                    </a:lnTo>
                    <a:lnTo>
                      <a:pt x="186" y="156"/>
                    </a:lnTo>
                    <a:lnTo>
                      <a:pt x="180" y="168"/>
                    </a:lnTo>
                    <a:lnTo>
                      <a:pt x="174" y="174"/>
                    </a:lnTo>
                    <a:lnTo>
                      <a:pt x="162" y="180"/>
                    </a:lnTo>
                    <a:lnTo>
                      <a:pt x="150" y="180"/>
                    </a:lnTo>
                    <a:lnTo>
                      <a:pt x="138" y="186"/>
                    </a:lnTo>
                    <a:lnTo>
                      <a:pt x="132" y="186"/>
                    </a:lnTo>
                    <a:lnTo>
                      <a:pt x="120" y="198"/>
                    </a:lnTo>
                    <a:lnTo>
                      <a:pt x="120" y="210"/>
                    </a:lnTo>
                    <a:lnTo>
                      <a:pt x="108" y="234"/>
                    </a:lnTo>
                    <a:lnTo>
                      <a:pt x="96" y="246"/>
                    </a:lnTo>
                    <a:lnTo>
                      <a:pt x="60" y="246"/>
                    </a:lnTo>
                    <a:lnTo>
                      <a:pt x="36" y="234"/>
                    </a:lnTo>
                    <a:lnTo>
                      <a:pt x="6" y="234"/>
                    </a:lnTo>
                    <a:lnTo>
                      <a:pt x="6" y="264"/>
                    </a:lnTo>
                    <a:lnTo>
                      <a:pt x="0" y="306"/>
                    </a:lnTo>
                    <a:lnTo>
                      <a:pt x="0" y="348"/>
                    </a:lnTo>
                    <a:lnTo>
                      <a:pt x="6" y="372"/>
                    </a:lnTo>
                    <a:lnTo>
                      <a:pt x="24" y="378"/>
                    </a:lnTo>
                    <a:lnTo>
                      <a:pt x="36" y="390"/>
                    </a:lnTo>
                    <a:lnTo>
                      <a:pt x="54" y="390"/>
                    </a:lnTo>
                    <a:lnTo>
                      <a:pt x="72" y="408"/>
                    </a:lnTo>
                    <a:lnTo>
                      <a:pt x="90" y="438"/>
                    </a:lnTo>
                    <a:lnTo>
                      <a:pt x="102" y="474"/>
                    </a:lnTo>
                    <a:lnTo>
                      <a:pt x="120" y="504"/>
                    </a:lnTo>
                    <a:lnTo>
                      <a:pt x="132" y="516"/>
                    </a:lnTo>
                    <a:lnTo>
                      <a:pt x="150" y="528"/>
                    </a:lnTo>
                    <a:lnTo>
                      <a:pt x="162" y="540"/>
                    </a:lnTo>
                    <a:lnTo>
                      <a:pt x="174" y="558"/>
                    </a:lnTo>
                    <a:lnTo>
                      <a:pt x="180" y="570"/>
                    </a:lnTo>
                    <a:lnTo>
                      <a:pt x="186" y="594"/>
                    </a:lnTo>
                    <a:lnTo>
                      <a:pt x="192" y="612"/>
                    </a:lnTo>
                    <a:lnTo>
                      <a:pt x="198" y="636"/>
                    </a:lnTo>
                    <a:lnTo>
                      <a:pt x="210" y="648"/>
                    </a:lnTo>
                    <a:lnTo>
                      <a:pt x="234" y="660"/>
                    </a:lnTo>
                    <a:lnTo>
                      <a:pt x="264" y="660"/>
                    </a:lnTo>
                    <a:lnTo>
                      <a:pt x="282" y="666"/>
                    </a:lnTo>
                    <a:lnTo>
                      <a:pt x="294" y="678"/>
                    </a:lnTo>
                    <a:lnTo>
                      <a:pt x="312" y="708"/>
                    </a:lnTo>
                    <a:lnTo>
                      <a:pt x="330" y="756"/>
                    </a:lnTo>
                    <a:lnTo>
                      <a:pt x="336" y="804"/>
                    </a:lnTo>
                    <a:lnTo>
                      <a:pt x="342" y="840"/>
                    </a:lnTo>
                    <a:lnTo>
                      <a:pt x="348" y="870"/>
                    </a:lnTo>
                    <a:lnTo>
                      <a:pt x="366" y="906"/>
                    </a:lnTo>
                    <a:lnTo>
                      <a:pt x="384" y="924"/>
                    </a:lnTo>
                    <a:lnTo>
                      <a:pt x="390" y="936"/>
                    </a:lnTo>
                    <a:lnTo>
                      <a:pt x="414" y="936"/>
                    </a:lnTo>
                    <a:lnTo>
                      <a:pt x="438" y="948"/>
                    </a:lnTo>
                    <a:lnTo>
                      <a:pt x="456" y="972"/>
                    </a:lnTo>
                    <a:lnTo>
                      <a:pt x="480" y="1008"/>
                    </a:lnTo>
                    <a:lnTo>
                      <a:pt x="504" y="1056"/>
                    </a:lnTo>
                    <a:lnTo>
                      <a:pt x="552" y="1128"/>
                    </a:lnTo>
                    <a:lnTo>
                      <a:pt x="582" y="1170"/>
                    </a:lnTo>
                    <a:lnTo>
                      <a:pt x="606" y="1206"/>
                    </a:lnTo>
                    <a:lnTo>
                      <a:pt x="618" y="1236"/>
                    </a:lnTo>
                    <a:lnTo>
                      <a:pt x="618" y="1266"/>
                    </a:lnTo>
                    <a:lnTo>
                      <a:pt x="612" y="1278"/>
                    </a:lnTo>
                    <a:lnTo>
                      <a:pt x="624" y="1266"/>
                    </a:lnTo>
                    <a:lnTo>
                      <a:pt x="630" y="1254"/>
                    </a:lnTo>
                    <a:lnTo>
                      <a:pt x="636" y="1248"/>
                    </a:lnTo>
                    <a:lnTo>
                      <a:pt x="636" y="1200"/>
                    </a:lnTo>
                    <a:lnTo>
                      <a:pt x="642" y="1188"/>
                    </a:lnTo>
                    <a:lnTo>
                      <a:pt x="648" y="1182"/>
                    </a:lnTo>
                    <a:lnTo>
                      <a:pt x="654" y="1182"/>
                    </a:lnTo>
                    <a:lnTo>
                      <a:pt x="672" y="1200"/>
                    </a:lnTo>
                    <a:lnTo>
                      <a:pt x="696" y="1194"/>
                    </a:lnTo>
                    <a:lnTo>
                      <a:pt x="702" y="1188"/>
                    </a:lnTo>
                    <a:lnTo>
                      <a:pt x="792" y="1188"/>
                    </a:lnTo>
                    <a:lnTo>
                      <a:pt x="804" y="1194"/>
                    </a:lnTo>
                    <a:lnTo>
                      <a:pt x="810" y="1200"/>
                    </a:lnTo>
                    <a:lnTo>
                      <a:pt x="888" y="1200"/>
                    </a:lnTo>
                    <a:lnTo>
                      <a:pt x="894" y="1206"/>
                    </a:lnTo>
                    <a:lnTo>
                      <a:pt x="900" y="1218"/>
                    </a:lnTo>
                    <a:lnTo>
                      <a:pt x="912" y="1224"/>
                    </a:lnTo>
                    <a:lnTo>
                      <a:pt x="924" y="1224"/>
                    </a:lnTo>
                    <a:lnTo>
                      <a:pt x="930" y="1212"/>
                    </a:lnTo>
                    <a:lnTo>
                      <a:pt x="936" y="1206"/>
                    </a:lnTo>
                    <a:lnTo>
                      <a:pt x="936" y="1188"/>
                    </a:lnTo>
                    <a:lnTo>
                      <a:pt x="942" y="1176"/>
                    </a:lnTo>
                    <a:lnTo>
                      <a:pt x="948" y="1170"/>
                    </a:lnTo>
                    <a:lnTo>
                      <a:pt x="954" y="1158"/>
                    </a:lnTo>
                    <a:lnTo>
                      <a:pt x="966" y="1146"/>
                    </a:lnTo>
                    <a:lnTo>
                      <a:pt x="972" y="1134"/>
                    </a:lnTo>
                    <a:lnTo>
                      <a:pt x="990" y="1116"/>
                    </a:lnTo>
                    <a:lnTo>
                      <a:pt x="1020" y="1098"/>
                    </a:lnTo>
                    <a:lnTo>
                      <a:pt x="1050" y="1092"/>
                    </a:lnTo>
                    <a:lnTo>
                      <a:pt x="1068" y="1086"/>
                    </a:lnTo>
                    <a:lnTo>
                      <a:pt x="1092" y="1086"/>
                    </a:lnTo>
                    <a:lnTo>
                      <a:pt x="1140" y="1080"/>
                    </a:lnTo>
                    <a:lnTo>
                      <a:pt x="1188" y="1068"/>
                    </a:lnTo>
                    <a:lnTo>
                      <a:pt x="1230" y="1062"/>
                    </a:lnTo>
                    <a:lnTo>
                      <a:pt x="1248" y="1062"/>
                    </a:lnTo>
                    <a:lnTo>
                      <a:pt x="1452" y="990"/>
                    </a:lnTo>
                    <a:lnTo>
                      <a:pt x="1488" y="816"/>
                    </a:lnTo>
                    <a:lnTo>
                      <a:pt x="1482" y="810"/>
                    </a:lnTo>
                    <a:lnTo>
                      <a:pt x="1470" y="804"/>
                    </a:lnTo>
                    <a:lnTo>
                      <a:pt x="1464" y="798"/>
                    </a:lnTo>
                    <a:lnTo>
                      <a:pt x="1464" y="792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76" name="Rus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C7B5A30-07EF-4875-ABB8-4435E61C3F2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124266" y="1736525"/>
                <a:ext cx="4008019" cy="1293131"/>
              </a:xfrm>
              <a:custGeom>
                <a:avLst/>
                <a:gdLst>
                  <a:gd name="T0" fmla="*/ 2147483647 w 9048"/>
                  <a:gd name="T1" fmla="*/ 2147483647 h 2880"/>
                  <a:gd name="T2" fmla="*/ 2147483647 w 9048"/>
                  <a:gd name="T3" fmla="*/ 2147483647 h 2880"/>
                  <a:gd name="T4" fmla="*/ 2147483647 w 9048"/>
                  <a:gd name="T5" fmla="*/ 2147483647 h 2880"/>
                  <a:gd name="T6" fmla="*/ 2147483647 w 9048"/>
                  <a:gd name="T7" fmla="*/ 2147483647 h 2880"/>
                  <a:gd name="T8" fmla="*/ 2147483647 w 9048"/>
                  <a:gd name="T9" fmla="*/ 2147483647 h 2880"/>
                  <a:gd name="T10" fmla="*/ 2147483647 w 9048"/>
                  <a:gd name="T11" fmla="*/ 2147483647 h 2880"/>
                  <a:gd name="T12" fmla="*/ 2147483647 w 9048"/>
                  <a:gd name="T13" fmla="*/ 2147483647 h 2880"/>
                  <a:gd name="T14" fmla="*/ 2147483647 w 9048"/>
                  <a:gd name="T15" fmla="*/ 2147483647 h 2880"/>
                  <a:gd name="T16" fmla="*/ 2147483647 w 9048"/>
                  <a:gd name="T17" fmla="*/ 2147483647 h 2880"/>
                  <a:gd name="T18" fmla="*/ 2147483647 w 9048"/>
                  <a:gd name="T19" fmla="*/ 2147483647 h 2880"/>
                  <a:gd name="T20" fmla="*/ 2147483647 w 9048"/>
                  <a:gd name="T21" fmla="*/ 2147483647 h 2880"/>
                  <a:gd name="T22" fmla="*/ 2147483647 w 9048"/>
                  <a:gd name="T23" fmla="*/ 2147483647 h 2880"/>
                  <a:gd name="T24" fmla="*/ 2147483647 w 9048"/>
                  <a:gd name="T25" fmla="*/ 2147483647 h 2880"/>
                  <a:gd name="T26" fmla="*/ 2147483647 w 9048"/>
                  <a:gd name="T27" fmla="*/ 2147483647 h 2880"/>
                  <a:gd name="T28" fmla="*/ 2147483647 w 9048"/>
                  <a:gd name="T29" fmla="*/ 2147483647 h 2880"/>
                  <a:gd name="T30" fmla="*/ 2147483647 w 9048"/>
                  <a:gd name="T31" fmla="*/ 2147483647 h 2880"/>
                  <a:gd name="T32" fmla="*/ 2147483647 w 9048"/>
                  <a:gd name="T33" fmla="*/ 2147483647 h 2880"/>
                  <a:gd name="T34" fmla="*/ 2147483647 w 9048"/>
                  <a:gd name="T35" fmla="*/ 2147483647 h 2880"/>
                  <a:gd name="T36" fmla="*/ 2147483647 w 9048"/>
                  <a:gd name="T37" fmla="*/ 2147483647 h 2880"/>
                  <a:gd name="T38" fmla="*/ 2147483647 w 9048"/>
                  <a:gd name="T39" fmla="*/ 2147483647 h 2880"/>
                  <a:gd name="T40" fmla="*/ 2147483647 w 9048"/>
                  <a:gd name="T41" fmla="*/ 2147483647 h 2880"/>
                  <a:gd name="T42" fmla="*/ 2147483647 w 9048"/>
                  <a:gd name="T43" fmla="*/ 2147483647 h 2880"/>
                  <a:gd name="T44" fmla="*/ 2147483647 w 9048"/>
                  <a:gd name="T45" fmla="*/ 2147483647 h 2880"/>
                  <a:gd name="T46" fmla="*/ 2147483647 w 9048"/>
                  <a:gd name="T47" fmla="*/ 2147483647 h 2880"/>
                  <a:gd name="T48" fmla="*/ 2147483647 w 9048"/>
                  <a:gd name="T49" fmla="*/ 2147483647 h 2880"/>
                  <a:gd name="T50" fmla="*/ 2147483647 w 9048"/>
                  <a:gd name="T51" fmla="*/ 2147483647 h 2880"/>
                  <a:gd name="T52" fmla="*/ 2147483647 w 9048"/>
                  <a:gd name="T53" fmla="*/ 2147483647 h 2880"/>
                  <a:gd name="T54" fmla="*/ 2147483647 w 9048"/>
                  <a:gd name="T55" fmla="*/ 2147483647 h 2880"/>
                  <a:gd name="T56" fmla="*/ 2147483647 w 9048"/>
                  <a:gd name="T57" fmla="*/ 2147483647 h 2880"/>
                  <a:gd name="T58" fmla="*/ 2147483647 w 9048"/>
                  <a:gd name="T59" fmla="*/ 2147483647 h 2880"/>
                  <a:gd name="T60" fmla="*/ 2147483647 w 9048"/>
                  <a:gd name="T61" fmla="*/ 2147483647 h 2880"/>
                  <a:gd name="T62" fmla="*/ 2147483647 w 9048"/>
                  <a:gd name="T63" fmla="*/ 2147483647 h 2880"/>
                  <a:gd name="T64" fmla="*/ 2147483647 w 9048"/>
                  <a:gd name="T65" fmla="*/ 2147483647 h 2880"/>
                  <a:gd name="T66" fmla="*/ 2147483647 w 9048"/>
                  <a:gd name="T67" fmla="*/ 2147483647 h 2880"/>
                  <a:gd name="T68" fmla="*/ 2147483647 w 9048"/>
                  <a:gd name="T69" fmla="*/ 2147483647 h 2880"/>
                  <a:gd name="T70" fmla="*/ 2147483647 w 9048"/>
                  <a:gd name="T71" fmla="*/ 2147483647 h 2880"/>
                  <a:gd name="T72" fmla="*/ 2147483647 w 9048"/>
                  <a:gd name="T73" fmla="*/ 2147483647 h 2880"/>
                  <a:gd name="T74" fmla="*/ 2147483647 w 9048"/>
                  <a:gd name="T75" fmla="*/ 2147483647 h 2880"/>
                  <a:gd name="T76" fmla="*/ 2147483647 w 9048"/>
                  <a:gd name="T77" fmla="*/ 2147483647 h 2880"/>
                  <a:gd name="T78" fmla="*/ 2147483647 w 9048"/>
                  <a:gd name="T79" fmla="*/ 2147483647 h 2880"/>
                  <a:gd name="T80" fmla="*/ 2147483647 w 9048"/>
                  <a:gd name="T81" fmla="*/ 2147483647 h 2880"/>
                  <a:gd name="T82" fmla="*/ 2147483647 w 9048"/>
                  <a:gd name="T83" fmla="*/ 2147483647 h 2880"/>
                  <a:gd name="T84" fmla="*/ 2147483647 w 9048"/>
                  <a:gd name="T85" fmla="*/ 2147483647 h 2880"/>
                  <a:gd name="T86" fmla="*/ 2147483647 w 9048"/>
                  <a:gd name="T87" fmla="*/ 2147483647 h 2880"/>
                  <a:gd name="T88" fmla="*/ 2147483647 w 9048"/>
                  <a:gd name="T89" fmla="*/ 2147483647 h 2880"/>
                  <a:gd name="T90" fmla="*/ 2147483647 w 9048"/>
                  <a:gd name="T91" fmla="*/ 2147483647 h 2880"/>
                  <a:gd name="T92" fmla="*/ 2147483647 w 9048"/>
                  <a:gd name="T93" fmla="*/ 2147483647 h 2880"/>
                  <a:gd name="T94" fmla="*/ 2147483647 w 9048"/>
                  <a:gd name="T95" fmla="*/ 2147483647 h 2880"/>
                  <a:gd name="T96" fmla="*/ 2147483647 w 9048"/>
                  <a:gd name="T97" fmla="*/ 2147483647 h 2880"/>
                  <a:gd name="T98" fmla="*/ 2147483647 w 9048"/>
                  <a:gd name="T99" fmla="*/ 2147483647 h 2880"/>
                  <a:gd name="T100" fmla="*/ 2147483647 w 9048"/>
                  <a:gd name="T101" fmla="*/ 2147483647 h 2880"/>
                  <a:gd name="T102" fmla="*/ 2147483647 w 9048"/>
                  <a:gd name="T103" fmla="*/ 2147483647 h 2880"/>
                  <a:gd name="T104" fmla="*/ 2147483647 w 9048"/>
                  <a:gd name="T105" fmla="*/ 2147483647 h 2880"/>
                  <a:gd name="T106" fmla="*/ 2147483647 w 9048"/>
                  <a:gd name="T107" fmla="*/ 2147483647 h 2880"/>
                  <a:gd name="T108" fmla="*/ 2147483647 w 9048"/>
                  <a:gd name="T109" fmla="*/ 2147483647 h 2880"/>
                  <a:gd name="T110" fmla="*/ 2147483647 w 9048"/>
                  <a:gd name="T111" fmla="*/ 2147483647 h 2880"/>
                  <a:gd name="T112" fmla="*/ 2147483647 w 9048"/>
                  <a:gd name="T113" fmla="*/ 2147483647 h 2880"/>
                  <a:gd name="T114" fmla="*/ 2147483647 w 9048"/>
                  <a:gd name="T115" fmla="*/ 2147483647 h 2880"/>
                  <a:gd name="T116" fmla="*/ 2147483647 w 9048"/>
                  <a:gd name="T117" fmla="*/ 2147483647 h 2880"/>
                  <a:gd name="T118" fmla="*/ 2147483647 w 9048"/>
                  <a:gd name="T119" fmla="*/ 2147483647 h 2880"/>
                  <a:gd name="T120" fmla="*/ 2147483647 w 9048"/>
                  <a:gd name="T121" fmla="*/ 2147483647 h 2880"/>
                  <a:gd name="T122" fmla="*/ 2147483647 w 9048"/>
                  <a:gd name="T123" fmla="*/ 2147483647 h 2880"/>
                  <a:gd name="T124" fmla="*/ 2147483647 w 9048"/>
                  <a:gd name="T125" fmla="*/ 2147483647 h 288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048"/>
                  <a:gd name="T190" fmla="*/ 0 h 2880"/>
                  <a:gd name="T191" fmla="*/ 9048 w 9048"/>
                  <a:gd name="T192" fmla="*/ 2880 h 288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048" h="2880">
                    <a:moveTo>
                      <a:pt x="2790" y="546"/>
                    </a:moveTo>
                    <a:lnTo>
                      <a:pt x="2760" y="540"/>
                    </a:lnTo>
                    <a:lnTo>
                      <a:pt x="2736" y="558"/>
                    </a:lnTo>
                    <a:lnTo>
                      <a:pt x="2778" y="570"/>
                    </a:lnTo>
                    <a:lnTo>
                      <a:pt x="2790" y="546"/>
                    </a:lnTo>
                    <a:close/>
                    <a:moveTo>
                      <a:pt x="2832" y="522"/>
                    </a:moveTo>
                    <a:lnTo>
                      <a:pt x="2820" y="516"/>
                    </a:lnTo>
                    <a:lnTo>
                      <a:pt x="2814" y="510"/>
                    </a:lnTo>
                    <a:lnTo>
                      <a:pt x="2808" y="510"/>
                    </a:lnTo>
                    <a:lnTo>
                      <a:pt x="2808" y="528"/>
                    </a:lnTo>
                    <a:lnTo>
                      <a:pt x="2820" y="534"/>
                    </a:lnTo>
                    <a:lnTo>
                      <a:pt x="2832" y="534"/>
                    </a:lnTo>
                    <a:lnTo>
                      <a:pt x="2844" y="540"/>
                    </a:lnTo>
                    <a:lnTo>
                      <a:pt x="2850" y="540"/>
                    </a:lnTo>
                    <a:lnTo>
                      <a:pt x="2850" y="534"/>
                    </a:lnTo>
                    <a:lnTo>
                      <a:pt x="2844" y="528"/>
                    </a:lnTo>
                    <a:lnTo>
                      <a:pt x="2832" y="522"/>
                    </a:lnTo>
                    <a:close/>
                    <a:moveTo>
                      <a:pt x="1704" y="18"/>
                    </a:moveTo>
                    <a:lnTo>
                      <a:pt x="1710" y="18"/>
                    </a:lnTo>
                    <a:lnTo>
                      <a:pt x="1716" y="12"/>
                    </a:lnTo>
                    <a:lnTo>
                      <a:pt x="1728" y="6"/>
                    </a:lnTo>
                    <a:lnTo>
                      <a:pt x="1734" y="0"/>
                    </a:lnTo>
                    <a:lnTo>
                      <a:pt x="1644" y="0"/>
                    </a:lnTo>
                    <a:lnTo>
                      <a:pt x="1638" y="12"/>
                    </a:lnTo>
                    <a:lnTo>
                      <a:pt x="1680" y="12"/>
                    </a:lnTo>
                    <a:lnTo>
                      <a:pt x="1686" y="18"/>
                    </a:lnTo>
                    <a:lnTo>
                      <a:pt x="1704" y="18"/>
                    </a:lnTo>
                    <a:close/>
                    <a:moveTo>
                      <a:pt x="1740" y="60"/>
                    </a:moveTo>
                    <a:lnTo>
                      <a:pt x="1746" y="60"/>
                    </a:lnTo>
                    <a:lnTo>
                      <a:pt x="1758" y="48"/>
                    </a:lnTo>
                    <a:lnTo>
                      <a:pt x="1764" y="48"/>
                    </a:lnTo>
                    <a:lnTo>
                      <a:pt x="1770" y="54"/>
                    </a:lnTo>
                    <a:lnTo>
                      <a:pt x="1782" y="54"/>
                    </a:lnTo>
                    <a:lnTo>
                      <a:pt x="1788" y="60"/>
                    </a:lnTo>
                    <a:lnTo>
                      <a:pt x="1800" y="60"/>
                    </a:lnTo>
                    <a:lnTo>
                      <a:pt x="1812" y="48"/>
                    </a:lnTo>
                    <a:lnTo>
                      <a:pt x="1812" y="36"/>
                    </a:lnTo>
                    <a:lnTo>
                      <a:pt x="1806" y="30"/>
                    </a:lnTo>
                    <a:lnTo>
                      <a:pt x="1794" y="24"/>
                    </a:lnTo>
                    <a:lnTo>
                      <a:pt x="1758" y="24"/>
                    </a:lnTo>
                    <a:lnTo>
                      <a:pt x="1710" y="48"/>
                    </a:lnTo>
                    <a:lnTo>
                      <a:pt x="1716" y="54"/>
                    </a:lnTo>
                    <a:lnTo>
                      <a:pt x="1728" y="60"/>
                    </a:lnTo>
                    <a:lnTo>
                      <a:pt x="1740" y="60"/>
                    </a:lnTo>
                    <a:close/>
                    <a:moveTo>
                      <a:pt x="2382" y="510"/>
                    </a:moveTo>
                    <a:lnTo>
                      <a:pt x="2400" y="504"/>
                    </a:lnTo>
                    <a:lnTo>
                      <a:pt x="2412" y="498"/>
                    </a:lnTo>
                    <a:lnTo>
                      <a:pt x="2412" y="486"/>
                    </a:lnTo>
                    <a:lnTo>
                      <a:pt x="2406" y="486"/>
                    </a:lnTo>
                    <a:lnTo>
                      <a:pt x="2400" y="480"/>
                    </a:lnTo>
                    <a:lnTo>
                      <a:pt x="2346" y="480"/>
                    </a:lnTo>
                    <a:lnTo>
                      <a:pt x="2346" y="492"/>
                    </a:lnTo>
                    <a:lnTo>
                      <a:pt x="2358" y="504"/>
                    </a:lnTo>
                    <a:lnTo>
                      <a:pt x="2370" y="510"/>
                    </a:lnTo>
                    <a:lnTo>
                      <a:pt x="2382" y="510"/>
                    </a:lnTo>
                    <a:close/>
                    <a:moveTo>
                      <a:pt x="1590" y="30"/>
                    </a:moveTo>
                    <a:lnTo>
                      <a:pt x="1548" y="24"/>
                    </a:lnTo>
                    <a:lnTo>
                      <a:pt x="1554" y="36"/>
                    </a:lnTo>
                    <a:lnTo>
                      <a:pt x="1590" y="30"/>
                    </a:lnTo>
                    <a:close/>
                    <a:moveTo>
                      <a:pt x="1890" y="696"/>
                    </a:moveTo>
                    <a:lnTo>
                      <a:pt x="1896" y="708"/>
                    </a:lnTo>
                    <a:lnTo>
                      <a:pt x="1920" y="720"/>
                    </a:lnTo>
                    <a:lnTo>
                      <a:pt x="1950" y="738"/>
                    </a:lnTo>
                    <a:lnTo>
                      <a:pt x="1974" y="744"/>
                    </a:lnTo>
                    <a:lnTo>
                      <a:pt x="1992" y="738"/>
                    </a:lnTo>
                    <a:lnTo>
                      <a:pt x="1980" y="720"/>
                    </a:lnTo>
                    <a:lnTo>
                      <a:pt x="1950" y="702"/>
                    </a:lnTo>
                    <a:lnTo>
                      <a:pt x="1914" y="696"/>
                    </a:lnTo>
                    <a:lnTo>
                      <a:pt x="1890" y="696"/>
                    </a:lnTo>
                    <a:close/>
                    <a:moveTo>
                      <a:pt x="3108" y="126"/>
                    </a:moveTo>
                    <a:lnTo>
                      <a:pt x="3120" y="108"/>
                    </a:lnTo>
                    <a:lnTo>
                      <a:pt x="3030" y="108"/>
                    </a:lnTo>
                    <a:lnTo>
                      <a:pt x="3108" y="126"/>
                    </a:lnTo>
                    <a:close/>
                    <a:moveTo>
                      <a:pt x="1560" y="102"/>
                    </a:moveTo>
                    <a:lnTo>
                      <a:pt x="1632" y="102"/>
                    </a:lnTo>
                    <a:lnTo>
                      <a:pt x="1608" y="84"/>
                    </a:lnTo>
                    <a:lnTo>
                      <a:pt x="1560" y="102"/>
                    </a:lnTo>
                    <a:close/>
                    <a:moveTo>
                      <a:pt x="1572" y="60"/>
                    </a:moveTo>
                    <a:lnTo>
                      <a:pt x="1584" y="66"/>
                    </a:lnTo>
                    <a:lnTo>
                      <a:pt x="1596" y="78"/>
                    </a:lnTo>
                    <a:lnTo>
                      <a:pt x="1620" y="66"/>
                    </a:lnTo>
                    <a:lnTo>
                      <a:pt x="1620" y="72"/>
                    </a:lnTo>
                    <a:lnTo>
                      <a:pt x="1644" y="72"/>
                    </a:lnTo>
                    <a:lnTo>
                      <a:pt x="1668" y="60"/>
                    </a:lnTo>
                    <a:lnTo>
                      <a:pt x="1674" y="54"/>
                    </a:lnTo>
                    <a:lnTo>
                      <a:pt x="1680" y="54"/>
                    </a:lnTo>
                    <a:lnTo>
                      <a:pt x="1626" y="48"/>
                    </a:lnTo>
                    <a:lnTo>
                      <a:pt x="1614" y="54"/>
                    </a:lnTo>
                    <a:lnTo>
                      <a:pt x="1608" y="54"/>
                    </a:lnTo>
                    <a:lnTo>
                      <a:pt x="1602" y="48"/>
                    </a:lnTo>
                    <a:lnTo>
                      <a:pt x="1584" y="48"/>
                    </a:lnTo>
                    <a:lnTo>
                      <a:pt x="1572" y="60"/>
                    </a:lnTo>
                    <a:close/>
                    <a:moveTo>
                      <a:pt x="1662" y="36"/>
                    </a:moveTo>
                    <a:lnTo>
                      <a:pt x="1602" y="36"/>
                    </a:lnTo>
                    <a:lnTo>
                      <a:pt x="1650" y="48"/>
                    </a:lnTo>
                    <a:lnTo>
                      <a:pt x="1662" y="36"/>
                    </a:lnTo>
                    <a:close/>
                    <a:moveTo>
                      <a:pt x="1542" y="522"/>
                    </a:moveTo>
                    <a:lnTo>
                      <a:pt x="1500" y="528"/>
                    </a:lnTo>
                    <a:lnTo>
                      <a:pt x="1512" y="552"/>
                    </a:lnTo>
                    <a:lnTo>
                      <a:pt x="1542" y="534"/>
                    </a:lnTo>
                    <a:lnTo>
                      <a:pt x="1524" y="558"/>
                    </a:lnTo>
                    <a:lnTo>
                      <a:pt x="1518" y="558"/>
                    </a:lnTo>
                    <a:lnTo>
                      <a:pt x="1512" y="564"/>
                    </a:lnTo>
                    <a:lnTo>
                      <a:pt x="1506" y="564"/>
                    </a:lnTo>
                    <a:lnTo>
                      <a:pt x="1494" y="570"/>
                    </a:lnTo>
                    <a:lnTo>
                      <a:pt x="1488" y="576"/>
                    </a:lnTo>
                    <a:lnTo>
                      <a:pt x="1488" y="582"/>
                    </a:lnTo>
                    <a:lnTo>
                      <a:pt x="1500" y="594"/>
                    </a:lnTo>
                    <a:lnTo>
                      <a:pt x="1524" y="606"/>
                    </a:lnTo>
                    <a:lnTo>
                      <a:pt x="1566" y="606"/>
                    </a:lnTo>
                    <a:lnTo>
                      <a:pt x="1590" y="612"/>
                    </a:lnTo>
                    <a:lnTo>
                      <a:pt x="1608" y="618"/>
                    </a:lnTo>
                    <a:lnTo>
                      <a:pt x="1614" y="624"/>
                    </a:lnTo>
                    <a:lnTo>
                      <a:pt x="1620" y="636"/>
                    </a:lnTo>
                    <a:lnTo>
                      <a:pt x="1620" y="648"/>
                    </a:lnTo>
                    <a:lnTo>
                      <a:pt x="1626" y="654"/>
                    </a:lnTo>
                    <a:lnTo>
                      <a:pt x="1626" y="660"/>
                    </a:lnTo>
                    <a:lnTo>
                      <a:pt x="1644" y="660"/>
                    </a:lnTo>
                    <a:lnTo>
                      <a:pt x="1662" y="666"/>
                    </a:lnTo>
                    <a:lnTo>
                      <a:pt x="1674" y="666"/>
                    </a:lnTo>
                    <a:lnTo>
                      <a:pt x="1692" y="672"/>
                    </a:lnTo>
                    <a:lnTo>
                      <a:pt x="1704" y="672"/>
                    </a:lnTo>
                    <a:lnTo>
                      <a:pt x="1818" y="666"/>
                    </a:lnTo>
                    <a:lnTo>
                      <a:pt x="1806" y="666"/>
                    </a:lnTo>
                    <a:lnTo>
                      <a:pt x="1734" y="642"/>
                    </a:lnTo>
                    <a:lnTo>
                      <a:pt x="1704" y="618"/>
                    </a:lnTo>
                    <a:lnTo>
                      <a:pt x="1692" y="600"/>
                    </a:lnTo>
                    <a:lnTo>
                      <a:pt x="1686" y="588"/>
                    </a:lnTo>
                    <a:lnTo>
                      <a:pt x="1674" y="582"/>
                    </a:lnTo>
                    <a:lnTo>
                      <a:pt x="1674" y="570"/>
                    </a:lnTo>
                    <a:lnTo>
                      <a:pt x="1668" y="564"/>
                    </a:lnTo>
                    <a:lnTo>
                      <a:pt x="1692" y="516"/>
                    </a:lnTo>
                    <a:lnTo>
                      <a:pt x="1686" y="510"/>
                    </a:lnTo>
                    <a:lnTo>
                      <a:pt x="1686" y="504"/>
                    </a:lnTo>
                    <a:lnTo>
                      <a:pt x="1674" y="504"/>
                    </a:lnTo>
                    <a:lnTo>
                      <a:pt x="1710" y="498"/>
                    </a:lnTo>
                    <a:lnTo>
                      <a:pt x="1698" y="480"/>
                    </a:lnTo>
                    <a:lnTo>
                      <a:pt x="1734" y="480"/>
                    </a:lnTo>
                    <a:lnTo>
                      <a:pt x="1710" y="468"/>
                    </a:lnTo>
                    <a:lnTo>
                      <a:pt x="1734" y="474"/>
                    </a:lnTo>
                    <a:lnTo>
                      <a:pt x="1740" y="462"/>
                    </a:lnTo>
                    <a:lnTo>
                      <a:pt x="1722" y="450"/>
                    </a:lnTo>
                    <a:lnTo>
                      <a:pt x="1764" y="450"/>
                    </a:lnTo>
                    <a:lnTo>
                      <a:pt x="1770" y="444"/>
                    </a:lnTo>
                    <a:lnTo>
                      <a:pt x="1752" y="426"/>
                    </a:lnTo>
                    <a:lnTo>
                      <a:pt x="1782" y="432"/>
                    </a:lnTo>
                    <a:lnTo>
                      <a:pt x="1782" y="402"/>
                    </a:lnTo>
                    <a:lnTo>
                      <a:pt x="1788" y="408"/>
                    </a:lnTo>
                    <a:lnTo>
                      <a:pt x="1800" y="414"/>
                    </a:lnTo>
                    <a:lnTo>
                      <a:pt x="1812" y="414"/>
                    </a:lnTo>
                    <a:lnTo>
                      <a:pt x="1830" y="408"/>
                    </a:lnTo>
                    <a:lnTo>
                      <a:pt x="1842" y="402"/>
                    </a:lnTo>
                    <a:lnTo>
                      <a:pt x="1860" y="390"/>
                    </a:lnTo>
                    <a:lnTo>
                      <a:pt x="1878" y="372"/>
                    </a:lnTo>
                    <a:lnTo>
                      <a:pt x="1896" y="372"/>
                    </a:lnTo>
                    <a:lnTo>
                      <a:pt x="1938" y="366"/>
                    </a:lnTo>
                    <a:lnTo>
                      <a:pt x="1992" y="354"/>
                    </a:lnTo>
                    <a:lnTo>
                      <a:pt x="2046" y="348"/>
                    </a:lnTo>
                    <a:lnTo>
                      <a:pt x="2094" y="336"/>
                    </a:lnTo>
                    <a:lnTo>
                      <a:pt x="2124" y="330"/>
                    </a:lnTo>
                    <a:lnTo>
                      <a:pt x="2136" y="324"/>
                    </a:lnTo>
                    <a:lnTo>
                      <a:pt x="2154" y="318"/>
                    </a:lnTo>
                    <a:lnTo>
                      <a:pt x="2160" y="312"/>
                    </a:lnTo>
                    <a:lnTo>
                      <a:pt x="2166" y="300"/>
                    </a:lnTo>
                    <a:lnTo>
                      <a:pt x="2166" y="294"/>
                    </a:lnTo>
                    <a:lnTo>
                      <a:pt x="2154" y="282"/>
                    </a:lnTo>
                    <a:lnTo>
                      <a:pt x="2136" y="276"/>
                    </a:lnTo>
                    <a:lnTo>
                      <a:pt x="2088" y="270"/>
                    </a:lnTo>
                    <a:lnTo>
                      <a:pt x="2046" y="276"/>
                    </a:lnTo>
                    <a:lnTo>
                      <a:pt x="2016" y="288"/>
                    </a:lnTo>
                    <a:lnTo>
                      <a:pt x="1980" y="300"/>
                    </a:lnTo>
                    <a:lnTo>
                      <a:pt x="1938" y="318"/>
                    </a:lnTo>
                    <a:lnTo>
                      <a:pt x="1860" y="318"/>
                    </a:lnTo>
                    <a:lnTo>
                      <a:pt x="1842" y="312"/>
                    </a:lnTo>
                    <a:lnTo>
                      <a:pt x="1824" y="312"/>
                    </a:lnTo>
                    <a:lnTo>
                      <a:pt x="1806" y="336"/>
                    </a:lnTo>
                    <a:lnTo>
                      <a:pt x="1782" y="318"/>
                    </a:lnTo>
                    <a:lnTo>
                      <a:pt x="1728" y="342"/>
                    </a:lnTo>
                    <a:lnTo>
                      <a:pt x="1698" y="342"/>
                    </a:lnTo>
                    <a:lnTo>
                      <a:pt x="1668" y="366"/>
                    </a:lnTo>
                    <a:lnTo>
                      <a:pt x="1692" y="372"/>
                    </a:lnTo>
                    <a:lnTo>
                      <a:pt x="1644" y="372"/>
                    </a:lnTo>
                    <a:lnTo>
                      <a:pt x="1614" y="378"/>
                    </a:lnTo>
                    <a:lnTo>
                      <a:pt x="1614" y="396"/>
                    </a:lnTo>
                    <a:lnTo>
                      <a:pt x="1638" y="378"/>
                    </a:lnTo>
                    <a:lnTo>
                      <a:pt x="1644" y="396"/>
                    </a:lnTo>
                    <a:lnTo>
                      <a:pt x="1668" y="396"/>
                    </a:lnTo>
                    <a:lnTo>
                      <a:pt x="1662" y="408"/>
                    </a:lnTo>
                    <a:lnTo>
                      <a:pt x="1620" y="408"/>
                    </a:lnTo>
                    <a:lnTo>
                      <a:pt x="1614" y="420"/>
                    </a:lnTo>
                    <a:lnTo>
                      <a:pt x="1644" y="426"/>
                    </a:lnTo>
                    <a:lnTo>
                      <a:pt x="1596" y="432"/>
                    </a:lnTo>
                    <a:lnTo>
                      <a:pt x="1632" y="438"/>
                    </a:lnTo>
                    <a:lnTo>
                      <a:pt x="1584" y="444"/>
                    </a:lnTo>
                    <a:lnTo>
                      <a:pt x="1584" y="462"/>
                    </a:lnTo>
                    <a:lnTo>
                      <a:pt x="1554" y="474"/>
                    </a:lnTo>
                    <a:lnTo>
                      <a:pt x="1560" y="486"/>
                    </a:lnTo>
                    <a:lnTo>
                      <a:pt x="1602" y="468"/>
                    </a:lnTo>
                    <a:lnTo>
                      <a:pt x="1590" y="498"/>
                    </a:lnTo>
                    <a:lnTo>
                      <a:pt x="1554" y="498"/>
                    </a:lnTo>
                    <a:lnTo>
                      <a:pt x="1542" y="504"/>
                    </a:lnTo>
                    <a:lnTo>
                      <a:pt x="1542" y="522"/>
                    </a:lnTo>
                    <a:close/>
                    <a:moveTo>
                      <a:pt x="5778" y="498"/>
                    </a:moveTo>
                    <a:lnTo>
                      <a:pt x="5850" y="486"/>
                    </a:lnTo>
                    <a:lnTo>
                      <a:pt x="5958" y="504"/>
                    </a:lnTo>
                    <a:lnTo>
                      <a:pt x="5952" y="492"/>
                    </a:lnTo>
                    <a:lnTo>
                      <a:pt x="5940" y="486"/>
                    </a:lnTo>
                    <a:lnTo>
                      <a:pt x="5928" y="474"/>
                    </a:lnTo>
                    <a:lnTo>
                      <a:pt x="5904" y="462"/>
                    </a:lnTo>
                    <a:lnTo>
                      <a:pt x="5844" y="462"/>
                    </a:lnTo>
                    <a:lnTo>
                      <a:pt x="5808" y="468"/>
                    </a:lnTo>
                    <a:lnTo>
                      <a:pt x="5796" y="468"/>
                    </a:lnTo>
                    <a:lnTo>
                      <a:pt x="5778" y="498"/>
                    </a:lnTo>
                    <a:close/>
                    <a:moveTo>
                      <a:pt x="5784" y="378"/>
                    </a:moveTo>
                    <a:lnTo>
                      <a:pt x="5838" y="384"/>
                    </a:lnTo>
                    <a:lnTo>
                      <a:pt x="5844" y="378"/>
                    </a:lnTo>
                    <a:lnTo>
                      <a:pt x="5850" y="366"/>
                    </a:lnTo>
                    <a:lnTo>
                      <a:pt x="5838" y="354"/>
                    </a:lnTo>
                    <a:lnTo>
                      <a:pt x="5802" y="354"/>
                    </a:lnTo>
                    <a:lnTo>
                      <a:pt x="5742" y="342"/>
                    </a:lnTo>
                    <a:lnTo>
                      <a:pt x="5724" y="342"/>
                    </a:lnTo>
                    <a:lnTo>
                      <a:pt x="5718" y="348"/>
                    </a:lnTo>
                    <a:lnTo>
                      <a:pt x="5730" y="354"/>
                    </a:lnTo>
                    <a:lnTo>
                      <a:pt x="5742" y="366"/>
                    </a:lnTo>
                    <a:lnTo>
                      <a:pt x="5754" y="372"/>
                    </a:lnTo>
                    <a:lnTo>
                      <a:pt x="5772" y="372"/>
                    </a:lnTo>
                    <a:lnTo>
                      <a:pt x="5778" y="378"/>
                    </a:lnTo>
                    <a:lnTo>
                      <a:pt x="5784" y="378"/>
                    </a:lnTo>
                    <a:close/>
                    <a:moveTo>
                      <a:pt x="5724" y="432"/>
                    </a:moveTo>
                    <a:lnTo>
                      <a:pt x="5712" y="444"/>
                    </a:lnTo>
                    <a:lnTo>
                      <a:pt x="5712" y="456"/>
                    </a:lnTo>
                    <a:lnTo>
                      <a:pt x="5724" y="462"/>
                    </a:lnTo>
                    <a:lnTo>
                      <a:pt x="5772" y="462"/>
                    </a:lnTo>
                    <a:lnTo>
                      <a:pt x="5778" y="456"/>
                    </a:lnTo>
                    <a:lnTo>
                      <a:pt x="5778" y="450"/>
                    </a:lnTo>
                    <a:lnTo>
                      <a:pt x="5766" y="438"/>
                    </a:lnTo>
                    <a:lnTo>
                      <a:pt x="5742" y="426"/>
                    </a:lnTo>
                    <a:lnTo>
                      <a:pt x="5730" y="426"/>
                    </a:lnTo>
                    <a:lnTo>
                      <a:pt x="5724" y="432"/>
                    </a:lnTo>
                    <a:close/>
                    <a:moveTo>
                      <a:pt x="3072" y="96"/>
                    </a:moveTo>
                    <a:lnTo>
                      <a:pt x="3192" y="96"/>
                    </a:lnTo>
                    <a:lnTo>
                      <a:pt x="3204" y="90"/>
                    </a:lnTo>
                    <a:lnTo>
                      <a:pt x="3228" y="90"/>
                    </a:lnTo>
                    <a:lnTo>
                      <a:pt x="3240" y="84"/>
                    </a:lnTo>
                    <a:lnTo>
                      <a:pt x="3240" y="72"/>
                    </a:lnTo>
                    <a:lnTo>
                      <a:pt x="3222" y="60"/>
                    </a:lnTo>
                    <a:lnTo>
                      <a:pt x="3192" y="42"/>
                    </a:lnTo>
                    <a:lnTo>
                      <a:pt x="3156" y="30"/>
                    </a:lnTo>
                    <a:lnTo>
                      <a:pt x="3132" y="24"/>
                    </a:lnTo>
                    <a:lnTo>
                      <a:pt x="3120" y="18"/>
                    </a:lnTo>
                    <a:lnTo>
                      <a:pt x="3108" y="18"/>
                    </a:lnTo>
                    <a:lnTo>
                      <a:pt x="3096" y="12"/>
                    </a:lnTo>
                    <a:lnTo>
                      <a:pt x="3060" y="12"/>
                    </a:lnTo>
                    <a:lnTo>
                      <a:pt x="3048" y="18"/>
                    </a:lnTo>
                    <a:lnTo>
                      <a:pt x="3036" y="18"/>
                    </a:lnTo>
                    <a:lnTo>
                      <a:pt x="3030" y="30"/>
                    </a:lnTo>
                    <a:lnTo>
                      <a:pt x="3030" y="42"/>
                    </a:lnTo>
                    <a:lnTo>
                      <a:pt x="3036" y="54"/>
                    </a:lnTo>
                    <a:lnTo>
                      <a:pt x="3048" y="66"/>
                    </a:lnTo>
                    <a:lnTo>
                      <a:pt x="3054" y="78"/>
                    </a:lnTo>
                    <a:lnTo>
                      <a:pt x="3072" y="96"/>
                    </a:lnTo>
                    <a:close/>
                    <a:moveTo>
                      <a:pt x="6138" y="408"/>
                    </a:moveTo>
                    <a:lnTo>
                      <a:pt x="6144" y="402"/>
                    </a:lnTo>
                    <a:lnTo>
                      <a:pt x="6132" y="396"/>
                    </a:lnTo>
                    <a:lnTo>
                      <a:pt x="6102" y="390"/>
                    </a:lnTo>
                    <a:lnTo>
                      <a:pt x="6036" y="390"/>
                    </a:lnTo>
                    <a:lnTo>
                      <a:pt x="6012" y="366"/>
                    </a:lnTo>
                    <a:lnTo>
                      <a:pt x="6000" y="360"/>
                    </a:lnTo>
                    <a:lnTo>
                      <a:pt x="5970" y="360"/>
                    </a:lnTo>
                    <a:lnTo>
                      <a:pt x="5958" y="366"/>
                    </a:lnTo>
                    <a:lnTo>
                      <a:pt x="5910" y="366"/>
                    </a:lnTo>
                    <a:lnTo>
                      <a:pt x="5946" y="390"/>
                    </a:lnTo>
                    <a:lnTo>
                      <a:pt x="5964" y="396"/>
                    </a:lnTo>
                    <a:lnTo>
                      <a:pt x="6000" y="402"/>
                    </a:lnTo>
                    <a:lnTo>
                      <a:pt x="6054" y="414"/>
                    </a:lnTo>
                    <a:lnTo>
                      <a:pt x="6102" y="414"/>
                    </a:lnTo>
                    <a:lnTo>
                      <a:pt x="6138" y="408"/>
                    </a:lnTo>
                    <a:close/>
                    <a:moveTo>
                      <a:pt x="7602" y="744"/>
                    </a:moveTo>
                    <a:lnTo>
                      <a:pt x="7596" y="732"/>
                    </a:lnTo>
                    <a:lnTo>
                      <a:pt x="7572" y="726"/>
                    </a:lnTo>
                    <a:lnTo>
                      <a:pt x="7512" y="714"/>
                    </a:lnTo>
                    <a:lnTo>
                      <a:pt x="7500" y="714"/>
                    </a:lnTo>
                    <a:lnTo>
                      <a:pt x="7512" y="726"/>
                    </a:lnTo>
                    <a:lnTo>
                      <a:pt x="7548" y="738"/>
                    </a:lnTo>
                    <a:lnTo>
                      <a:pt x="7584" y="744"/>
                    </a:lnTo>
                    <a:lnTo>
                      <a:pt x="7602" y="744"/>
                    </a:lnTo>
                    <a:close/>
                    <a:moveTo>
                      <a:pt x="3162" y="120"/>
                    </a:moveTo>
                    <a:lnTo>
                      <a:pt x="3216" y="138"/>
                    </a:lnTo>
                    <a:lnTo>
                      <a:pt x="3246" y="144"/>
                    </a:lnTo>
                    <a:lnTo>
                      <a:pt x="3264" y="144"/>
                    </a:lnTo>
                    <a:lnTo>
                      <a:pt x="3312" y="138"/>
                    </a:lnTo>
                    <a:lnTo>
                      <a:pt x="3372" y="156"/>
                    </a:lnTo>
                    <a:lnTo>
                      <a:pt x="3432" y="156"/>
                    </a:lnTo>
                    <a:lnTo>
                      <a:pt x="3426" y="138"/>
                    </a:lnTo>
                    <a:lnTo>
                      <a:pt x="3402" y="102"/>
                    </a:lnTo>
                    <a:lnTo>
                      <a:pt x="3384" y="96"/>
                    </a:lnTo>
                    <a:lnTo>
                      <a:pt x="3372" y="90"/>
                    </a:lnTo>
                    <a:lnTo>
                      <a:pt x="3354" y="96"/>
                    </a:lnTo>
                    <a:lnTo>
                      <a:pt x="3318" y="114"/>
                    </a:lnTo>
                    <a:lnTo>
                      <a:pt x="3294" y="90"/>
                    </a:lnTo>
                    <a:lnTo>
                      <a:pt x="3282" y="90"/>
                    </a:lnTo>
                    <a:lnTo>
                      <a:pt x="3210" y="102"/>
                    </a:lnTo>
                    <a:lnTo>
                      <a:pt x="3174" y="114"/>
                    </a:lnTo>
                    <a:lnTo>
                      <a:pt x="3162" y="120"/>
                    </a:lnTo>
                    <a:close/>
                    <a:moveTo>
                      <a:pt x="3582" y="198"/>
                    </a:moveTo>
                    <a:lnTo>
                      <a:pt x="3744" y="192"/>
                    </a:lnTo>
                    <a:lnTo>
                      <a:pt x="3702" y="168"/>
                    </a:lnTo>
                    <a:lnTo>
                      <a:pt x="3696" y="168"/>
                    </a:lnTo>
                    <a:lnTo>
                      <a:pt x="3690" y="162"/>
                    </a:lnTo>
                    <a:lnTo>
                      <a:pt x="3666" y="150"/>
                    </a:lnTo>
                    <a:lnTo>
                      <a:pt x="3648" y="144"/>
                    </a:lnTo>
                    <a:lnTo>
                      <a:pt x="3636" y="138"/>
                    </a:lnTo>
                    <a:lnTo>
                      <a:pt x="3618" y="138"/>
                    </a:lnTo>
                    <a:lnTo>
                      <a:pt x="3606" y="144"/>
                    </a:lnTo>
                    <a:lnTo>
                      <a:pt x="3600" y="150"/>
                    </a:lnTo>
                    <a:lnTo>
                      <a:pt x="3588" y="156"/>
                    </a:lnTo>
                    <a:lnTo>
                      <a:pt x="3588" y="150"/>
                    </a:lnTo>
                    <a:lnTo>
                      <a:pt x="3582" y="144"/>
                    </a:lnTo>
                    <a:lnTo>
                      <a:pt x="3576" y="132"/>
                    </a:lnTo>
                    <a:lnTo>
                      <a:pt x="3570" y="126"/>
                    </a:lnTo>
                    <a:lnTo>
                      <a:pt x="3546" y="114"/>
                    </a:lnTo>
                    <a:lnTo>
                      <a:pt x="3522" y="126"/>
                    </a:lnTo>
                    <a:lnTo>
                      <a:pt x="3504" y="162"/>
                    </a:lnTo>
                    <a:lnTo>
                      <a:pt x="3498" y="192"/>
                    </a:lnTo>
                    <a:lnTo>
                      <a:pt x="3492" y="210"/>
                    </a:lnTo>
                    <a:lnTo>
                      <a:pt x="3516" y="222"/>
                    </a:lnTo>
                    <a:lnTo>
                      <a:pt x="3534" y="216"/>
                    </a:lnTo>
                    <a:lnTo>
                      <a:pt x="3546" y="216"/>
                    </a:lnTo>
                    <a:lnTo>
                      <a:pt x="3582" y="198"/>
                    </a:lnTo>
                    <a:close/>
                    <a:moveTo>
                      <a:pt x="5622" y="420"/>
                    </a:moveTo>
                    <a:lnTo>
                      <a:pt x="5640" y="390"/>
                    </a:lnTo>
                    <a:lnTo>
                      <a:pt x="5754" y="390"/>
                    </a:lnTo>
                    <a:lnTo>
                      <a:pt x="5688" y="360"/>
                    </a:lnTo>
                    <a:lnTo>
                      <a:pt x="5700" y="336"/>
                    </a:lnTo>
                    <a:lnTo>
                      <a:pt x="5610" y="318"/>
                    </a:lnTo>
                    <a:lnTo>
                      <a:pt x="5628" y="348"/>
                    </a:lnTo>
                    <a:lnTo>
                      <a:pt x="5616" y="342"/>
                    </a:lnTo>
                    <a:lnTo>
                      <a:pt x="5592" y="336"/>
                    </a:lnTo>
                    <a:lnTo>
                      <a:pt x="5556" y="330"/>
                    </a:lnTo>
                    <a:lnTo>
                      <a:pt x="5514" y="318"/>
                    </a:lnTo>
                    <a:lnTo>
                      <a:pt x="5454" y="318"/>
                    </a:lnTo>
                    <a:lnTo>
                      <a:pt x="5448" y="330"/>
                    </a:lnTo>
                    <a:lnTo>
                      <a:pt x="5460" y="354"/>
                    </a:lnTo>
                    <a:lnTo>
                      <a:pt x="5496" y="372"/>
                    </a:lnTo>
                    <a:lnTo>
                      <a:pt x="5538" y="390"/>
                    </a:lnTo>
                    <a:lnTo>
                      <a:pt x="5574" y="408"/>
                    </a:lnTo>
                    <a:lnTo>
                      <a:pt x="5610" y="414"/>
                    </a:lnTo>
                    <a:lnTo>
                      <a:pt x="5622" y="420"/>
                    </a:lnTo>
                    <a:close/>
                    <a:moveTo>
                      <a:pt x="4320" y="432"/>
                    </a:moveTo>
                    <a:lnTo>
                      <a:pt x="4368" y="444"/>
                    </a:lnTo>
                    <a:lnTo>
                      <a:pt x="4380" y="444"/>
                    </a:lnTo>
                    <a:lnTo>
                      <a:pt x="4392" y="438"/>
                    </a:lnTo>
                    <a:lnTo>
                      <a:pt x="4398" y="438"/>
                    </a:lnTo>
                    <a:lnTo>
                      <a:pt x="4404" y="432"/>
                    </a:lnTo>
                    <a:lnTo>
                      <a:pt x="4404" y="426"/>
                    </a:lnTo>
                    <a:lnTo>
                      <a:pt x="4398" y="426"/>
                    </a:lnTo>
                    <a:lnTo>
                      <a:pt x="4362" y="414"/>
                    </a:lnTo>
                    <a:lnTo>
                      <a:pt x="4344" y="420"/>
                    </a:lnTo>
                    <a:lnTo>
                      <a:pt x="4332" y="420"/>
                    </a:lnTo>
                    <a:lnTo>
                      <a:pt x="4320" y="432"/>
                    </a:lnTo>
                    <a:close/>
                    <a:moveTo>
                      <a:pt x="5424" y="354"/>
                    </a:moveTo>
                    <a:lnTo>
                      <a:pt x="5370" y="336"/>
                    </a:lnTo>
                    <a:lnTo>
                      <a:pt x="5394" y="366"/>
                    </a:lnTo>
                    <a:lnTo>
                      <a:pt x="5424" y="354"/>
                    </a:lnTo>
                    <a:close/>
                    <a:moveTo>
                      <a:pt x="7986" y="666"/>
                    </a:moveTo>
                    <a:lnTo>
                      <a:pt x="8034" y="654"/>
                    </a:lnTo>
                    <a:lnTo>
                      <a:pt x="8088" y="654"/>
                    </a:lnTo>
                    <a:lnTo>
                      <a:pt x="8100" y="648"/>
                    </a:lnTo>
                    <a:lnTo>
                      <a:pt x="8106" y="642"/>
                    </a:lnTo>
                    <a:lnTo>
                      <a:pt x="8106" y="636"/>
                    </a:lnTo>
                    <a:lnTo>
                      <a:pt x="8100" y="630"/>
                    </a:lnTo>
                    <a:lnTo>
                      <a:pt x="8088" y="630"/>
                    </a:lnTo>
                    <a:lnTo>
                      <a:pt x="8052" y="618"/>
                    </a:lnTo>
                    <a:lnTo>
                      <a:pt x="8028" y="612"/>
                    </a:lnTo>
                    <a:lnTo>
                      <a:pt x="8010" y="606"/>
                    </a:lnTo>
                    <a:lnTo>
                      <a:pt x="7968" y="606"/>
                    </a:lnTo>
                    <a:lnTo>
                      <a:pt x="7944" y="618"/>
                    </a:lnTo>
                    <a:lnTo>
                      <a:pt x="7938" y="630"/>
                    </a:lnTo>
                    <a:lnTo>
                      <a:pt x="7938" y="654"/>
                    </a:lnTo>
                    <a:lnTo>
                      <a:pt x="7944" y="666"/>
                    </a:lnTo>
                    <a:lnTo>
                      <a:pt x="7950" y="666"/>
                    </a:lnTo>
                    <a:lnTo>
                      <a:pt x="7962" y="672"/>
                    </a:lnTo>
                    <a:lnTo>
                      <a:pt x="7968" y="672"/>
                    </a:lnTo>
                    <a:lnTo>
                      <a:pt x="7980" y="666"/>
                    </a:lnTo>
                    <a:lnTo>
                      <a:pt x="7986" y="666"/>
                    </a:lnTo>
                    <a:close/>
                    <a:moveTo>
                      <a:pt x="162" y="1788"/>
                    </a:moveTo>
                    <a:lnTo>
                      <a:pt x="150" y="1788"/>
                    </a:lnTo>
                    <a:lnTo>
                      <a:pt x="138" y="1794"/>
                    </a:lnTo>
                    <a:lnTo>
                      <a:pt x="114" y="1794"/>
                    </a:lnTo>
                    <a:lnTo>
                      <a:pt x="108" y="1788"/>
                    </a:lnTo>
                    <a:lnTo>
                      <a:pt x="96" y="1788"/>
                    </a:lnTo>
                    <a:lnTo>
                      <a:pt x="96" y="1782"/>
                    </a:lnTo>
                    <a:lnTo>
                      <a:pt x="84" y="1782"/>
                    </a:lnTo>
                    <a:lnTo>
                      <a:pt x="84" y="1788"/>
                    </a:lnTo>
                    <a:lnTo>
                      <a:pt x="72" y="1800"/>
                    </a:lnTo>
                    <a:lnTo>
                      <a:pt x="12" y="1800"/>
                    </a:lnTo>
                    <a:lnTo>
                      <a:pt x="0" y="1812"/>
                    </a:lnTo>
                    <a:lnTo>
                      <a:pt x="0" y="1818"/>
                    </a:lnTo>
                    <a:lnTo>
                      <a:pt x="12" y="1830"/>
                    </a:lnTo>
                    <a:lnTo>
                      <a:pt x="6" y="1842"/>
                    </a:lnTo>
                    <a:lnTo>
                      <a:pt x="12" y="1848"/>
                    </a:lnTo>
                    <a:lnTo>
                      <a:pt x="18" y="1848"/>
                    </a:lnTo>
                    <a:lnTo>
                      <a:pt x="24" y="1842"/>
                    </a:lnTo>
                    <a:lnTo>
                      <a:pt x="48" y="1842"/>
                    </a:lnTo>
                    <a:lnTo>
                      <a:pt x="54" y="1848"/>
                    </a:lnTo>
                    <a:lnTo>
                      <a:pt x="66" y="1848"/>
                    </a:lnTo>
                    <a:lnTo>
                      <a:pt x="72" y="1854"/>
                    </a:lnTo>
                    <a:lnTo>
                      <a:pt x="162" y="1854"/>
                    </a:lnTo>
                    <a:lnTo>
                      <a:pt x="162" y="1848"/>
                    </a:lnTo>
                    <a:lnTo>
                      <a:pt x="168" y="1848"/>
                    </a:lnTo>
                    <a:lnTo>
                      <a:pt x="162" y="1830"/>
                    </a:lnTo>
                    <a:lnTo>
                      <a:pt x="174" y="1818"/>
                    </a:lnTo>
                    <a:lnTo>
                      <a:pt x="174" y="1800"/>
                    </a:lnTo>
                    <a:lnTo>
                      <a:pt x="168" y="1788"/>
                    </a:lnTo>
                    <a:lnTo>
                      <a:pt x="162" y="1788"/>
                    </a:lnTo>
                    <a:close/>
                    <a:moveTo>
                      <a:pt x="1038" y="90"/>
                    </a:moveTo>
                    <a:lnTo>
                      <a:pt x="1062" y="72"/>
                    </a:lnTo>
                    <a:lnTo>
                      <a:pt x="1032" y="72"/>
                    </a:lnTo>
                    <a:lnTo>
                      <a:pt x="1032" y="84"/>
                    </a:lnTo>
                    <a:lnTo>
                      <a:pt x="1038" y="90"/>
                    </a:lnTo>
                    <a:close/>
                    <a:moveTo>
                      <a:pt x="990" y="72"/>
                    </a:moveTo>
                    <a:lnTo>
                      <a:pt x="1074" y="54"/>
                    </a:lnTo>
                    <a:lnTo>
                      <a:pt x="1044" y="42"/>
                    </a:lnTo>
                    <a:lnTo>
                      <a:pt x="996" y="54"/>
                    </a:lnTo>
                    <a:lnTo>
                      <a:pt x="948" y="54"/>
                    </a:lnTo>
                    <a:lnTo>
                      <a:pt x="966" y="66"/>
                    </a:lnTo>
                    <a:lnTo>
                      <a:pt x="990" y="72"/>
                    </a:lnTo>
                    <a:close/>
                    <a:moveTo>
                      <a:pt x="1122" y="90"/>
                    </a:moveTo>
                    <a:lnTo>
                      <a:pt x="1128" y="78"/>
                    </a:lnTo>
                    <a:lnTo>
                      <a:pt x="1152" y="78"/>
                    </a:lnTo>
                    <a:lnTo>
                      <a:pt x="1164" y="66"/>
                    </a:lnTo>
                    <a:lnTo>
                      <a:pt x="1218" y="66"/>
                    </a:lnTo>
                    <a:lnTo>
                      <a:pt x="1218" y="60"/>
                    </a:lnTo>
                    <a:lnTo>
                      <a:pt x="1206" y="54"/>
                    </a:lnTo>
                    <a:lnTo>
                      <a:pt x="1182" y="54"/>
                    </a:lnTo>
                    <a:lnTo>
                      <a:pt x="1182" y="48"/>
                    </a:lnTo>
                    <a:lnTo>
                      <a:pt x="1176" y="48"/>
                    </a:lnTo>
                    <a:lnTo>
                      <a:pt x="1164" y="42"/>
                    </a:lnTo>
                    <a:lnTo>
                      <a:pt x="1140" y="42"/>
                    </a:lnTo>
                    <a:lnTo>
                      <a:pt x="1134" y="48"/>
                    </a:lnTo>
                    <a:lnTo>
                      <a:pt x="1128" y="60"/>
                    </a:lnTo>
                    <a:lnTo>
                      <a:pt x="1128" y="66"/>
                    </a:lnTo>
                    <a:lnTo>
                      <a:pt x="1122" y="66"/>
                    </a:lnTo>
                    <a:lnTo>
                      <a:pt x="1116" y="72"/>
                    </a:lnTo>
                    <a:lnTo>
                      <a:pt x="1104" y="72"/>
                    </a:lnTo>
                    <a:lnTo>
                      <a:pt x="1086" y="78"/>
                    </a:lnTo>
                    <a:lnTo>
                      <a:pt x="1080" y="78"/>
                    </a:lnTo>
                    <a:lnTo>
                      <a:pt x="1074" y="84"/>
                    </a:lnTo>
                    <a:lnTo>
                      <a:pt x="1080" y="84"/>
                    </a:lnTo>
                    <a:lnTo>
                      <a:pt x="1092" y="90"/>
                    </a:lnTo>
                    <a:lnTo>
                      <a:pt x="1122" y="90"/>
                    </a:lnTo>
                    <a:close/>
                    <a:moveTo>
                      <a:pt x="1176" y="78"/>
                    </a:moveTo>
                    <a:lnTo>
                      <a:pt x="1158" y="90"/>
                    </a:lnTo>
                    <a:lnTo>
                      <a:pt x="1176" y="102"/>
                    </a:lnTo>
                    <a:lnTo>
                      <a:pt x="1194" y="108"/>
                    </a:lnTo>
                    <a:lnTo>
                      <a:pt x="1248" y="102"/>
                    </a:lnTo>
                    <a:lnTo>
                      <a:pt x="1242" y="90"/>
                    </a:lnTo>
                    <a:lnTo>
                      <a:pt x="1212" y="90"/>
                    </a:lnTo>
                    <a:lnTo>
                      <a:pt x="1176" y="78"/>
                    </a:lnTo>
                    <a:close/>
                    <a:moveTo>
                      <a:pt x="7812" y="2436"/>
                    </a:moveTo>
                    <a:lnTo>
                      <a:pt x="7782" y="2400"/>
                    </a:lnTo>
                    <a:lnTo>
                      <a:pt x="7776" y="2400"/>
                    </a:lnTo>
                    <a:lnTo>
                      <a:pt x="7770" y="2394"/>
                    </a:lnTo>
                    <a:lnTo>
                      <a:pt x="7752" y="2388"/>
                    </a:lnTo>
                    <a:lnTo>
                      <a:pt x="7728" y="2364"/>
                    </a:lnTo>
                    <a:lnTo>
                      <a:pt x="7722" y="2352"/>
                    </a:lnTo>
                    <a:lnTo>
                      <a:pt x="7704" y="2298"/>
                    </a:lnTo>
                    <a:lnTo>
                      <a:pt x="7698" y="2286"/>
                    </a:lnTo>
                    <a:lnTo>
                      <a:pt x="7698" y="2274"/>
                    </a:lnTo>
                    <a:lnTo>
                      <a:pt x="7674" y="2250"/>
                    </a:lnTo>
                    <a:lnTo>
                      <a:pt x="7680" y="2244"/>
                    </a:lnTo>
                    <a:lnTo>
                      <a:pt x="7698" y="2244"/>
                    </a:lnTo>
                    <a:lnTo>
                      <a:pt x="7770" y="2268"/>
                    </a:lnTo>
                    <a:lnTo>
                      <a:pt x="7800" y="2280"/>
                    </a:lnTo>
                    <a:lnTo>
                      <a:pt x="7812" y="2286"/>
                    </a:lnTo>
                    <a:lnTo>
                      <a:pt x="7740" y="2232"/>
                    </a:lnTo>
                    <a:lnTo>
                      <a:pt x="7734" y="2226"/>
                    </a:lnTo>
                    <a:lnTo>
                      <a:pt x="7722" y="2202"/>
                    </a:lnTo>
                    <a:lnTo>
                      <a:pt x="7710" y="2196"/>
                    </a:lnTo>
                    <a:lnTo>
                      <a:pt x="7704" y="2184"/>
                    </a:lnTo>
                    <a:lnTo>
                      <a:pt x="7698" y="2178"/>
                    </a:lnTo>
                    <a:lnTo>
                      <a:pt x="7674" y="2166"/>
                    </a:lnTo>
                    <a:lnTo>
                      <a:pt x="7668" y="2160"/>
                    </a:lnTo>
                    <a:lnTo>
                      <a:pt x="7656" y="2154"/>
                    </a:lnTo>
                    <a:lnTo>
                      <a:pt x="7578" y="2070"/>
                    </a:lnTo>
                    <a:lnTo>
                      <a:pt x="7554" y="2070"/>
                    </a:lnTo>
                    <a:lnTo>
                      <a:pt x="7542" y="2040"/>
                    </a:lnTo>
                    <a:lnTo>
                      <a:pt x="7524" y="2040"/>
                    </a:lnTo>
                    <a:lnTo>
                      <a:pt x="7512" y="2028"/>
                    </a:lnTo>
                    <a:lnTo>
                      <a:pt x="7500" y="2004"/>
                    </a:lnTo>
                    <a:lnTo>
                      <a:pt x="7500" y="1980"/>
                    </a:lnTo>
                    <a:lnTo>
                      <a:pt x="7470" y="1944"/>
                    </a:lnTo>
                    <a:lnTo>
                      <a:pt x="7446" y="1950"/>
                    </a:lnTo>
                    <a:lnTo>
                      <a:pt x="7434" y="1920"/>
                    </a:lnTo>
                    <a:lnTo>
                      <a:pt x="7392" y="1890"/>
                    </a:lnTo>
                    <a:lnTo>
                      <a:pt x="7380" y="1866"/>
                    </a:lnTo>
                    <a:lnTo>
                      <a:pt x="7368" y="1860"/>
                    </a:lnTo>
                    <a:lnTo>
                      <a:pt x="7362" y="1854"/>
                    </a:lnTo>
                    <a:lnTo>
                      <a:pt x="7344" y="1854"/>
                    </a:lnTo>
                    <a:lnTo>
                      <a:pt x="7344" y="1860"/>
                    </a:lnTo>
                    <a:lnTo>
                      <a:pt x="7392" y="1908"/>
                    </a:lnTo>
                    <a:lnTo>
                      <a:pt x="7392" y="1914"/>
                    </a:lnTo>
                    <a:lnTo>
                      <a:pt x="7386" y="1914"/>
                    </a:lnTo>
                    <a:lnTo>
                      <a:pt x="7380" y="1908"/>
                    </a:lnTo>
                    <a:lnTo>
                      <a:pt x="7368" y="1908"/>
                    </a:lnTo>
                    <a:lnTo>
                      <a:pt x="7362" y="1914"/>
                    </a:lnTo>
                    <a:lnTo>
                      <a:pt x="7362" y="1926"/>
                    </a:lnTo>
                    <a:lnTo>
                      <a:pt x="7374" y="1950"/>
                    </a:lnTo>
                    <a:lnTo>
                      <a:pt x="7386" y="1962"/>
                    </a:lnTo>
                    <a:lnTo>
                      <a:pt x="7392" y="1974"/>
                    </a:lnTo>
                    <a:lnTo>
                      <a:pt x="7404" y="1980"/>
                    </a:lnTo>
                    <a:lnTo>
                      <a:pt x="7404" y="1992"/>
                    </a:lnTo>
                    <a:lnTo>
                      <a:pt x="7416" y="2016"/>
                    </a:lnTo>
                    <a:lnTo>
                      <a:pt x="7422" y="2022"/>
                    </a:lnTo>
                    <a:lnTo>
                      <a:pt x="7440" y="2034"/>
                    </a:lnTo>
                    <a:lnTo>
                      <a:pt x="7470" y="2052"/>
                    </a:lnTo>
                    <a:lnTo>
                      <a:pt x="7500" y="2076"/>
                    </a:lnTo>
                    <a:lnTo>
                      <a:pt x="7518" y="2100"/>
                    </a:lnTo>
                    <a:lnTo>
                      <a:pt x="7524" y="2112"/>
                    </a:lnTo>
                    <a:lnTo>
                      <a:pt x="7536" y="2130"/>
                    </a:lnTo>
                    <a:lnTo>
                      <a:pt x="7536" y="2142"/>
                    </a:lnTo>
                    <a:lnTo>
                      <a:pt x="7548" y="2154"/>
                    </a:lnTo>
                    <a:lnTo>
                      <a:pt x="7554" y="2166"/>
                    </a:lnTo>
                    <a:lnTo>
                      <a:pt x="7572" y="2184"/>
                    </a:lnTo>
                    <a:lnTo>
                      <a:pt x="7590" y="2208"/>
                    </a:lnTo>
                    <a:lnTo>
                      <a:pt x="7608" y="2238"/>
                    </a:lnTo>
                    <a:lnTo>
                      <a:pt x="7620" y="2262"/>
                    </a:lnTo>
                    <a:lnTo>
                      <a:pt x="7626" y="2268"/>
                    </a:lnTo>
                    <a:lnTo>
                      <a:pt x="7626" y="2280"/>
                    </a:lnTo>
                    <a:lnTo>
                      <a:pt x="7632" y="2292"/>
                    </a:lnTo>
                    <a:lnTo>
                      <a:pt x="7644" y="2304"/>
                    </a:lnTo>
                    <a:lnTo>
                      <a:pt x="7656" y="2304"/>
                    </a:lnTo>
                    <a:lnTo>
                      <a:pt x="7668" y="2310"/>
                    </a:lnTo>
                    <a:lnTo>
                      <a:pt x="7674" y="2322"/>
                    </a:lnTo>
                    <a:lnTo>
                      <a:pt x="7686" y="2334"/>
                    </a:lnTo>
                    <a:lnTo>
                      <a:pt x="7698" y="2358"/>
                    </a:lnTo>
                    <a:lnTo>
                      <a:pt x="7698" y="2376"/>
                    </a:lnTo>
                    <a:lnTo>
                      <a:pt x="7740" y="2412"/>
                    </a:lnTo>
                    <a:lnTo>
                      <a:pt x="7752" y="2466"/>
                    </a:lnTo>
                    <a:lnTo>
                      <a:pt x="7794" y="2508"/>
                    </a:lnTo>
                    <a:lnTo>
                      <a:pt x="7794" y="2502"/>
                    </a:lnTo>
                    <a:lnTo>
                      <a:pt x="7788" y="2496"/>
                    </a:lnTo>
                    <a:lnTo>
                      <a:pt x="7788" y="2484"/>
                    </a:lnTo>
                    <a:lnTo>
                      <a:pt x="7782" y="2472"/>
                    </a:lnTo>
                    <a:lnTo>
                      <a:pt x="7782" y="2460"/>
                    </a:lnTo>
                    <a:lnTo>
                      <a:pt x="7776" y="2448"/>
                    </a:lnTo>
                    <a:lnTo>
                      <a:pt x="7782" y="2442"/>
                    </a:lnTo>
                    <a:lnTo>
                      <a:pt x="7788" y="2442"/>
                    </a:lnTo>
                    <a:lnTo>
                      <a:pt x="7800" y="2454"/>
                    </a:lnTo>
                    <a:lnTo>
                      <a:pt x="7830" y="2454"/>
                    </a:lnTo>
                    <a:lnTo>
                      <a:pt x="7866" y="2496"/>
                    </a:lnTo>
                    <a:lnTo>
                      <a:pt x="7866" y="2472"/>
                    </a:lnTo>
                    <a:lnTo>
                      <a:pt x="7836" y="2430"/>
                    </a:lnTo>
                    <a:lnTo>
                      <a:pt x="7812" y="2436"/>
                    </a:lnTo>
                    <a:close/>
                    <a:moveTo>
                      <a:pt x="1344" y="84"/>
                    </a:moveTo>
                    <a:lnTo>
                      <a:pt x="1350" y="72"/>
                    </a:lnTo>
                    <a:lnTo>
                      <a:pt x="1308" y="66"/>
                    </a:lnTo>
                    <a:lnTo>
                      <a:pt x="1284" y="78"/>
                    </a:lnTo>
                    <a:lnTo>
                      <a:pt x="1290" y="90"/>
                    </a:lnTo>
                    <a:lnTo>
                      <a:pt x="1344" y="84"/>
                    </a:lnTo>
                    <a:close/>
                    <a:moveTo>
                      <a:pt x="9048" y="996"/>
                    </a:moveTo>
                    <a:lnTo>
                      <a:pt x="9036" y="984"/>
                    </a:lnTo>
                    <a:lnTo>
                      <a:pt x="9024" y="978"/>
                    </a:lnTo>
                    <a:lnTo>
                      <a:pt x="9006" y="972"/>
                    </a:lnTo>
                    <a:lnTo>
                      <a:pt x="8994" y="966"/>
                    </a:lnTo>
                    <a:lnTo>
                      <a:pt x="8982" y="966"/>
                    </a:lnTo>
                    <a:lnTo>
                      <a:pt x="8940" y="948"/>
                    </a:lnTo>
                    <a:lnTo>
                      <a:pt x="8898" y="948"/>
                    </a:lnTo>
                    <a:lnTo>
                      <a:pt x="8868" y="930"/>
                    </a:lnTo>
                    <a:lnTo>
                      <a:pt x="8778" y="924"/>
                    </a:lnTo>
                    <a:lnTo>
                      <a:pt x="8736" y="906"/>
                    </a:lnTo>
                    <a:lnTo>
                      <a:pt x="8700" y="906"/>
                    </a:lnTo>
                    <a:lnTo>
                      <a:pt x="8754" y="942"/>
                    </a:lnTo>
                    <a:lnTo>
                      <a:pt x="8808" y="966"/>
                    </a:lnTo>
                    <a:lnTo>
                      <a:pt x="8796" y="966"/>
                    </a:lnTo>
                    <a:lnTo>
                      <a:pt x="8784" y="972"/>
                    </a:lnTo>
                    <a:lnTo>
                      <a:pt x="8754" y="972"/>
                    </a:lnTo>
                    <a:lnTo>
                      <a:pt x="8730" y="960"/>
                    </a:lnTo>
                    <a:lnTo>
                      <a:pt x="8676" y="906"/>
                    </a:lnTo>
                    <a:lnTo>
                      <a:pt x="8580" y="870"/>
                    </a:lnTo>
                    <a:lnTo>
                      <a:pt x="8496" y="846"/>
                    </a:lnTo>
                    <a:lnTo>
                      <a:pt x="8442" y="834"/>
                    </a:lnTo>
                    <a:lnTo>
                      <a:pt x="8370" y="822"/>
                    </a:lnTo>
                    <a:lnTo>
                      <a:pt x="8280" y="804"/>
                    </a:lnTo>
                    <a:lnTo>
                      <a:pt x="8190" y="780"/>
                    </a:lnTo>
                    <a:lnTo>
                      <a:pt x="8112" y="762"/>
                    </a:lnTo>
                    <a:lnTo>
                      <a:pt x="8052" y="750"/>
                    </a:lnTo>
                    <a:lnTo>
                      <a:pt x="7998" y="738"/>
                    </a:lnTo>
                    <a:lnTo>
                      <a:pt x="7956" y="732"/>
                    </a:lnTo>
                    <a:lnTo>
                      <a:pt x="7758" y="732"/>
                    </a:lnTo>
                    <a:lnTo>
                      <a:pt x="7746" y="714"/>
                    </a:lnTo>
                    <a:lnTo>
                      <a:pt x="7698" y="720"/>
                    </a:lnTo>
                    <a:lnTo>
                      <a:pt x="7680" y="708"/>
                    </a:lnTo>
                    <a:lnTo>
                      <a:pt x="7626" y="708"/>
                    </a:lnTo>
                    <a:lnTo>
                      <a:pt x="7650" y="726"/>
                    </a:lnTo>
                    <a:lnTo>
                      <a:pt x="7644" y="744"/>
                    </a:lnTo>
                    <a:lnTo>
                      <a:pt x="7656" y="744"/>
                    </a:lnTo>
                    <a:lnTo>
                      <a:pt x="7680" y="756"/>
                    </a:lnTo>
                    <a:lnTo>
                      <a:pt x="7716" y="762"/>
                    </a:lnTo>
                    <a:lnTo>
                      <a:pt x="7740" y="774"/>
                    </a:lnTo>
                    <a:lnTo>
                      <a:pt x="7758" y="786"/>
                    </a:lnTo>
                    <a:lnTo>
                      <a:pt x="7752" y="798"/>
                    </a:lnTo>
                    <a:lnTo>
                      <a:pt x="7728" y="804"/>
                    </a:lnTo>
                    <a:lnTo>
                      <a:pt x="7698" y="804"/>
                    </a:lnTo>
                    <a:lnTo>
                      <a:pt x="7686" y="798"/>
                    </a:lnTo>
                    <a:lnTo>
                      <a:pt x="7680" y="792"/>
                    </a:lnTo>
                    <a:lnTo>
                      <a:pt x="7656" y="774"/>
                    </a:lnTo>
                    <a:lnTo>
                      <a:pt x="7584" y="774"/>
                    </a:lnTo>
                    <a:lnTo>
                      <a:pt x="7530" y="738"/>
                    </a:lnTo>
                    <a:lnTo>
                      <a:pt x="7524" y="738"/>
                    </a:lnTo>
                    <a:lnTo>
                      <a:pt x="7518" y="744"/>
                    </a:lnTo>
                    <a:lnTo>
                      <a:pt x="7506" y="744"/>
                    </a:lnTo>
                    <a:lnTo>
                      <a:pt x="7500" y="750"/>
                    </a:lnTo>
                    <a:lnTo>
                      <a:pt x="7446" y="750"/>
                    </a:lnTo>
                    <a:lnTo>
                      <a:pt x="7440" y="738"/>
                    </a:lnTo>
                    <a:lnTo>
                      <a:pt x="7344" y="744"/>
                    </a:lnTo>
                    <a:lnTo>
                      <a:pt x="7320" y="726"/>
                    </a:lnTo>
                    <a:lnTo>
                      <a:pt x="7314" y="732"/>
                    </a:lnTo>
                    <a:lnTo>
                      <a:pt x="7212" y="732"/>
                    </a:lnTo>
                    <a:lnTo>
                      <a:pt x="7206" y="738"/>
                    </a:lnTo>
                    <a:lnTo>
                      <a:pt x="7212" y="744"/>
                    </a:lnTo>
                    <a:lnTo>
                      <a:pt x="7218" y="756"/>
                    </a:lnTo>
                    <a:lnTo>
                      <a:pt x="7254" y="792"/>
                    </a:lnTo>
                    <a:lnTo>
                      <a:pt x="7248" y="792"/>
                    </a:lnTo>
                    <a:lnTo>
                      <a:pt x="7242" y="786"/>
                    </a:lnTo>
                    <a:lnTo>
                      <a:pt x="7230" y="780"/>
                    </a:lnTo>
                    <a:lnTo>
                      <a:pt x="7218" y="768"/>
                    </a:lnTo>
                    <a:lnTo>
                      <a:pt x="7206" y="762"/>
                    </a:lnTo>
                    <a:lnTo>
                      <a:pt x="7194" y="750"/>
                    </a:lnTo>
                    <a:lnTo>
                      <a:pt x="7176" y="744"/>
                    </a:lnTo>
                    <a:lnTo>
                      <a:pt x="7104" y="732"/>
                    </a:lnTo>
                    <a:lnTo>
                      <a:pt x="7086" y="732"/>
                    </a:lnTo>
                    <a:lnTo>
                      <a:pt x="7086" y="726"/>
                    </a:lnTo>
                    <a:lnTo>
                      <a:pt x="7056" y="696"/>
                    </a:lnTo>
                    <a:lnTo>
                      <a:pt x="7032" y="684"/>
                    </a:lnTo>
                    <a:lnTo>
                      <a:pt x="6990" y="666"/>
                    </a:lnTo>
                    <a:lnTo>
                      <a:pt x="6948" y="660"/>
                    </a:lnTo>
                    <a:lnTo>
                      <a:pt x="6912" y="654"/>
                    </a:lnTo>
                    <a:lnTo>
                      <a:pt x="6882" y="654"/>
                    </a:lnTo>
                    <a:lnTo>
                      <a:pt x="6864" y="648"/>
                    </a:lnTo>
                    <a:lnTo>
                      <a:pt x="6834" y="648"/>
                    </a:lnTo>
                    <a:lnTo>
                      <a:pt x="6786" y="636"/>
                    </a:lnTo>
                    <a:lnTo>
                      <a:pt x="6774" y="642"/>
                    </a:lnTo>
                    <a:lnTo>
                      <a:pt x="6714" y="642"/>
                    </a:lnTo>
                    <a:lnTo>
                      <a:pt x="6696" y="660"/>
                    </a:lnTo>
                    <a:lnTo>
                      <a:pt x="6684" y="666"/>
                    </a:lnTo>
                    <a:lnTo>
                      <a:pt x="6648" y="666"/>
                    </a:lnTo>
                    <a:lnTo>
                      <a:pt x="6630" y="660"/>
                    </a:lnTo>
                    <a:lnTo>
                      <a:pt x="6594" y="660"/>
                    </a:lnTo>
                    <a:lnTo>
                      <a:pt x="6582" y="654"/>
                    </a:lnTo>
                    <a:lnTo>
                      <a:pt x="6576" y="648"/>
                    </a:lnTo>
                    <a:lnTo>
                      <a:pt x="6552" y="636"/>
                    </a:lnTo>
                    <a:lnTo>
                      <a:pt x="6534" y="630"/>
                    </a:lnTo>
                    <a:lnTo>
                      <a:pt x="6522" y="624"/>
                    </a:lnTo>
                    <a:lnTo>
                      <a:pt x="6498" y="624"/>
                    </a:lnTo>
                    <a:lnTo>
                      <a:pt x="6486" y="630"/>
                    </a:lnTo>
                    <a:lnTo>
                      <a:pt x="6474" y="612"/>
                    </a:lnTo>
                    <a:lnTo>
                      <a:pt x="6438" y="612"/>
                    </a:lnTo>
                    <a:lnTo>
                      <a:pt x="6372" y="606"/>
                    </a:lnTo>
                    <a:lnTo>
                      <a:pt x="6408" y="594"/>
                    </a:lnTo>
                    <a:lnTo>
                      <a:pt x="6372" y="570"/>
                    </a:lnTo>
                    <a:lnTo>
                      <a:pt x="6360" y="570"/>
                    </a:lnTo>
                    <a:lnTo>
                      <a:pt x="6324" y="564"/>
                    </a:lnTo>
                    <a:lnTo>
                      <a:pt x="6282" y="558"/>
                    </a:lnTo>
                    <a:lnTo>
                      <a:pt x="6246" y="558"/>
                    </a:lnTo>
                    <a:lnTo>
                      <a:pt x="6228" y="564"/>
                    </a:lnTo>
                    <a:lnTo>
                      <a:pt x="6228" y="594"/>
                    </a:lnTo>
                    <a:lnTo>
                      <a:pt x="6222" y="600"/>
                    </a:lnTo>
                    <a:lnTo>
                      <a:pt x="6192" y="600"/>
                    </a:lnTo>
                    <a:lnTo>
                      <a:pt x="6180" y="594"/>
                    </a:lnTo>
                    <a:lnTo>
                      <a:pt x="6168" y="594"/>
                    </a:lnTo>
                    <a:lnTo>
                      <a:pt x="6186" y="582"/>
                    </a:lnTo>
                    <a:lnTo>
                      <a:pt x="6168" y="570"/>
                    </a:lnTo>
                    <a:lnTo>
                      <a:pt x="6096" y="570"/>
                    </a:lnTo>
                    <a:lnTo>
                      <a:pt x="6114" y="558"/>
                    </a:lnTo>
                    <a:lnTo>
                      <a:pt x="6156" y="558"/>
                    </a:lnTo>
                    <a:lnTo>
                      <a:pt x="6216" y="588"/>
                    </a:lnTo>
                    <a:lnTo>
                      <a:pt x="6216" y="564"/>
                    </a:lnTo>
                    <a:lnTo>
                      <a:pt x="6162" y="540"/>
                    </a:lnTo>
                    <a:lnTo>
                      <a:pt x="6048" y="546"/>
                    </a:lnTo>
                    <a:lnTo>
                      <a:pt x="6048" y="534"/>
                    </a:lnTo>
                    <a:lnTo>
                      <a:pt x="5928" y="540"/>
                    </a:lnTo>
                    <a:lnTo>
                      <a:pt x="5880" y="522"/>
                    </a:lnTo>
                    <a:lnTo>
                      <a:pt x="5862" y="522"/>
                    </a:lnTo>
                    <a:lnTo>
                      <a:pt x="5898" y="546"/>
                    </a:lnTo>
                    <a:lnTo>
                      <a:pt x="5850" y="546"/>
                    </a:lnTo>
                    <a:lnTo>
                      <a:pt x="5838" y="552"/>
                    </a:lnTo>
                    <a:lnTo>
                      <a:pt x="5832" y="552"/>
                    </a:lnTo>
                    <a:lnTo>
                      <a:pt x="5832" y="558"/>
                    </a:lnTo>
                    <a:lnTo>
                      <a:pt x="5844" y="564"/>
                    </a:lnTo>
                    <a:lnTo>
                      <a:pt x="5850" y="570"/>
                    </a:lnTo>
                    <a:lnTo>
                      <a:pt x="5862" y="576"/>
                    </a:lnTo>
                    <a:lnTo>
                      <a:pt x="5892" y="576"/>
                    </a:lnTo>
                    <a:lnTo>
                      <a:pt x="5892" y="582"/>
                    </a:lnTo>
                    <a:lnTo>
                      <a:pt x="5952" y="618"/>
                    </a:lnTo>
                    <a:lnTo>
                      <a:pt x="5904" y="618"/>
                    </a:lnTo>
                    <a:lnTo>
                      <a:pt x="5898" y="612"/>
                    </a:lnTo>
                    <a:lnTo>
                      <a:pt x="5886" y="606"/>
                    </a:lnTo>
                    <a:lnTo>
                      <a:pt x="5874" y="606"/>
                    </a:lnTo>
                    <a:lnTo>
                      <a:pt x="5862" y="600"/>
                    </a:lnTo>
                    <a:lnTo>
                      <a:pt x="5844" y="618"/>
                    </a:lnTo>
                    <a:lnTo>
                      <a:pt x="5868" y="636"/>
                    </a:lnTo>
                    <a:lnTo>
                      <a:pt x="5814" y="630"/>
                    </a:lnTo>
                    <a:lnTo>
                      <a:pt x="5808" y="630"/>
                    </a:lnTo>
                    <a:lnTo>
                      <a:pt x="5802" y="624"/>
                    </a:lnTo>
                    <a:lnTo>
                      <a:pt x="5784" y="618"/>
                    </a:lnTo>
                    <a:lnTo>
                      <a:pt x="5766" y="618"/>
                    </a:lnTo>
                    <a:lnTo>
                      <a:pt x="5754" y="612"/>
                    </a:lnTo>
                    <a:lnTo>
                      <a:pt x="5736" y="606"/>
                    </a:lnTo>
                    <a:lnTo>
                      <a:pt x="5724" y="606"/>
                    </a:lnTo>
                    <a:lnTo>
                      <a:pt x="5712" y="612"/>
                    </a:lnTo>
                    <a:lnTo>
                      <a:pt x="5700" y="612"/>
                    </a:lnTo>
                    <a:lnTo>
                      <a:pt x="5688" y="618"/>
                    </a:lnTo>
                    <a:lnTo>
                      <a:pt x="5682" y="624"/>
                    </a:lnTo>
                    <a:lnTo>
                      <a:pt x="5676" y="624"/>
                    </a:lnTo>
                    <a:lnTo>
                      <a:pt x="5610" y="618"/>
                    </a:lnTo>
                    <a:lnTo>
                      <a:pt x="5604" y="618"/>
                    </a:lnTo>
                    <a:lnTo>
                      <a:pt x="5598" y="612"/>
                    </a:lnTo>
                    <a:lnTo>
                      <a:pt x="5562" y="594"/>
                    </a:lnTo>
                    <a:lnTo>
                      <a:pt x="5556" y="594"/>
                    </a:lnTo>
                    <a:lnTo>
                      <a:pt x="5550" y="588"/>
                    </a:lnTo>
                    <a:lnTo>
                      <a:pt x="5538" y="588"/>
                    </a:lnTo>
                    <a:lnTo>
                      <a:pt x="5538" y="606"/>
                    </a:lnTo>
                    <a:lnTo>
                      <a:pt x="5544" y="612"/>
                    </a:lnTo>
                    <a:lnTo>
                      <a:pt x="5550" y="624"/>
                    </a:lnTo>
                    <a:lnTo>
                      <a:pt x="5556" y="630"/>
                    </a:lnTo>
                    <a:lnTo>
                      <a:pt x="5562" y="642"/>
                    </a:lnTo>
                    <a:lnTo>
                      <a:pt x="5562" y="660"/>
                    </a:lnTo>
                    <a:lnTo>
                      <a:pt x="5556" y="666"/>
                    </a:lnTo>
                    <a:lnTo>
                      <a:pt x="5532" y="660"/>
                    </a:lnTo>
                    <a:lnTo>
                      <a:pt x="5424" y="624"/>
                    </a:lnTo>
                    <a:lnTo>
                      <a:pt x="5412" y="618"/>
                    </a:lnTo>
                    <a:lnTo>
                      <a:pt x="5406" y="618"/>
                    </a:lnTo>
                    <a:lnTo>
                      <a:pt x="5400" y="612"/>
                    </a:lnTo>
                    <a:lnTo>
                      <a:pt x="5394" y="600"/>
                    </a:lnTo>
                    <a:lnTo>
                      <a:pt x="5382" y="594"/>
                    </a:lnTo>
                    <a:lnTo>
                      <a:pt x="5376" y="588"/>
                    </a:lnTo>
                    <a:lnTo>
                      <a:pt x="5376" y="606"/>
                    </a:lnTo>
                    <a:lnTo>
                      <a:pt x="5322" y="588"/>
                    </a:lnTo>
                    <a:lnTo>
                      <a:pt x="5292" y="570"/>
                    </a:lnTo>
                    <a:lnTo>
                      <a:pt x="5298" y="570"/>
                    </a:lnTo>
                    <a:lnTo>
                      <a:pt x="5304" y="576"/>
                    </a:lnTo>
                    <a:lnTo>
                      <a:pt x="5328" y="576"/>
                    </a:lnTo>
                    <a:lnTo>
                      <a:pt x="5340" y="582"/>
                    </a:lnTo>
                    <a:lnTo>
                      <a:pt x="5352" y="582"/>
                    </a:lnTo>
                    <a:lnTo>
                      <a:pt x="5358" y="576"/>
                    </a:lnTo>
                    <a:lnTo>
                      <a:pt x="5358" y="570"/>
                    </a:lnTo>
                    <a:lnTo>
                      <a:pt x="5346" y="564"/>
                    </a:lnTo>
                    <a:lnTo>
                      <a:pt x="5334" y="552"/>
                    </a:lnTo>
                    <a:lnTo>
                      <a:pt x="5292" y="552"/>
                    </a:lnTo>
                    <a:lnTo>
                      <a:pt x="5304" y="540"/>
                    </a:lnTo>
                    <a:lnTo>
                      <a:pt x="5298" y="534"/>
                    </a:lnTo>
                    <a:lnTo>
                      <a:pt x="5286" y="528"/>
                    </a:lnTo>
                    <a:lnTo>
                      <a:pt x="5256" y="528"/>
                    </a:lnTo>
                    <a:lnTo>
                      <a:pt x="5268" y="510"/>
                    </a:lnTo>
                    <a:lnTo>
                      <a:pt x="5262" y="510"/>
                    </a:lnTo>
                    <a:lnTo>
                      <a:pt x="5256" y="504"/>
                    </a:lnTo>
                    <a:lnTo>
                      <a:pt x="5232" y="504"/>
                    </a:lnTo>
                    <a:lnTo>
                      <a:pt x="5220" y="498"/>
                    </a:lnTo>
                    <a:lnTo>
                      <a:pt x="5208" y="498"/>
                    </a:lnTo>
                    <a:lnTo>
                      <a:pt x="5202" y="492"/>
                    </a:lnTo>
                    <a:lnTo>
                      <a:pt x="5190" y="492"/>
                    </a:lnTo>
                    <a:lnTo>
                      <a:pt x="5184" y="486"/>
                    </a:lnTo>
                    <a:lnTo>
                      <a:pt x="5142" y="486"/>
                    </a:lnTo>
                    <a:lnTo>
                      <a:pt x="5130" y="492"/>
                    </a:lnTo>
                    <a:lnTo>
                      <a:pt x="5094" y="492"/>
                    </a:lnTo>
                    <a:lnTo>
                      <a:pt x="5076" y="486"/>
                    </a:lnTo>
                    <a:lnTo>
                      <a:pt x="5070" y="480"/>
                    </a:lnTo>
                    <a:lnTo>
                      <a:pt x="5064" y="480"/>
                    </a:lnTo>
                    <a:lnTo>
                      <a:pt x="5040" y="486"/>
                    </a:lnTo>
                    <a:lnTo>
                      <a:pt x="5040" y="474"/>
                    </a:lnTo>
                    <a:lnTo>
                      <a:pt x="4992" y="468"/>
                    </a:lnTo>
                    <a:lnTo>
                      <a:pt x="4980" y="456"/>
                    </a:lnTo>
                    <a:lnTo>
                      <a:pt x="4974" y="474"/>
                    </a:lnTo>
                    <a:lnTo>
                      <a:pt x="4956" y="480"/>
                    </a:lnTo>
                    <a:lnTo>
                      <a:pt x="4986" y="498"/>
                    </a:lnTo>
                    <a:lnTo>
                      <a:pt x="5010" y="528"/>
                    </a:lnTo>
                    <a:lnTo>
                      <a:pt x="4962" y="522"/>
                    </a:lnTo>
                    <a:lnTo>
                      <a:pt x="4956" y="516"/>
                    </a:lnTo>
                    <a:lnTo>
                      <a:pt x="4890" y="522"/>
                    </a:lnTo>
                    <a:lnTo>
                      <a:pt x="4872" y="528"/>
                    </a:lnTo>
                    <a:lnTo>
                      <a:pt x="4872" y="516"/>
                    </a:lnTo>
                    <a:lnTo>
                      <a:pt x="4824" y="522"/>
                    </a:lnTo>
                    <a:lnTo>
                      <a:pt x="4818" y="510"/>
                    </a:lnTo>
                    <a:lnTo>
                      <a:pt x="4764" y="510"/>
                    </a:lnTo>
                    <a:lnTo>
                      <a:pt x="4728" y="504"/>
                    </a:lnTo>
                    <a:lnTo>
                      <a:pt x="4746" y="480"/>
                    </a:lnTo>
                    <a:lnTo>
                      <a:pt x="4620" y="480"/>
                    </a:lnTo>
                    <a:lnTo>
                      <a:pt x="4608" y="468"/>
                    </a:lnTo>
                    <a:lnTo>
                      <a:pt x="4602" y="474"/>
                    </a:lnTo>
                    <a:lnTo>
                      <a:pt x="4590" y="468"/>
                    </a:lnTo>
                    <a:lnTo>
                      <a:pt x="4542" y="474"/>
                    </a:lnTo>
                    <a:lnTo>
                      <a:pt x="4548" y="486"/>
                    </a:lnTo>
                    <a:lnTo>
                      <a:pt x="4488" y="480"/>
                    </a:lnTo>
                    <a:lnTo>
                      <a:pt x="4476" y="486"/>
                    </a:lnTo>
                    <a:lnTo>
                      <a:pt x="4506" y="498"/>
                    </a:lnTo>
                    <a:lnTo>
                      <a:pt x="4464" y="492"/>
                    </a:lnTo>
                    <a:lnTo>
                      <a:pt x="4464" y="474"/>
                    </a:lnTo>
                    <a:lnTo>
                      <a:pt x="4434" y="456"/>
                    </a:lnTo>
                    <a:lnTo>
                      <a:pt x="4416" y="456"/>
                    </a:lnTo>
                    <a:lnTo>
                      <a:pt x="4428" y="474"/>
                    </a:lnTo>
                    <a:lnTo>
                      <a:pt x="4374" y="474"/>
                    </a:lnTo>
                    <a:lnTo>
                      <a:pt x="4368" y="468"/>
                    </a:lnTo>
                    <a:lnTo>
                      <a:pt x="4356" y="468"/>
                    </a:lnTo>
                    <a:lnTo>
                      <a:pt x="4350" y="456"/>
                    </a:lnTo>
                    <a:lnTo>
                      <a:pt x="4320" y="456"/>
                    </a:lnTo>
                    <a:lnTo>
                      <a:pt x="4296" y="444"/>
                    </a:lnTo>
                    <a:lnTo>
                      <a:pt x="4266" y="468"/>
                    </a:lnTo>
                    <a:lnTo>
                      <a:pt x="4320" y="474"/>
                    </a:lnTo>
                    <a:lnTo>
                      <a:pt x="4332" y="474"/>
                    </a:lnTo>
                    <a:lnTo>
                      <a:pt x="4326" y="480"/>
                    </a:lnTo>
                    <a:lnTo>
                      <a:pt x="4314" y="486"/>
                    </a:lnTo>
                    <a:lnTo>
                      <a:pt x="4308" y="492"/>
                    </a:lnTo>
                    <a:lnTo>
                      <a:pt x="4272" y="492"/>
                    </a:lnTo>
                    <a:lnTo>
                      <a:pt x="4266" y="498"/>
                    </a:lnTo>
                    <a:lnTo>
                      <a:pt x="4254" y="504"/>
                    </a:lnTo>
                    <a:lnTo>
                      <a:pt x="4182" y="504"/>
                    </a:lnTo>
                    <a:lnTo>
                      <a:pt x="4146" y="510"/>
                    </a:lnTo>
                    <a:lnTo>
                      <a:pt x="4134" y="534"/>
                    </a:lnTo>
                    <a:lnTo>
                      <a:pt x="4110" y="528"/>
                    </a:lnTo>
                    <a:lnTo>
                      <a:pt x="4110" y="516"/>
                    </a:lnTo>
                    <a:lnTo>
                      <a:pt x="4116" y="504"/>
                    </a:lnTo>
                    <a:lnTo>
                      <a:pt x="4122" y="498"/>
                    </a:lnTo>
                    <a:lnTo>
                      <a:pt x="4134" y="492"/>
                    </a:lnTo>
                    <a:lnTo>
                      <a:pt x="4152" y="492"/>
                    </a:lnTo>
                    <a:lnTo>
                      <a:pt x="4164" y="480"/>
                    </a:lnTo>
                    <a:lnTo>
                      <a:pt x="4206" y="474"/>
                    </a:lnTo>
                    <a:lnTo>
                      <a:pt x="4248" y="438"/>
                    </a:lnTo>
                    <a:lnTo>
                      <a:pt x="4248" y="426"/>
                    </a:lnTo>
                    <a:lnTo>
                      <a:pt x="4254" y="420"/>
                    </a:lnTo>
                    <a:lnTo>
                      <a:pt x="4266" y="414"/>
                    </a:lnTo>
                    <a:lnTo>
                      <a:pt x="4278" y="414"/>
                    </a:lnTo>
                    <a:lnTo>
                      <a:pt x="4290" y="408"/>
                    </a:lnTo>
                    <a:lnTo>
                      <a:pt x="4302" y="408"/>
                    </a:lnTo>
                    <a:lnTo>
                      <a:pt x="4320" y="402"/>
                    </a:lnTo>
                    <a:lnTo>
                      <a:pt x="4332" y="402"/>
                    </a:lnTo>
                    <a:lnTo>
                      <a:pt x="4344" y="396"/>
                    </a:lnTo>
                    <a:lnTo>
                      <a:pt x="4350" y="390"/>
                    </a:lnTo>
                    <a:lnTo>
                      <a:pt x="4356" y="378"/>
                    </a:lnTo>
                    <a:lnTo>
                      <a:pt x="4350" y="366"/>
                    </a:lnTo>
                    <a:lnTo>
                      <a:pt x="4344" y="360"/>
                    </a:lnTo>
                    <a:lnTo>
                      <a:pt x="4332" y="354"/>
                    </a:lnTo>
                    <a:lnTo>
                      <a:pt x="4326" y="348"/>
                    </a:lnTo>
                    <a:lnTo>
                      <a:pt x="4290" y="348"/>
                    </a:lnTo>
                    <a:lnTo>
                      <a:pt x="4320" y="336"/>
                    </a:lnTo>
                    <a:lnTo>
                      <a:pt x="4314" y="330"/>
                    </a:lnTo>
                    <a:lnTo>
                      <a:pt x="4302" y="324"/>
                    </a:lnTo>
                    <a:lnTo>
                      <a:pt x="4290" y="312"/>
                    </a:lnTo>
                    <a:lnTo>
                      <a:pt x="4284" y="312"/>
                    </a:lnTo>
                    <a:lnTo>
                      <a:pt x="4278" y="318"/>
                    </a:lnTo>
                    <a:lnTo>
                      <a:pt x="4254" y="318"/>
                    </a:lnTo>
                    <a:lnTo>
                      <a:pt x="4248" y="312"/>
                    </a:lnTo>
                    <a:lnTo>
                      <a:pt x="4242" y="300"/>
                    </a:lnTo>
                    <a:lnTo>
                      <a:pt x="4236" y="294"/>
                    </a:lnTo>
                    <a:lnTo>
                      <a:pt x="4194" y="294"/>
                    </a:lnTo>
                    <a:lnTo>
                      <a:pt x="4188" y="300"/>
                    </a:lnTo>
                    <a:lnTo>
                      <a:pt x="4182" y="300"/>
                    </a:lnTo>
                    <a:lnTo>
                      <a:pt x="4128" y="288"/>
                    </a:lnTo>
                    <a:lnTo>
                      <a:pt x="3990" y="282"/>
                    </a:lnTo>
                    <a:lnTo>
                      <a:pt x="3990" y="300"/>
                    </a:lnTo>
                    <a:lnTo>
                      <a:pt x="3924" y="300"/>
                    </a:lnTo>
                    <a:lnTo>
                      <a:pt x="3942" y="282"/>
                    </a:lnTo>
                    <a:lnTo>
                      <a:pt x="3942" y="276"/>
                    </a:lnTo>
                    <a:lnTo>
                      <a:pt x="3936" y="270"/>
                    </a:lnTo>
                    <a:lnTo>
                      <a:pt x="3912" y="264"/>
                    </a:lnTo>
                    <a:lnTo>
                      <a:pt x="3882" y="264"/>
                    </a:lnTo>
                    <a:lnTo>
                      <a:pt x="3852" y="270"/>
                    </a:lnTo>
                    <a:lnTo>
                      <a:pt x="3840" y="270"/>
                    </a:lnTo>
                    <a:lnTo>
                      <a:pt x="3780" y="264"/>
                    </a:lnTo>
                    <a:lnTo>
                      <a:pt x="3792" y="264"/>
                    </a:lnTo>
                    <a:lnTo>
                      <a:pt x="3810" y="258"/>
                    </a:lnTo>
                    <a:lnTo>
                      <a:pt x="3822" y="258"/>
                    </a:lnTo>
                    <a:lnTo>
                      <a:pt x="3834" y="252"/>
                    </a:lnTo>
                    <a:lnTo>
                      <a:pt x="3840" y="252"/>
                    </a:lnTo>
                    <a:lnTo>
                      <a:pt x="3840" y="246"/>
                    </a:lnTo>
                    <a:lnTo>
                      <a:pt x="3834" y="240"/>
                    </a:lnTo>
                    <a:lnTo>
                      <a:pt x="3822" y="240"/>
                    </a:lnTo>
                    <a:lnTo>
                      <a:pt x="3804" y="234"/>
                    </a:lnTo>
                    <a:lnTo>
                      <a:pt x="3762" y="234"/>
                    </a:lnTo>
                    <a:lnTo>
                      <a:pt x="3720" y="228"/>
                    </a:lnTo>
                    <a:lnTo>
                      <a:pt x="3714" y="240"/>
                    </a:lnTo>
                    <a:lnTo>
                      <a:pt x="3684" y="240"/>
                    </a:lnTo>
                    <a:lnTo>
                      <a:pt x="3672" y="246"/>
                    </a:lnTo>
                    <a:lnTo>
                      <a:pt x="3660" y="246"/>
                    </a:lnTo>
                    <a:lnTo>
                      <a:pt x="3648" y="252"/>
                    </a:lnTo>
                    <a:lnTo>
                      <a:pt x="3648" y="258"/>
                    </a:lnTo>
                    <a:lnTo>
                      <a:pt x="3654" y="270"/>
                    </a:lnTo>
                    <a:lnTo>
                      <a:pt x="3678" y="282"/>
                    </a:lnTo>
                    <a:lnTo>
                      <a:pt x="3696" y="294"/>
                    </a:lnTo>
                    <a:lnTo>
                      <a:pt x="3708" y="294"/>
                    </a:lnTo>
                    <a:lnTo>
                      <a:pt x="3714" y="300"/>
                    </a:lnTo>
                    <a:lnTo>
                      <a:pt x="3720" y="300"/>
                    </a:lnTo>
                    <a:lnTo>
                      <a:pt x="3576" y="294"/>
                    </a:lnTo>
                    <a:lnTo>
                      <a:pt x="3630" y="312"/>
                    </a:lnTo>
                    <a:lnTo>
                      <a:pt x="3576" y="324"/>
                    </a:lnTo>
                    <a:lnTo>
                      <a:pt x="3564" y="330"/>
                    </a:lnTo>
                    <a:lnTo>
                      <a:pt x="3534" y="336"/>
                    </a:lnTo>
                    <a:lnTo>
                      <a:pt x="3498" y="342"/>
                    </a:lnTo>
                    <a:lnTo>
                      <a:pt x="3474" y="342"/>
                    </a:lnTo>
                    <a:lnTo>
                      <a:pt x="3468" y="336"/>
                    </a:lnTo>
                    <a:lnTo>
                      <a:pt x="3474" y="324"/>
                    </a:lnTo>
                    <a:lnTo>
                      <a:pt x="3486" y="312"/>
                    </a:lnTo>
                    <a:lnTo>
                      <a:pt x="3420" y="312"/>
                    </a:lnTo>
                    <a:lnTo>
                      <a:pt x="3408" y="318"/>
                    </a:lnTo>
                    <a:lnTo>
                      <a:pt x="3390" y="318"/>
                    </a:lnTo>
                    <a:lnTo>
                      <a:pt x="3378" y="324"/>
                    </a:lnTo>
                    <a:lnTo>
                      <a:pt x="3366" y="336"/>
                    </a:lnTo>
                    <a:lnTo>
                      <a:pt x="3348" y="336"/>
                    </a:lnTo>
                    <a:lnTo>
                      <a:pt x="3318" y="342"/>
                    </a:lnTo>
                    <a:lnTo>
                      <a:pt x="3276" y="342"/>
                    </a:lnTo>
                    <a:lnTo>
                      <a:pt x="3246" y="348"/>
                    </a:lnTo>
                    <a:lnTo>
                      <a:pt x="3234" y="354"/>
                    </a:lnTo>
                    <a:lnTo>
                      <a:pt x="3216" y="354"/>
                    </a:lnTo>
                    <a:lnTo>
                      <a:pt x="3204" y="360"/>
                    </a:lnTo>
                    <a:lnTo>
                      <a:pt x="3186" y="360"/>
                    </a:lnTo>
                    <a:lnTo>
                      <a:pt x="3180" y="366"/>
                    </a:lnTo>
                    <a:lnTo>
                      <a:pt x="3174" y="366"/>
                    </a:lnTo>
                    <a:lnTo>
                      <a:pt x="3132" y="396"/>
                    </a:lnTo>
                    <a:lnTo>
                      <a:pt x="3114" y="396"/>
                    </a:lnTo>
                    <a:lnTo>
                      <a:pt x="3108" y="402"/>
                    </a:lnTo>
                    <a:lnTo>
                      <a:pt x="3102" y="402"/>
                    </a:lnTo>
                    <a:lnTo>
                      <a:pt x="3096" y="408"/>
                    </a:lnTo>
                    <a:lnTo>
                      <a:pt x="3102" y="414"/>
                    </a:lnTo>
                    <a:lnTo>
                      <a:pt x="3120" y="426"/>
                    </a:lnTo>
                    <a:lnTo>
                      <a:pt x="3132" y="438"/>
                    </a:lnTo>
                    <a:lnTo>
                      <a:pt x="3150" y="444"/>
                    </a:lnTo>
                    <a:lnTo>
                      <a:pt x="3156" y="450"/>
                    </a:lnTo>
                    <a:lnTo>
                      <a:pt x="3162" y="450"/>
                    </a:lnTo>
                    <a:lnTo>
                      <a:pt x="3120" y="462"/>
                    </a:lnTo>
                    <a:lnTo>
                      <a:pt x="3096" y="474"/>
                    </a:lnTo>
                    <a:lnTo>
                      <a:pt x="2994" y="474"/>
                    </a:lnTo>
                    <a:lnTo>
                      <a:pt x="2988" y="480"/>
                    </a:lnTo>
                    <a:lnTo>
                      <a:pt x="2952" y="468"/>
                    </a:lnTo>
                    <a:lnTo>
                      <a:pt x="2934" y="474"/>
                    </a:lnTo>
                    <a:lnTo>
                      <a:pt x="2880" y="474"/>
                    </a:lnTo>
                    <a:lnTo>
                      <a:pt x="2874" y="480"/>
                    </a:lnTo>
                    <a:lnTo>
                      <a:pt x="2874" y="498"/>
                    </a:lnTo>
                    <a:lnTo>
                      <a:pt x="2880" y="510"/>
                    </a:lnTo>
                    <a:lnTo>
                      <a:pt x="2892" y="522"/>
                    </a:lnTo>
                    <a:lnTo>
                      <a:pt x="2898" y="522"/>
                    </a:lnTo>
                    <a:lnTo>
                      <a:pt x="2904" y="528"/>
                    </a:lnTo>
                    <a:lnTo>
                      <a:pt x="2910" y="540"/>
                    </a:lnTo>
                    <a:lnTo>
                      <a:pt x="2916" y="546"/>
                    </a:lnTo>
                    <a:lnTo>
                      <a:pt x="2922" y="546"/>
                    </a:lnTo>
                    <a:lnTo>
                      <a:pt x="2928" y="552"/>
                    </a:lnTo>
                    <a:lnTo>
                      <a:pt x="2940" y="552"/>
                    </a:lnTo>
                    <a:lnTo>
                      <a:pt x="2952" y="558"/>
                    </a:lnTo>
                    <a:lnTo>
                      <a:pt x="2964" y="558"/>
                    </a:lnTo>
                    <a:lnTo>
                      <a:pt x="2976" y="564"/>
                    </a:lnTo>
                    <a:lnTo>
                      <a:pt x="2994" y="564"/>
                    </a:lnTo>
                    <a:lnTo>
                      <a:pt x="3012" y="570"/>
                    </a:lnTo>
                    <a:lnTo>
                      <a:pt x="3024" y="570"/>
                    </a:lnTo>
                    <a:lnTo>
                      <a:pt x="3036" y="576"/>
                    </a:lnTo>
                    <a:lnTo>
                      <a:pt x="3042" y="576"/>
                    </a:lnTo>
                    <a:lnTo>
                      <a:pt x="3054" y="588"/>
                    </a:lnTo>
                    <a:lnTo>
                      <a:pt x="3054" y="594"/>
                    </a:lnTo>
                    <a:lnTo>
                      <a:pt x="3060" y="600"/>
                    </a:lnTo>
                    <a:lnTo>
                      <a:pt x="3030" y="600"/>
                    </a:lnTo>
                    <a:lnTo>
                      <a:pt x="3012" y="606"/>
                    </a:lnTo>
                    <a:lnTo>
                      <a:pt x="3000" y="606"/>
                    </a:lnTo>
                    <a:lnTo>
                      <a:pt x="2964" y="588"/>
                    </a:lnTo>
                    <a:lnTo>
                      <a:pt x="2928" y="576"/>
                    </a:lnTo>
                    <a:lnTo>
                      <a:pt x="2904" y="570"/>
                    </a:lnTo>
                    <a:lnTo>
                      <a:pt x="2886" y="564"/>
                    </a:lnTo>
                    <a:lnTo>
                      <a:pt x="2862" y="564"/>
                    </a:lnTo>
                    <a:lnTo>
                      <a:pt x="2844" y="558"/>
                    </a:lnTo>
                    <a:lnTo>
                      <a:pt x="2802" y="558"/>
                    </a:lnTo>
                    <a:lnTo>
                      <a:pt x="2796" y="564"/>
                    </a:lnTo>
                    <a:lnTo>
                      <a:pt x="2796" y="576"/>
                    </a:lnTo>
                    <a:lnTo>
                      <a:pt x="2802" y="582"/>
                    </a:lnTo>
                    <a:lnTo>
                      <a:pt x="2808" y="582"/>
                    </a:lnTo>
                    <a:lnTo>
                      <a:pt x="2820" y="594"/>
                    </a:lnTo>
                    <a:lnTo>
                      <a:pt x="2784" y="594"/>
                    </a:lnTo>
                    <a:lnTo>
                      <a:pt x="2772" y="582"/>
                    </a:lnTo>
                    <a:lnTo>
                      <a:pt x="2754" y="582"/>
                    </a:lnTo>
                    <a:lnTo>
                      <a:pt x="2748" y="576"/>
                    </a:lnTo>
                    <a:lnTo>
                      <a:pt x="2724" y="576"/>
                    </a:lnTo>
                    <a:lnTo>
                      <a:pt x="2724" y="582"/>
                    </a:lnTo>
                    <a:lnTo>
                      <a:pt x="2730" y="600"/>
                    </a:lnTo>
                    <a:lnTo>
                      <a:pt x="2736" y="612"/>
                    </a:lnTo>
                    <a:lnTo>
                      <a:pt x="2748" y="618"/>
                    </a:lnTo>
                    <a:lnTo>
                      <a:pt x="2766" y="624"/>
                    </a:lnTo>
                    <a:lnTo>
                      <a:pt x="2802" y="624"/>
                    </a:lnTo>
                    <a:lnTo>
                      <a:pt x="2820" y="630"/>
                    </a:lnTo>
                    <a:lnTo>
                      <a:pt x="2844" y="630"/>
                    </a:lnTo>
                    <a:lnTo>
                      <a:pt x="2856" y="636"/>
                    </a:lnTo>
                    <a:lnTo>
                      <a:pt x="2862" y="648"/>
                    </a:lnTo>
                    <a:lnTo>
                      <a:pt x="2874" y="654"/>
                    </a:lnTo>
                    <a:lnTo>
                      <a:pt x="2844" y="654"/>
                    </a:lnTo>
                    <a:lnTo>
                      <a:pt x="2838" y="648"/>
                    </a:lnTo>
                    <a:lnTo>
                      <a:pt x="2826" y="642"/>
                    </a:lnTo>
                    <a:lnTo>
                      <a:pt x="2772" y="642"/>
                    </a:lnTo>
                    <a:lnTo>
                      <a:pt x="2760" y="636"/>
                    </a:lnTo>
                    <a:lnTo>
                      <a:pt x="2730" y="636"/>
                    </a:lnTo>
                    <a:lnTo>
                      <a:pt x="2724" y="624"/>
                    </a:lnTo>
                    <a:lnTo>
                      <a:pt x="2700" y="624"/>
                    </a:lnTo>
                    <a:lnTo>
                      <a:pt x="2694" y="606"/>
                    </a:lnTo>
                    <a:lnTo>
                      <a:pt x="2664" y="594"/>
                    </a:lnTo>
                    <a:lnTo>
                      <a:pt x="2670" y="588"/>
                    </a:lnTo>
                    <a:lnTo>
                      <a:pt x="2682" y="582"/>
                    </a:lnTo>
                    <a:lnTo>
                      <a:pt x="2688" y="576"/>
                    </a:lnTo>
                    <a:lnTo>
                      <a:pt x="2688" y="564"/>
                    </a:lnTo>
                    <a:lnTo>
                      <a:pt x="2658" y="534"/>
                    </a:lnTo>
                    <a:lnTo>
                      <a:pt x="2646" y="528"/>
                    </a:lnTo>
                    <a:lnTo>
                      <a:pt x="2616" y="528"/>
                    </a:lnTo>
                    <a:lnTo>
                      <a:pt x="2628" y="534"/>
                    </a:lnTo>
                    <a:lnTo>
                      <a:pt x="2652" y="558"/>
                    </a:lnTo>
                    <a:lnTo>
                      <a:pt x="2640" y="570"/>
                    </a:lnTo>
                    <a:lnTo>
                      <a:pt x="2616" y="582"/>
                    </a:lnTo>
                    <a:lnTo>
                      <a:pt x="2604" y="582"/>
                    </a:lnTo>
                    <a:lnTo>
                      <a:pt x="2586" y="624"/>
                    </a:lnTo>
                    <a:lnTo>
                      <a:pt x="2658" y="660"/>
                    </a:lnTo>
                    <a:lnTo>
                      <a:pt x="2676" y="660"/>
                    </a:lnTo>
                    <a:lnTo>
                      <a:pt x="2676" y="696"/>
                    </a:lnTo>
                    <a:lnTo>
                      <a:pt x="2670" y="708"/>
                    </a:lnTo>
                    <a:lnTo>
                      <a:pt x="2670" y="720"/>
                    </a:lnTo>
                    <a:lnTo>
                      <a:pt x="2676" y="738"/>
                    </a:lnTo>
                    <a:lnTo>
                      <a:pt x="2712" y="744"/>
                    </a:lnTo>
                    <a:lnTo>
                      <a:pt x="2712" y="768"/>
                    </a:lnTo>
                    <a:lnTo>
                      <a:pt x="2772" y="780"/>
                    </a:lnTo>
                    <a:lnTo>
                      <a:pt x="2778" y="780"/>
                    </a:lnTo>
                    <a:lnTo>
                      <a:pt x="2784" y="774"/>
                    </a:lnTo>
                    <a:lnTo>
                      <a:pt x="2796" y="774"/>
                    </a:lnTo>
                    <a:lnTo>
                      <a:pt x="2814" y="768"/>
                    </a:lnTo>
                    <a:lnTo>
                      <a:pt x="2850" y="768"/>
                    </a:lnTo>
                    <a:lnTo>
                      <a:pt x="2868" y="774"/>
                    </a:lnTo>
                    <a:lnTo>
                      <a:pt x="2874" y="780"/>
                    </a:lnTo>
                    <a:lnTo>
                      <a:pt x="2886" y="786"/>
                    </a:lnTo>
                    <a:lnTo>
                      <a:pt x="2904" y="786"/>
                    </a:lnTo>
                    <a:lnTo>
                      <a:pt x="2916" y="792"/>
                    </a:lnTo>
                    <a:lnTo>
                      <a:pt x="2952" y="804"/>
                    </a:lnTo>
                    <a:lnTo>
                      <a:pt x="2976" y="828"/>
                    </a:lnTo>
                    <a:lnTo>
                      <a:pt x="2976" y="834"/>
                    </a:lnTo>
                    <a:lnTo>
                      <a:pt x="2964" y="834"/>
                    </a:lnTo>
                    <a:lnTo>
                      <a:pt x="2958" y="840"/>
                    </a:lnTo>
                    <a:lnTo>
                      <a:pt x="2946" y="840"/>
                    </a:lnTo>
                    <a:lnTo>
                      <a:pt x="2940" y="846"/>
                    </a:lnTo>
                    <a:lnTo>
                      <a:pt x="2946" y="852"/>
                    </a:lnTo>
                    <a:lnTo>
                      <a:pt x="2958" y="858"/>
                    </a:lnTo>
                    <a:lnTo>
                      <a:pt x="2976" y="876"/>
                    </a:lnTo>
                    <a:lnTo>
                      <a:pt x="3024" y="876"/>
                    </a:lnTo>
                    <a:lnTo>
                      <a:pt x="3012" y="882"/>
                    </a:lnTo>
                    <a:lnTo>
                      <a:pt x="3006" y="882"/>
                    </a:lnTo>
                    <a:lnTo>
                      <a:pt x="2994" y="888"/>
                    </a:lnTo>
                    <a:lnTo>
                      <a:pt x="2970" y="888"/>
                    </a:lnTo>
                    <a:lnTo>
                      <a:pt x="2958" y="882"/>
                    </a:lnTo>
                    <a:lnTo>
                      <a:pt x="2952" y="876"/>
                    </a:lnTo>
                    <a:lnTo>
                      <a:pt x="2940" y="870"/>
                    </a:lnTo>
                    <a:lnTo>
                      <a:pt x="2940" y="858"/>
                    </a:lnTo>
                    <a:lnTo>
                      <a:pt x="2928" y="834"/>
                    </a:lnTo>
                    <a:lnTo>
                      <a:pt x="2916" y="822"/>
                    </a:lnTo>
                    <a:lnTo>
                      <a:pt x="2892" y="810"/>
                    </a:lnTo>
                    <a:lnTo>
                      <a:pt x="2886" y="804"/>
                    </a:lnTo>
                    <a:lnTo>
                      <a:pt x="2880" y="804"/>
                    </a:lnTo>
                    <a:lnTo>
                      <a:pt x="2874" y="798"/>
                    </a:lnTo>
                    <a:lnTo>
                      <a:pt x="2874" y="786"/>
                    </a:lnTo>
                    <a:lnTo>
                      <a:pt x="2868" y="780"/>
                    </a:lnTo>
                    <a:lnTo>
                      <a:pt x="2844" y="780"/>
                    </a:lnTo>
                    <a:lnTo>
                      <a:pt x="2832" y="786"/>
                    </a:lnTo>
                    <a:lnTo>
                      <a:pt x="2814" y="786"/>
                    </a:lnTo>
                    <a:lnTo>
                      <a:pt x="2802" y="792"/>
                    </a:lnTo>
                    <a:lnTo>
                      <a:pt x="2778" y="792"/>
                    </a:lnTo>
                    <a:lnTo>
                      <a:pt x="2760" y="810"/>
                    </a:lnTo>
                    <a:lnTo>
                      <a:pt x="2766" y="816"/>
                    </a:lnTo>
                    <a:lnTo>
                      <a:pt x="2772" y="828"/>
                    </a:lnTo>
                    <a:lnTo>
                      <a:pt x="2784" y="834"/>
                    </a:lnTo>
                    <a:lnTo>
                      <a:pt x="2802" y="852"/>
                    </a:lnTo>
                    <a:lnTo>
                      <a:pt x="2814" y="858"/>
                    </a:lnTo>
                    <a:lnTo>
                      <a:pt x="2814" y="864"/>
                    </a:lnTo>
                    <a:lnTo>
                      <a:pt x="2790" y="888"/>
                    </a:lnTo>
                    <a:lnTo>
                      <a:pt x="2784" y="888"/>
                    </a:lnTo>
                    <a:lnTo>
                      <a:pt x="2778" y="930"/>
                    </a:lnTo>
                    <a:lnTo>
                      <a:pt x="2736" y="948"/>
                    </a:lnTo>
                    <a:lnTo>
                      <a:pt x="2736" y="954"/>
                    </a:lnTo>
                    <a:lnTo>
                      <a:pt x="2730" y="966"/>
                    </a:lnTo>
                    <a:lnTo>
                      <a:pt x="2724" y="972"/>
                    </a:lnTo>
                    <a:lnTo>
                      <a:pt x="2694" y="972"/>
                    </a:lnTo>
                    <a:lnTo>
                      <a:pt x="2682" y="966"/>
                    </a:lnTo>
                    <a:lnTo>
                      <a:pt x="2652" y="966"/>
                    </a:lnTo>
                    <a:lnTo>
                      <a:pt x="2592" y="960"/>
                    </a:lnTo>
                    <a:lnTo>
                      <a:pt x="2586" y="960"/>
                    </a:lnTo>
                    <a:lnTo>
                      <a:pt x="2580" y="954"/>
                    </a:lnTo>
                    <a:lnTo>
                      <a:pt x="2568" y="948"/>
                    </a:lnTo>
                    <a:lnTo>
                      <a:pt x="2556" y="948"/>
                    </a:lnTo>
                    <a:lnTo>
                      <a:pt x="2544" y="936"/>
                    </a:lnTo>
                    <a:lnTo>
                      <a:pt x="2598" y="936"/>
                    </a:lnTo>
                    <a:lnTo>
                      <a:pt x="2616" y="942"/>
                    </a:lnTo>
                    <a:lnTo>
                      <a:pt x="2640" y="924"/>
                    </a:lnTo>
                    <a:lnTo>
                      <a:pt x="2652" y="924"/>
                    </a:lnTo>
                    <a:lnTo>
                      <a:pt x="2664" y="930"/>
                    </a:lnTo>
                    <a:lnTo>
                      <a:pt x="2682" y="930"/>
                    </a:lnTo>
                    <a:lnTo>
                      <a:pt x="2694" y="924"/>
                    </a:lnTo>
                    <a:lnTo>
                      <a:pt x="2694" y="906"/>
                    </a:lnTo>
                    <a:lnTo>
                      <a:pt x="2700" y="894"/>
                    </a:lnTo>
                    <a:lnTo>
                      <a:pt x="2700" y="882"/>
                    </a:lnTo>
                    <a:lnTo>
                      <a:pt x="2724" y="876"/>
                    </a:lnTo>
                    <a:lnTo>
                      <a:pt x="2724" y="852"/>
                    </a:lnTo>
                    <a:lnTo>
                      <a:pt x="2712" y="852"/>
                    </a:lnTo>
                    <a:lnTo>
                      <a:pt x="2718" y="846"/>
                    </a:lnTo>
                    <a:lnTo>
                      <a:pt x="2724" y="834"/>
                    </a:lnTo>
                    <a:lnTo>
                      <a:pt x="2724" y="822"/>
                    </a:lnTo>
                    <a:lnTo>
                      <a:pt x="2718" y="816"/>
                    </a:lnTo>
                    <a:lnTo>
                      <a:pt x="2712" y="816"/>
                    </a:lnTo>
                    <a:lnTo>
                      <a:pt x="2700" y="810"/>
                    </a:lnTo>
                    <a:lnTo>
                      <a:pt x="2682" y="810"/>
                    </a:lnTo>
                    <a:lnTo>
                      <a:pt x="2664" y="804"/>
                    </a:lnTo>
                    <a:lnTo>
                      <a:pt x="2652" y="804"/>
                    </a:lnTo>
                    <a:lnTo>
                      <a:pt x="2634" y="786"/>
                    </a:lnTo>
                    <a:lnTo>
                      <a:pt x="2634" y="744"/>
                    </a:lnTo>
                    <a:lnTo>
                      <a:pt x="2628" y="732"/>
                    </a:lnTo>
                    <a:lnTo>
                      <a:pt x="2616" y="720"/>
                    </a:lnTo>
                    <a:lnTo>
                      <a:pt x="2604" y="714"/>
                    </a:lnTo>
                    <a:lnTo>
                      <a:pt x="2598" y="702"/>
                    </a:lnTo>
                    <a:lnTo>
                      <a:pt x="2592" y="696"/>
                    </a:lnTo>
                    <a:lnTo>
                      <a:pt x="2586" y="660"/>
                    </a:lnTo>
                    <a:lnTo>
                      <a:pt x="2520" y="624"/>
                    </a:lnTo>
                    <a:lnTo>
                      <a:pt x="2532" y="612"/>
                    </a:lnTo>
                    <a:lnTo>
                      <a:pt x="2544" y="588"/>
                    </a:lnTo>
                    <a:lnTo>
                      <a:pt x="2544" y="576"/>
                    </a:lnTo>
                    <a:lnTo>
                      <a:pt x="2538" y="564"/>
                    </a:lnTo>
                    <a:lnTo>
                      <a:pt x="2514" y="540"/>
                    </a:lnTo>
                    <a:lnTo>
                      <a:pt x="2496" y="540"/>
                    </a:lnTo>
                    <a:lnTo>
                      <a:pt x="2484" y="534"/>
                    </a:lnTo>
                    <a:lnTo>
                      <a:pt x="2472" y="534"/>
                    </a:lnTo>
                    <a:lnTo>
                      <a:pt x="2340" y="522"/>
                    </a:lnTo>
                    <a:lnTo>
                      <a:pt x="2328" y="552"/>
                    </a:lnTo>
                    <a:lnTo>
                      <a:pt x="2346" y="570"/>
                    </a:lnTo>
                    <a:lnTo>
                      <a:pt x="2334" y="600"/>
                    </a:lnTo>
                    <a:lnTo>
                      <a:pt x="2280" y="624"/>
                    </a:lnTo>
                    <a:lnTo>
                      <a:pt x="2268" y="654"/>
                    </a:lnTo>
                    <a:lnTo>
                      <a:pt x="2304" y="660"/>
                    </a:lnTo>
                    <a:lnTo>
                      <a:pt x="2334" y="708"/>
                    </a:lnTo>
                    <a:lnTo>
                      <a:pt x="2322" y="726"/>
                    </a:lnTo>
                    <a:lnTo>
                      <a:pt x="2352" y="750"/>
                    </a:lnTo>
                    <a:lnTo>
                      <a:pt x="2388" y="744"/>
                    </a:lnTo>
                    <a:lnTo>
                      <a:pt x="2394" y="750"/>
                    </a:lnTo>
                    <a:lnTo>
                      <a:pt x="2400" y="762"/>
                    </a:lnTo>
                    <a:lnTo>
                      <a:pt x="2412" y="768"/>
                    </a:lnTo>
                    <a:lnTo>
                      <a:pt x="2418" y="774"/>
                    </a:lnTo>
                    <a:lnTo>
                      <a:pt x="2430" y="780"/>
                    </a:lnTo>
                    <a:lnTo>
                      <a:pt x="2472" y="780"/>
                    </a:lnTo>
                    <a:lnTo>
                      <a:pt x="2466" y="840"/>
                    </a:lnTo>
                    <a:lnTo>
                      <a:pt x="2448" y="816"/>
                    </a:lnTo>
                    <a:lnTo>
                      <a:pt x="2430" y="828"/>
                    </a:lnTo>
                    <a:lnTo>
                      <a:pt x="2418" y="822"/>
                    </a:lnTo>
                    <a:lnTo>
                      <a:pt x="2388" y="804"/>
                    </a:lnTo>
                    <a:lnTo>
                      <a:pt x="2352" y="792"/>
                    </a:lnTo>
                    <a:lnTo>
                      <a:pt x="2328" y="780"/>
                    </a:lnTo>
                    <a:lnTo>
                      <a:pt x="2268" y="780"/>
                    </a:lnTo>
                    <a:lnTo>
                      <a:pt x="2250" y="762"/>
                    </a:lnTo>
                    <a:lnTo>
                      <a:pt x="2244" y="780"/>
                    </a:lnTo>
                    <a:lnTo>
                      <a:pt x="2220" y="756"/>
                    </a:lnTo>
                    <a:lnTo>
                      <a:pt x="2214" y="756"/>
                    </a:lnTo>
                    <a:lnTo>
                      <a:pt x="2208" y="750"/>
                    </a:lnTo>
                    <a:lnTo>
                      <a:pt x="2196" y="744"/>
                    </a:lnTo>
                    <a:lnTo>
                      <a:pt x="2178" y="744"/>
                    </a:lnTo>
                    <a:lnTo>
                      <a:pt x="2154" y="732"/>
                    </a:lnTo>
                    <a:lnTo>
                      <a:pt x="2130" y="732"/>
                    </a:lnTo>
                    <a:lnTo>
                      <a:pt x="2118" y="738"/>
                    </a:lnTo>
                    <a:lnTo>
                      <a:pt x="2088" y="738"/>
                    </a:lnTo>
                    <a:lnTo>
                      <a:pt x="2076" y="732"/>
                    </a:lnTo>
                    <a:lnTo>
                      <a:pt x="2022" y="732"/>
                    </a:lnTo>
                    <a:lnTo>
                      <a:pt x="2016" y="738"/>
                    </a:lnTo>
                    <a:lnTo>
                      <a:pt x="2010" y="738"/>
                    </a:lnTo>
                    <a:lnTo>
                      <a:pt x="2004" y="744"/>
                    </a:lnTo>
                    <a:lnTo>
                      <a:pt x="2004" y="750"/>
                    </a:lnTo>
                    <a:lnTo>
                      <a:pt x="2016" y="762"/>
                    </a:lnTo>
                    <a:lnTo>
                      <a:pt x="2028" y="768"/>
                    </a:lnTo>
                    <a:lnTo>
                      <a:pt x="2040" y="780"/>
                    </a:lnTo>
                    <a:lnTo>
                      <a:pt x="2046" y="780"/>
                    </a:lnTo>
                    <a:lnTo>
                      <a:pt x="2022" y="810"/>
                    </a:lnTo>
                    <a:lnTo>
                      <a:pt x="2010" y="798"/>
                    </a:lnTo>
                    <a:lnTo>
                      <a:pt x="2010" y="828"/>
                    </a:lnTo>
                    <a:lnTo>
                      <a:pt x="1998" y="828"/>
                    </a:lnTo>
                    <a:lnTo>
                      <a:pt x="1986" y="822"/>
                    </a:lnTo>
                    <a:lnTo>
                      <a:pt x="1980" y="822"/>
                    </a:lnTo>
                    <a:lnTo>
                      <a:pt x="1974" y="816"/>
                    </a:lnTo>
                    <a:lnTo>
                      <a:pt x="1974" y="786"/>
                    </a:lnTo>
                    <a:lnTo>
                      <a:pt x="1968" y="780"/>
                    </a:lnTo>
                    <a:lnTo>
                      <a:pt x="1950" y="780"/>
                    </a:lnTo>
                    <a:lnTo>
                      <a:pt x="1938" y="786"/>
                    </a:lnTo>
                    <a:lnTo>
                      <a:pt x="1920" y="792"/>
                    </a:lnTo>
                    <a:lnTo>
                      <a:pt x="1908" y="804"/>
                    </a:lnTo>
                    <a:lnTo>
                      <a:pt x="1884" y="816"/>
                    </a:lnTo>
                    <a:lnTo>
                      <a:pt x="1866" y="816"/>
                    </a:lnTo>
                    <a:lnTo>
                      <a:pt x="1842" y="804"/>
                    </a:lnTo>
                    <a:lnTo>
                      <a:pt x="1824" y="804"/>
                    </a:lnTo>
                    <a:lnTo>
                      <a:pt x="1800" y="810"/>
                    </a:lnTo>
                    <a:lnTo>
                      <a:pt x="1782" y="816"/>
                    </a:lnTo>
                    <a:lnTo>
                      <a:pt x="1764" y="828"/>
                    </a:lnTo>
                    <a:lnTo>
                      <a:pt x="1752" y="834"/>
                    </a:lnTo>
                    <a:lnTo>
                      <a:pt x="1746" y="840"/>
                    </a:lnTo>
                    <a:lnTo>
                      <a:pt x="1680" y="840"/>
                    </a:lnTo>
                    <a:lnTo>
                      <a:pt x="1692" y="816"/>
                    </a:lnTo>
                    <a:lnTo>
                      <a:pt x="1692" y="780"/>
                    </a:lnTo>
                    <a:lnTo>
                      <a:pt x="1680" y="780"/>
                    </a:lnTo>
                    <a:lnTo>
                      <a:pt x="1668" y="786"/>
                    </a:lnTo>
                    <a:lnTo>
                      <a:pt x="1650" y="792"/>
                    </a:lnTo>
                    <a:lnTo>
                      <a:pt x="1638" y="792"/>
                    </a:lnTo>
                    <a:lnTo>
                      <a:pt x="1626" y="804"/>
                    </a:lnTo>
                    <a:lnTo>
                      <a:pt x="1626" y="816"/>
                    </a:lnTo>
                    <a:lnTo>
                      <a:pt x="1632" y="822"/>
                    </a:lnTo>
                    <a:lnTo>
                      <a:pt x="1632" y="828"/>
                    </a:lnTo>
                    <a:lnTo>
                      <a:pt x="1608" y="834"/>
                    </a:lnTo>
                    <a:lnTo>
                      <a:pt x="1608" y="810"/>
                    </a:lnTo>
                    <a:lnTo>
                      <a:pt x="1584" y="816"/>
                    </a:lnTo>
                    <a:lnTo>
                      <a:pt x="1530" y="822"/>
                    </a:lnTo>
                    <a:lnTo>
                      <a:pt x="1488" y="852"/>
                    </a:lnTo>
                    <a:lnTo>
                      <a:pt x="1440" y="858"/>
                    </a:lnTo>
                    <a:lnTo>
                      <a:pt x="1452" y="876"/>
                    </a:lnTo>
                    <a:lnTo>
                      <a:pt x="1440" y="876"/>
                    </a:lnTo>
                    <a:lnTo>
                      <a:pt x="1428" y="870"/>
                    </a:lnTo>
                    <a:lnTo>
                      <a:pt x="1422" y="870"/>
                    </a:lnTo>
                    <a:lnTo>
                      <a:pt x="1410" y="876"/>
                    </a:lnTo>
                    <a:lnTo>
                      <a:pt x="1404" y="882"/>
                    </a:lnTo>
                    <a:lnTo>
                      <a:pt x="1404" y="924"/>
                    </a:lnTo>
                    <a:lnTo>
                      <a:pt x="1332" y="930"/>
                    </a:lnTo>
                    <a:lnTo>
                      <a:pt x="1326" y="924"/>
                    </a:lnTo>
                    <a:lnTo>
                      <a:pt x="1314" y="918"/>
                    </a:lnTo>
                    <a:lnTo>
                      <a:pt x="1308" y="912"/>
                    </a:lnTo>
                    <a:lnTo>
                      <a:pt x="1266" y="912"/>
                    </a:lnTo>
                    <a:lnTo>
                      <a:pt x="1260" y="906"/>
                    </a:lnTo>
                    <a:lnTo>
                      <a:pt x="1260" y="876"/>
                    </a:lnTo>
                    <a:lnTo>
                      <a:pt x="1266" y="870"/>
                    </a:lnTo>
                    <a:lnTo>
                      <a:pt x="1266" y="864"/>
                    </a:lnTo>
                    <a:lnTo>
                      <a:pt x="1272" y="858"/>
                    </a:lnTo>
                    <a:lnTo>
                      <a:pt x="1284" y="864"/>
                    </a:lnTo>
                    <a:lnTo>
                      <a:pt x="1344" y="864"/>
                    </a:lnTo>
                    <a:lnTo>
                      <a:pt x="1332" y="858"/>
                    </a:lnTo>
                    <a:lnTo>
                      <a:pt x="1326" y="846"/>
                    </a:lnTo>
                    <a:lnTo>
                      <a:pt x="1314" y="840"/>
                    </a:lnTo>
                    <a:lnTo>
                      <a:pt x="1302" y="828"/>
                    </a:lnTo>
                    <a:lnTo>
                      <a:pt x="1290" y="822"/>
                    </a:lnTo>
                    <a:lnTo>
                      <a:pt x="1278" y="810"/>
                    </a:lnTo>
                    <a:lnTo>
                      <a:pt x="1152" y="810"/>
                    </a:lnTo>
                    <a:lnTo>
                      <a:pt x="1164" y="822"/>
                    </a:lnTo>
                    <a:lnTo>
                      <a:pt x="1188" y="822"/>
                    </a:lnTo>
                    <a:lnTo>
                      <a:pt x="1200" y="828"/>
                    </a:lnTo>
                    <a:lnTo>
                      <a:pt x="1200" y="846"/>
                    </a:lnTo>
                    <a:lnTo>
                      <a:pt x="1194" y="864"/>
                    </a:lnTo>
                    <a:lnTo>
                      <a:pt x="1194" y="876"/>
                    </a:lnTo>
                    <a:lnTo>
                      <a:pt x="1188" y="894"/>
                    </a:lnTo>
                    <a:lnTo>
                      <a:pt x="1188" y="918"/>
                    </a:lnTo>
                    <a:lnTo>
                      <a:pt x="1194" y="918"/>
                    </a:lnTo>
                    <a:lnTo>
                      <a:pt x="1206" y="924"/>
                    </a:lnTo>
                    <a:lnTo>
                      <a:pt x="1230" y="924"/>
                    </a:lnTo>
                    <a:lnTo>
                      <a:pt x="1236" y="930"/>
                    </a:lnTo>
                    <a:lnTo>
                      <a:pt x="1242" y="930"/>
                    </a:lnTo>
                    <a:lnTo>
                      <a:pt x="1236" y="966"/>
                    </a:lnTo>
                    <a:lnTo>
                      <a:pt x="1248" y="996"/>
                    </a:lnTo>
                    <a:lnTo>
                      <a:pt x="1212" y="972"/>
                    </a:lnTo>
                    <a:lnTo>
                      <a:pt x="1194" y="996"/>
                    </a:lnTo>
                    <a:lnTo>
                      <a:pt x="1188" y="966"/>
                    </a:lnTo>
                    <a:lnTo>
                      <a:pt x="1116" y="948"/>
                    </a:lnTo>
                    <a:lnTo>
                      <a:pt x="1086" y="984"/>
                    </a:lnTo>
                    <a:lnTo>
                      <a:pt x="1062" y="984"/>
                    </a:lnTo>
                    <a:lnTo>
                      <a:pt x="1056" y="996"/>
                    </a:lnTo>
                    <a:lnTo>
                      <a:pt x="1044" y="1002"/>
                    </a:lnTo>
                    <a:lnTo>
                      <a:pt x="1038" y="1008"/>
                    </a:lnTo>
                    <a:lnTo>
                      <a:pt x="1026" y="1014"/>
                    </a:lnTo>
                    <a:lnTo>
                      <a:pt x="1014" y="1014"/>
                    </a:lnTo>
                    <a:lnTo>
                      <a:pt x="1002" y="1020"/>
                    </a:lnTo>
                    <a:lnTo>
                      <a:pt x="1002" y="1032"/>
                    </a:lnTo>
                    <a:lnTo>
                      <a:pt x="1008" y="1038"/>
                    </a:lnTo>
                    <a:lnTo>
                      <a:pt x="1020" y="1044"/>
                    </a:lnTo>
                    <a:lnTo>
                      <a:pt x="1032" y="1056"/>
                    </a:lnTo>
                    <a:lnTo>
                      <a:pt x="1044" y="1062"/>
                    </a:lnTo>
                    <a:lnTo>
                      <a:pt x="1050" y="1068"/>
                    </a:lnTo>
                    <a:lnTo>
                      <a:pt x="1062" y="1074"/>
                    </a:lnTo>
                    <a:lnTo>
                      <a:pt x="1080" y="1104"/>
                    </a:lnTo>
                    <a:lnTo>
                      <a:pt x="1050" y="1086"/>
                    </a:lnTo>
                    <a:lnTo>
                      <a:pt x="1038" y="1092"/>
                    </a:lnTo>
                    <a:lnTo>
                      <a:pt x="1032" y="1098"/>
                    </a:lnTo>
                    <a:lnTo>
                      <a:pt x="1020" y="1098"/>
                    </a:lnTo>
                    <a:lnTo>
                      <a:pt x="1008" y="1092"/>
                    </a:lnTo>
                    <a:lnTo>
                      <a:pt x="996" y="1092"/>
                    </a:lnTo>
                    <a:lnTo>
                      <a:pt x="978" y="1086"/>
                    </a:lnTo>
                    <a:lnTo>
                      <a:pt x="966" y="1080"/>
                    </a:lnTo>
                    <a:lnTo>
                      <a:pt x="948" y="1080"/>
                    </a:lnTo>
                    <a:lnTo>
                      <a:pt x="936" y="1074"/>
                    </a:lnTo>
                    <a:lnTo>
                      <a:pt x="924" y="1074"/>
                    </a:lnTo>
                    <a:lnTo>
                      <a:pt x="918" y="1068"/>
                    </a:lnTo>
                    <a:lnTo>
                      <a:pt x="918" y="1056"/>
                    </a:lnTo>
                    <a:lnTo>
                      <a:pt x="906" y="1050"/>
                    </a:lnTo>
                    <a:lnTo>
                      <a:pt x="888" y="1050"/>
                    </a:lnTo>
                    <a:lnTo>
                      <a:pt x="864" y="1062"/>
                    </a:lnTo>
                    <a:lnTo>
                      <a:pt x="858" y="1068"/>
                    </a:lnTo>
                    <a:lnTo>
                      <a:pt x="840" y="1068"/>
                    </a:lnTo>
                    <a:lnTo>
                      <a:pt x="882" y="1104"/>
                    </a:lnTo>
                    <a:lnTo>
                      <a:pt x="900" y="1104"/>
                    </a:lnTo>
                    <a:lnTo>
                      <a:pt x="912" y="1110"/>
                    </a:lnTo>
                    <a:lnTo>
                      <a:pt x="924" y="1110"/>
                    </a:lnTo>
                    <a:lnTo>
                      <a:pt x="936" y="1116"/>
                    </a:lnTo>
                    <a:lnTo>
                      <a:pt x="942" y="1116"/>
                    </a:lnTo>
                    <a:lnTo>
                      <a:pt x="942" y="1122"/>
                    </a:lnTo>
                    <a:lnTo>
                      <a:pt x="936" y="1134"/>
                    </a:lnTo>
                    <a:lnTo>
                      <a:pt x="924" y="1140"/>
                    </a:lnTo>
                    <a:lnTo>
                      <a:pt x="918" y="1146"/>
                    </a:lnTo>
                    <a:lnTo>
                      <a:pt x="852" y="1128"/>
                    </a:lnTo>
                    <a:lnTo>
                      <a:pt x="840" y="1122"/>
                    </a:lnTo>
                    <a:lnTo>
                      <a:pt x="834" y="1116"/>
                    </a:lnTo>
                    <a:lnTo>
                      <a:pt x="822" y="1110"/>
                    </a:lnTo>
                    <a:lnTo>
                      <a:pt x="762" y="1110"/>
                    </a:lnTo>
                    <a:lnTo>
                      <a:pt x="756" y="1104"/>
                    </a:lnTo>
                    <a:lnTo>
                      <a:pt x="756" y="1056"/>
                    </a:lnTo>
                    <a:lnTo>
                      <a:pt x="738" y="1044"/>
                    </a:lnTo>
                    <a:lnTo>
                      <a:pt x="750" y="1032"/>
                    </a:lnTo>
                    <a:lnTo>
                      <a:pt x="756" y="1020"/>
                    </a:lnTo>
                    <a:lnTo>
                      <a:pt x="756" y="1002"/>
                    </a:lnTo>
                    <a:lnTo>
                      <a:pt x="738" y="990"/>
                    </a:lnTo>
                    <a:lnTo>
                      <a:pt x="702" y="978"/>
                    </a:lnTo>
                    <a:lnTo>
                      <a:pt x="672" y="972"/>
                    </a:lnTo>
                    <a:lnTo>
                      <a:pt x="660" y="966"/>
                    </a:lnTo>
                    <a:lnTo>
                      <a:pt x="630" y="948"/>
                    </a:lnTo>
                    <a:lnTo>
                      <a:pt x="606" y="930"/>
                    </a:lnTo>
                    <a:lnTo>
                      <a:pt x="594" y="912"/>
                    </a:lnTo>
                    <a:lnTo>
                      <a:pt x="630" y="912"/>
                    </a:lnTo>
                    <a:lnTo>
                      <a:pt x="630" y="924"/>
                    </a:lnTo>
                    <a:lnTo>
                      <a:pt x="642" y="924"/>
                    </a:lnTo>
                    <a:lnTo>
                      <a:pt x="654" y="930"/>
                    </a:lnTo>
                    <a:lnTo>
                      <a:pt x="672" y="930"/>
                    </a:lnTo>
                    <a:lnTo>
                      <a:pt x="690" y="936"/>
                    </a:lnTo>
                    <a:lnTo>
                      <a:pt x="720" y="936"/>
                    </a:lnTo>
                    <a:lnTo>
                      <a:pt x="732" y="942"/>
                    </a:lnTo>
                    <a:lnTo>
                      <a:pt x="738" y="954"/>
                    </a:lnTo>
                    <a:lnTo>
                      <a:pt x="762" y="966"/>
                    </a:lnTo>
                    <a:lnTo>
                      <a:pt x="816" y="966"/>
                    </a:lnTo>
                    <a:lnTo>
                      <a:pt x="846" y="972"/>
                    </a:lnTo>
                    <a:lnTo>
                      <a:pt x="858" y="972"/>
                    </a:lnTo>
                    <a:lnTo>
                      <a:pt x="870" y="978"/>
                    </a:lnTo>
                    <a:lnTo>
                      <a:pt x="894" y="984"/>
                    </a:lnTo>
                    <a:lnTo>
                      <a:pt x="930" y="990"/>
                    </a:lnTo>
                    <a:lnTo>
                      <a:pt x="978" y="984"/>
                    </a:lnTo>
                    <a:lnTo>
                      <a:pt x="1026" y="972"/>
                    </a:lnTo>
                    <a:lnTo>
                      <a:pt x="1062" y="954"/>
                    </a:lnTo>
                    <a:lnTo>
                      <a:pt x="1080" y="936"/>
                    </a:lnTo>
                    <a:lnTo>
                      <a:pt x="1074" y="912"/>
                    </a:lnTo>
                    <a:lnTo>
                      <a:pt x="1032" y="870"/>
                    </a:lnTo>
                    <a:lnTo>
                      <a:pt x="1014" y="858"/>
                    </a:lnTo>
                    <a:lnTo>
                      <a:pt x="996" y="852"/>
                    </a:lnTo>
                    <a:lnTo>
                      <a:pt x="948" y="840"/>
                    </a:lnTo>
                    <a:lnTo>
                      <a:pt x="900" y="822"/>
                    </a:lnTo>
                    <a:lnTo>
                      <a:pt x="828" y="798"/>
                    </a:lnTo>
                    <a:lnTo>
                      <a:pt x="792" y="780"/>
                    </a:lnTo>
                    <a:lnTo>
                      <a:pt x="756" y="774"/>
                    </a:lnTo>
                    <a:lnTo>
                      <a:pt x="624" y="774"/>
                    </a:lnTo>
                    <a:lnTo>
                      <a:pt x="612" y="756"/>
                    </a:lnTo>
                    <a:lnTo>
                      <a:pt x="588" y="762"/>
                    </a:lnTo>
                    <a:lnTo>
                      <a:pt x="552" y="744"/>
                    </a:lnTo>
                    <a:lnTo>
                      <a:pt x="588" y="738"/>
                    </a:lnTo>
                    <a:lnTo>
                      <a:pt x="606" y="726"/>
                    </a:lnTo>
                    <a:lnTo>
                      <a:pt x="600" y="726"/>
                    </a:lnTo>
                    <a:lnTo>
                      <a:pt x="594" y="720"/>
                    </a:lnTo>
                    <a:lnTo>
                      <a:pt x="582" y="720"/>
                    </a:lnTo>
                    <a:lnTo>
                      <a:pt x="564" y="714"/>
                    </a:lnTo>
                    <a:lnTo>
                      <a:pt x="546" y="714"/>
                    </a:lnTo>
                    <a:lnTo>
                      <a:pt x="534" y="708"/>
                    </a:lnTo>
                    <a:lnTo>
                      <a:pt x="522" y="720"/>
                    </a:lnTo>
                    <a:lnTo>
                      <a:pt x="522" y="726"/>
                    </a:lnTo>
                    <a:lnTo>
                      <a:pt x="516" y="732"/>
                    </a:lnTo>
                    <a:lnTo>
                      <a:pt x="498" y="732"/>
                    </a:lnTo>
                    <a:lnTo>
                      <a:pt x="486" y="744"/>
                    </a:lnTo>
                    <a:lnTo>
                      <a:pt x="450" y="744"/>
                    </a:lnTo>
                    <a:lnTo>
                      <a:pt x="444" y="756"/>
                    </a:lnTo>
                    <a:lnTo>
                      <a:pt x="420" y="762"/>
                    </a:lnTo>
                    <a:lnTo>
                      <a:pt x="420" y="768"/>
                    </a:lnTo>
                    <a:lnTo>
                      <a:pt x="414" y="780"/>
                    </a:lnTo>
                    <a:lnTo>
                      <a:pt x="390" y="780"/>
                    </a:lnTo>
                    <a:lnTo>
                      <a:pt x="384" y="792"/>
                    </a:lnTo>
                    <a:lnTo>
                      <a:pt x="396" y="804"/>
                    </a:lnTo>
                    <a:lnTo>
                      <a:pt x="396" y="810"/>
                    </a:lnTo>
                    <a:lnTo>
                      <a:pt x="378" y="810"/>
                    </a:lnTo>
                    <a:lnTo>
                      <a:pt x="378" y="822"/>
                    </a:lnTo>
                    <a:lnTo>
                      <a:pt x="384" y="834"/>
                    </a:lnTo>
                    <a:lnTo>
                      <a:pt x="384" y="840"/>
                    </a:lnTo>
                    <a:lnTo>
                      <a:pt x="390" y="846"/>
                    </a:lnTo>
                    <a:lnTo>
                      <a:pt x="396" y="846"/>
                    </a:lnTo>
                    <a:lnTo>
                      <a:pt x="402" y="840"/>
                    </a:lnTo>
                    <a:lnTo>
                      <a:pt x="420" y="840"/>
                    </a:lnTo>
                    <a:lnTo>
                      <a:pt x="468" y="888"/>
                    </a:lnTo>
                    <a:lnTo>
                      <a:pt x="468" y="900"/>
                    </a:lnTo>
                    <a:lnTo>
                      <a:pt x="462" y="900"/>
                    </a:lnTo>
                    <a:lnTo>
                      <a:pt x="450" y="906"/>
                    </a:lnTo>
                    <a:lnTo>
                      <a:pt x="444" y="906"/>
                    </a:lnTo>
                    <a:lnTo>
                      <a:pt x="444" y="918"/>
                    </a:lnTo>
                    <a:lnTo>
                      <a:pt x="438" y="918"/>
                    </a:lnTo>
                    <a:lnTo>
                      <a:pt x="426" y="924"/>
                    </a:lnTo>
                    <a:lnTo>
                      <a:pt x="420" y="930"/>
                    </a:lnTo>
                    <a:lnTo>
                      <a:pt x="438" y="948"/>
                    </a:lnTo>
                    <a:lnTo>
                      <a:pt x="450" y="954"/>
                    </a:lnTo>
                    <a:lnTo>
                      <a:pt x="456" y="966"/>
                    </a:lnTo>
                    <a:lnTo>
                      <a:pt x="468" y="972"/>
                    </a:lnTo>
                    <a:lnTo>
                      <a:pt x="492" y="996"/>
                    </a:lnTo>
                    <a:lnTo>
                      <a:pt x="504" y="1002"/>
                    </a:lnTo>
                    <a:lnTo>
                      <a:pt x="510" y="1008"/>
                    </a:lnTo>
                    <a:lnTo>
                      <a:pt x="510" y="1014"/>
                    </a:lnTo>
                    <a:lnTo>
                      <a:pt x="504" y="1020"/>
                    </a:lnTo>
                    <a:lnTo>
                      <a:pt x="492" y="1020"/>
                    </a:lnTo>
                    <a:lnTo>
                      <a:pt x="480" y="1014"/>
                    </a:lnTo>
                    <a:lnTo>
                      <a:pt x="474" y="1014"/>
                    </a:lnTo>
                    <a:lnTo>
                      <a:pt x="468" y="1044"/>
                    </a:lnTo>
                    <a:lnTo>
                      <a:pt x="480" y="1056"/>
                    </a:lnTo>
                    <a:lnTo>
                      <a:pt x="480" y="1068"/>
                    </a:lnTo>
                    <a:lnTo>
                      <a:pt x="492" y="1068"/>
                    </a:lnTo>
                    <a:lnTo>
                      <a:pt x="498" y="1074"/>
                    </a:lnTo>
                    <a:lnTo>
                      <a:pt x="504" y="1074"/>
                    </a:lnTo>
                    <a:lnTo>
                      <a:pt x="510" y="1080"/>
                    </a:lnTo>
                    <a:lnTo>
                      <a:pt x="510" y="1086"/>
                    </a:lnTo>
                    <a:lnTo>
                      <a:pt x="504" y="1092"/>
                    </a:lnTo>
                    <a:lnTo>
                      <a:pt x="498" y="1104"/>
                    </a:lnTo>
                    <a:lnTo>
                      <a:pt x="522" y="1110"/>
                    </a:lnTo>
                    <a:lnTo>
                      <a:pt x="534" y="1116"/>
                    </a:lnTo>
                    <a:lnTo>
                      <a:pt x="540" y="1122"/>
                    </a:lnTo>
                    <a:lnTo>
                      <a:pt x="540" y="1128"/>
                    </a:lnTo>
                    <a:lnTo>
                      <a:pt x="516" y="1152"/>
                    </a:lnTo>
                    <a:lnTo>
                      <a:pt x="510" y="1152"/>
                    </a:lnTo>
                    <a:lnTo>
                      <a:pt x="582" y="1188"/>
                    </a:lnTo>
                    <a:lnTo>
                      <a:pt x="588" y="1200"/>
                    </a:lnTo>
                    <a:lnTo>
                      <a:pt x="594" y="1206"/>
                    </a:lnTo>
                    <a:lnTo>
                      <a:pt x="600" y="1218"/>
                    </a:lnTo>
                    <a:lnTo>
                      <a:pt x="600" y="1230"/>
                    </a:lnTo>
                    <a:lnTo>
                      <a:pt x="594" y="1236"/>
                    </a:lnTo>
                    <a:lnTo>
                      <a:pt x="588" y="1248"/>
                    </a:lnTo>
                    <a:lnTo>
                      <a:pt x="552" y="1284"/>
                    </a:lnTo>
                    <a:lnTo>
                      <a:pt x="546" y="1284"/>
                    </a:lnTo>
                    <a:lnTo>
                      <a:pt x="486" y="1344"/>
                    </a:lnTo>
                    <a:lnTo>
                      <a:pt x="426" y="1374"/>
                    </a:lnTo>
                    <a:lnTo>
                      <a:pt x="432" y="1386"/>
                    </a:lnTo>
                    <a:lnTo>
                      <a:pt x="462" y="1368"/>
                    </a:lnTo>
                    <a:lnTo>
                      <a:pt x="468" y="1386"/>
                    </a:lnTo>
                    <a:lnTo>
                      <a:pt x="480" y="1398"/>
                    </a:lnTo>
                    <a:lnTo>
                      <a:pt x="492" y="1404"/>
                    </a:lnTo>
                    <a:lnTo>
                      <a:pt x="498" y="1410"/>
                    </a:lnTo>
                    <a:lnTo>
                      <a:pt x="546" y="1410"/>
                    </a:lnTo>
                    <a:lnTo>
                      <a:pt x="558" y="1428"/>
                    </a:lnTo>
                    <a:lnTo>
                      <a:pt x="546" y="1428"/>
                    </a:lnTo>
                    <a:lnTo>
                      <a:pt x="534" y="1422"/>
                    </a:lnTo>
                    <a:lnTo>
                      <a:pt x="504" y="1422"/>
                    </a:lnTo>
                    <a:lnTo>
                      <a:pt x="492" y="1434"/>
                    </a:lnTo>
                    <a:lnTo>
                      <a:pt x="492" y="1440"/>
                    </a:lnTo>
                    <a:lnTo>
                      <a:pt x="456" y="1440"/>
                    </a:lnTo>
                    <a:lnTo>
                      <a:pt x="450" y="1470"/>
                    </a:lnTo>
                    <a:lnTo>
                      <a:pt x="438" y="1470"/>
                    </a:lnTo>
                    <a:lnTo>
                      <a:pt x="432" y="1482"/>
                    </a:lnTo>
                    <a:lnTo>
                      <a:pt x="438" y="1494"/>
                    </a:lnTo>
                    <a:lnTo>
                      <a:pt x="432" y="1500"/>
                    </a:lnTo>
                    <a:lnTo>
                      <a:pt x="426" y="1500"/>
                    </a:lnTo>
                    <a:lnTo>
                      <a:pt x="414" y="1512"/>
                    </a:lnTo>
                    <a:lnTo>
                      <a:pt x="414" y="1530"/>
                    </a:lnTo>
                    <a:lnTo>
                      <a:pt x="432" y="1536"/>
                    </a:lnTo>
                    <a:lnTo>
                      <a:pt x="420" y="1560"/>
                    </a:lnTo>
                    <a:lnTo>
                      <a:pt x="432" y="1566"/>
                    </a:lnTo>
                    <a:lnTo>
                      <a:pt x="444" y="1584"/>
                    </a:lnTo>
                    <a:lnTo>
                      <a:pt x="426" y="1596"/>
                    </a:lnTo>
                    <a:lnTo>
                      <a:pt x="426" y="1608"/>
                    </a:lnTo>
                    <a:lnTo>
                      <a:pt x="432" y="1608"/>
                    </a:lnTo>
                    <a:lnTo>
                      <a:pt x="444" y="1620"/>
                    </a:lnTo>
                    <a:lnTo>
                      <a:pt x="456" y="1626"/>
                    </a:lnTo>
                    <a:lnTo>
                      <a:pt x="462" y="1632"/>
                    </a:lnTo>
                    <a:lnTo>
                      <a:pt x="462" y="1638"/>
                    </a:lnTo>
                    <a:lnTo>
                      <a:pt x="444" y="1638"/>
                    </a:lnTo>
                    <a:lnTo>
                      <a:pt x="438" y="1656"/>
                    </a:lnTo>
                    <a:lnTo>
                      <a:pt x="462" y="1662"/>
                    </a:lnTo>
                    <a:lnTo>
                      <a:pt x="468" y="1668"/>
                    </a:lnTo>
                    <a:lnTo>
                      <a:pt x="474" y="1680"/>
                    </a:lnTo>
                    <a:lnTo>
                      <a:pt x="486" y="1692"/>
                    </a:lnTo>
                    <a:lnTo>
                      <a:pt x="486" y="1716"/>
                    </a:lnTo>
                    <a:lnTo>
                      <a:pt x="510" y="1716"/>
                    </a:lnTo>
                    <a:lnTo>
                      <a:pt x="516" y="1722"/>
                    </a:lnTo>
                    <a:lnTo>
                      <a:pt x="516" y="1728"/>
                    </a:lnTo>
                    <a:lnTo>
                      <a:pt x="528" y="1722"/>
                    </a:lnTo>
                    <a:lnTo>
                      <a:pt x="564" y="1728"/>
                    </a:lnTo>
                    <a:lnTo>
                      <a:pt x="570" y="1746"/>
                    </a:lnTo>
                    <a:lnTo>
                      <a:pt x="600" y="1728"/>
                    </a:lnTo>
                    <a:lnTo>
                      <a:pt x="606" y="1728"/>
                    </a:lnTo>
                    <a:lnTo>
                      <a:pt x="612" y="1734"/>
                    </a:lnTo>
                    <a:lnTo>
                      <a:pt x="648" y="1752"/>
                    </a:lnTo>
                    <a:lnTo>
                      <a:pt x="654" y="1758"/>
                    </a:lnTo>
                    <a:lnTo>
                      <a:pt x="654" y="1770"/>
                    </a:lnTo>
                    <a:lnTo>
                      <a:pt x="648" y="1776"/>
                    </a:lnTo>
                    <a:lnTo>
                      <a:pt x="660" y="1794"/>
                    </a:lnTo>
                    <a:lnTo>
                      <a:pt x="654" y="1812"/>
                    </a:lnTo>
                    <a:lnTo>
                      <a:pt x="660" y="1818"/>
                    </a:lnTo>
                    <a:lnTo>
                      <a:pt x="672" y="1824"/>
                    </a:lnTo>
                    <a:lnTo>
                      <a:pt x="690" y="1842"/>
                    </a:lnTo>
                    <a:lnTo>
                      <a:pt x="690" y="1854"/>
                    </a:lnTo>
                    <a:lnTo>
                      <a:pt x="720" y="1866"/>
                    </a:lnTo>
                    <a:lnTo>
                      <a:pt x="720" y="1890"/>
                    </a:lnTo>
                    <a:lnTo>
                      <a:pt x="756" y="1890"/>
                    </a:lnTo>
                    <a:lnTo>
                      <a:pt x="762" y="1896"/>
                    </a:lnTo>
                    <a:lnTo>
                      <a:pt x="768" y="1896"/>
                    </a:lnTo>
                    <a:lnTo>
                      <a:pt x="768" y="1902"/>
                    </a:lnTo>
                    <a:lnTo>
                      <a:pt x="762" y="1908"/>
                    </a:lnTo>
                    <a:lnTo>
                      <a:pt x="786" y="1920"/>
                    </a:lnTo>
                    <a:lnTo>
                      <a:pt x="774" y="1926"/>
                    </a:lnTo>
                    <a:lnTo>
                      <a:pt x="768" y="1938"/>
                    </a:lnTo>
                    <a:lnTo>
                      <a:pt x="744" y="1950"/>
                    </a:lnTo>
                    <a:lnTo>
                      <a:pt x="738" y="1950"/>
                    </a:lnTo>
                    <a:lnTo>
                      <a:pt x="732" y="1944"/>
                    </a:lnTo>
                    <a:lnTo>
                      <a:pt x="726" y="1944"/>
                    </a:lnTo>
                    <a:lnTo>
                      <a:pt x="726" y="1938"/>
                    </a:lnTo>
                    <a:lnTo>
                      <a:pt x="702" y="1938"/>
                    </a:lnTo>
                    <a:lnTo>
                      <a:pt x="696" y="1944"/>
                    </a:lnTo>
                    <a:lnTo>
                      <a:pt x="696" y="1950"/>
                    </a:lnTo>
                    <a:lnTo>
                      <a:pt x="720" y="1974"/>
                    </a:lnTo>
                    <a:lnTo>
                      <a:pt x="720" y="1992"/>
                    </a:lnTo>
                    <a:lnTo>
                      <a:pt x="726" y="1998"/>
                    </a:lnTo>
                    <a:lnTo>
                      <a:pt x="732" y="2010"/>
                    </a:lnTo>
                    <a:lnTo>
                      <a:pt x="732" y="2028"/>
                    </a:lnTo>
                    <a:lnTo>
                      <a:pt x="720" y="2028"/>
                    </a:lnTo>
                    <a:lnTo>
                      <a:pt x="714" y="2022"/>
                    </a:lnTo>
                    <a:lnTo>
                      <a:pt x="708" y="2022"/>
                    </a:lnTo>
                    <a:lnTo>
                      <a:pt x="720" y="2028"/>
                    </a:lnTo>
                    <a:lnTo>
                      <a:pt x="768" y="2028"/>
                    </a:lnTo>
                    <a:lnTo>
                      <a:pt x="774" y="2022"/>
                    </a:lnTo>
                    <a:lnTo>
                      <a:pt x="774" y="2010"/>
                    </a:lnTo>
                    <a:lnTo>
                      <a:pt x="804" y="2010"/>
                    </a:lnTo>
                    <a:lnTo>
                      <a:pt x="816" y="2004"/>
                    </a:lnTo>
                    <a:lnTo>
                      <a:pt x="864" y="2004"/>
                    </a:lnTo>
                    <a:lnTo>
                      <a:pt x="870" y="2022"/>
                    </a:lnTo>
                    <a:lnTo>
                      <a:pt x="876" y="2022"/>
                    </a:lnTo>
                    <a:lnTo>
                      <a:pt x="882" y="2028"/>
                    </a:lnTo>
                    <a:lnTo>
                      <a:pt x="894" y="2034"/>
                    </a:lnTo>
                    <a:lnTo>
                      <a:pt x="900" y="2034"/>
                    </a:lnTo>
                    <a:lnTo>
                      <a:pt x="900" y="2046"/>
                    </a:lnTo>
                    <a:lnTo>
                      <a:pt x="894" y="2052"/>
                    </a:lnTo>
                    <a:lnTo>
                      <a:pt x="888" y="2052"/>
                    </a:lnTo>
                    <a:lnTo>
                      <a:pt x="894" y="2070"/>
                    </a:lnTo>
                    <a:lnTo>
                      <a:pt x="894" y="2088"/>
                    </a:lnTo>
                    <a:lnTo>
                      <a:pt x="930" y="2088"/>
                    </a:lnTo>
                    <a:lnTo>
                      <a:pt x="972" y="2106"/>
                    </a:lnTo>
                    <a:lnTo>
                      <a:pt x="984" y="2154"/>
                    </a:lnTo>
                    <a:lnTo>
                      <a:pt x="990" y="2154"/>
                    </a:lnTo>
                    <a:lnTo>
                      <a:pt x="1014" y="2148"/>
                    </a:lnTo>
                    <a:lnTo>
                      <a:pt x="1020" y="2154"/>
                    </a:lnTo>
                    <a:lnTo>
                      <a:pt x="1032" y="2154"/>
                    </a:lnTo>
                    <a:lnTo>
                      <a:pt x="1038" y="2160"/>
                    </a:lnTo>
                    <a:lnTo>
                      <a:pt x="1086" y="2160"/>
                    </a:lnTo>
                    <a:lnTo>
                      <a:pt x="1092" y="2166"/>
                    </a:lnTo>
                    <a:lnTo>
                      <a:pt x="1092" y="2160"/>
                    </a:lnTo>
                    <a:lnTo>
                      <a:pt x="1098" y="2154"/>
                    </a:lnTo>
                    <a:lnTo>
                      <a:pt x="1110" y="2154"/>
                    </a:lnTo>
                    <a:lnTo>
                      <a:pt x="1116" y="2166"/>
                    </a:lnTo>
                    <a:lnTo>
                      <a:pt x="1140" y="2190"/>
                    </a:lnTo>
                    <a:lnTo>
                      <a:pt x="1152" y="2184"/>
                    </a:lnTo>
                    <a:lnTo>
                      <a:pt x="1170" y="2184"/>
                    </a:lnTo>
                    <a:lnTo>
                      <a:pt x="1176" y="2190"/>
                    </a:lnTo>
                    <a:lnTo>
                      <a:pt x="1188" y="2196"/>
                    </a:lnTo>
                    <a:lnTo>
                      <a:pt x="1230" y="2196"/>
                    </a:lnTo>
                    <a:lnTo>
                      <a:pt x="1230" y="2202"/>
                    </a:lnTo>
                    <a:lnTo>
                      <a:pt x="1236" y="2208"/>
                    </a:lnTo>
                    <a:lnTo>
                      <a:pt x="1254" y="2220"/>
                    </a:lnTo>
                    <a:lnTo>
                      <a:pt x="1278" y="2220"/>
                    </a:lnTo>
                    <a:lnTo>
                      <a:pt x="1284" y="2226"/>
                    </a:lnTo>
                    <a:lnTo>
                      <a:pt x="1284" y="2250"/>
                    </a:lnTo>
                    <a:lnTo>
                      <a:pt x="1266" y="2262"/>
                    </a:lnTo>
                    <a:lnTo>
                      <a:pt x="1272" y="2262"/>
                    </a:lnTo>
                    <a:lnTo>
                      <a:pt x="1278" y="2268"/>
                    </a:lnTo>
                    <a:lnTo>
                      <a:pt x="1284" y="2268"/>
                    </a:lnTo>
                    <a:lnTo>
                      <a:pt x="1290" y="2274"/>
                    </a:lnTo>
                    <a:lnTo>
                      <a:pt x="1284" y="2280"/>
                    </a:lnTo>
                    <a:lnTo>
                      <a:pt x="1266" y="2280"/>
                    </a:lnTo>
                    <a:lnTo>
                      <a:pt x="1260" y="2286"/>
                    </a:lnTo>
                    <a:lnTo>
                      <a:pt x="1272" y="2298"/>
                    </a:lnTo>
                    <a:lnTo>
                      <a:pt x="1284" y="2304"/>
                    </a:lnTo>
                    <a:lnTo>
                      <a:pt x="1284" y="2316"/>
                    </a:lnTo>
                    <a:lnTo>
                      <a:pt x="1290" y="2328"/>
                    </a:lnTo>
                    <a:lnTo>
                      <a:pt x="1290" y="2334"/>
                    </a:lnTo>
                    <a:lnTo>
                      <a:pt x="1278" y="2346"/>
                    </a:lnTo>
                    <a:lnTo>
                      <a:pt x="1266" y="2346"/>
                    </a:lnTo>
                    <a:lnTo>
                      <a:pt x="1254" y="2352"/>
                    </a:lnTo>
                    <a:lnTo>
                      <a:pt x="1224" y="2352"/>
                    </a:lnTo>
                    <a:lnTo>
                      <a:pt x="1212" y="2364"/>
                    </a:lnTo>
                    <a:lnTo>
                      <a:pt x="1212" y="2370"/>
                    </a:lnTo>
                    <a:lnTo>
                      <a:pt x="1206" y="2376"/>
                    </a:lnTo>
                    <a:lnTo>
                      <a:pt x="1188" y="2376"/>
                    </a:lnTo>
                    <a:lnTo>
                      <a:pt x="1188" y="2412"/>
                    </a:lnTo>
                    <a:lnTo>
                      <a:pt x="1194" y="2412"/>
                    </a:lnTo>
                    <a:lnTo>
                      <a:pt x="1200" y="2406"/>
                    </a:lnTo>
                    <a:lnTo>
                      <a:pt x="1212" y="2406"/>
                    </a:lnTo>
                    <a:lnTo>
                      <a:pt x="1224" y="2400"/>
                    </a:lnTo>
                    <a:lnTo>
                      <a:pt x="1254" y="2400"/>
                    </a:lnTo>
                    <a:lnTo>
                      <a:pt x="1254" y="2412"/>
                    </a:lnTo>
                    <a:lnTo>
                      <a:pt x="1248" y="2418"/>
                    </a:lnTo>
                    <a:lnTo>
                      <a:pt x="1242" y="2430"/>
                    </a:lnTo>
                    <a:lnTo>
                      <a:pt x="1230" y="2436"/>
                    </a:lnTo>
                    <a:lnTo>
                      <a:pt x="1224" y="2442"/>
                    </a:lnTo>
                    <a:lnTo>
                      <a:pt x="1170" y="2454"/>
                    </a:lnTo>
                    <a:lnTo>
                      <a:pt x="1218" y="2490"/>
                    </a:lnTo>
                    <a:lnTo>
                      <a:pt x="1212" y="2490"/>
                    </a:lnTo>
                    <a:lnTo>
                      <a:pt x="1206" y="2496"/>
                    </a:lnTo>
                    <a:lnTo>
                      <a:pt x="1194" y="2496"/>
                    </a:lnTo>
                    <a:lnTo>
                      <a:pt x="1188" y="2502"/>
                    </a:lnTo>
                    <a:lnTo>
                      <a:pt x="1176" y="2526"/>
                    </a:lnTo>
                    <a:lnTo>
                      <a:pt x="1176" y="2544"/>
                    </a:lnTo>
                    <a:lnTo>
                      <a:pt x="1164" y="2550"/>
                    </a:lnTo>
                    <a:lnTo>
                      <a:pt x="1158" y="2556"/>
                    </a:lnTo>
                    <a:lnTo>
                      <a:pt x="1146" y="2556"/>
                    </a:lnTo>
                    <a:lnTo>
                      <a:pt x="1140" y="2550"/>
                    </a:lnTo>
                    <a:lnTo>
                      <a:pt x="1128" y="2544"/>
                    </a:lnTo>
                    <a:lnTo>
                      <a:pt x="1122" y="2538"/>
                    </a:lnTo>
                    <a:lnTo>
                      <a:pt x="1116" y="2556"/>
                    </a:lnTo>
                    <a:lnTo>
                      <a:pt x="1122" y="2562"/>
                    </a:lnTo>
                    <a:lnTo>
                      <a:pt x="1128" y="2574"/>
                    </a:lnTo>
                    <a:lnTo>
                      <a:pt x="1134" y="2580"/>
                    </a:lnTo>
                    <a:lnTo>
                      <a:pt x="1146" y="2580"/>
                    </a:lnTo>
                    <a:lnTo>
                      <a:pt x="1146" y="2586"/>
                    </a:lnTo>
                    <a:lnTo>
                      <a:pt x="1152" y="2598"/>
                    </a:lnTo>
                    <a:lnTo>
                      <a:pt x="1158" y="2604"/>
                    </a:lnTo>
                    <a:lnTo>
                      <a:pt x="1194" y="2604"/>
                    </a:lnTo>
                    <a:lnTo>
                      <a:pt x="1200" y="2610"/>
                    </a:lnTo>
                    <a:lnTo>
                      <a:pt x="1212" y="2616"/>
                    </a:lnTo>
                    <a:lnTo>
                      <a:pt x="1218" y="2628"/>
                    </a:lnTo>
                    <a:lnTo>
                      <a:pt x="1224" y="2634"/>
                    </a:lnTo>
                    <a:lnTo>
                      <a:pt x="1254" y="2634"/>
                    </a:lnTo>
                    <a:lnTo>
                      <a:pt x="1272" y="2652"/>
                    </a:lnTo>
                    <a:lnTo>
                      <a:pt x="1278" y="2664"/>
                    </a:lnTo>
                    <a:lnTo>
                      <a:pt x="1290" y="2670"/>
                    </a:lnTo>
                    <a:lnTo>
                      <a:pt x="1314" y="2694"/>
                    </a:lnTo>
                    <a:lnTo>
                      <a:pt x="1320" y="2694"/>
                    </a:lnTo>
                    <a:lnTo>
                      <a:pt x="1332" y="2700"/>
                    </a:lnTo>
                    <a:lnTo>
                      <a:pt x="1338" y="2700"/>
                    </a:lnTo>
                    <a:lnTo>
                      <a:pt x="1350" y="2706"/>
                    </a:lnTo>
                    <a:lnTo>
                      <a:pt x="1344" y="2706"/>
                    </a:lnTo>
                    <a:lnTo>
                      <a:pt x="1368" y="2688"/>
                    </a:lnTo>
                    <a:lnTo>
                      <a:pt x="1380" y="2688"/>
                    </a:lnTo>
                    <a:lnTo>
                      <a:pt x="1398" y="2694"/>
                    </a:lnTo>
                    <a:lnTo>
                      <a:pt x="1410" y="2700"/>
                    </a:lnTo>
                    <a:lnTo>
                      <a:pt x="1428" y="2706"/>
                    </a:lnTo>
                    <a:lnTo>
                      <a:pt x="1488" y="2718"/>
                    </a:lnTo>
                    <a:lnTo>
                      <a:pt x="1524" y="2718"/>
                    </a:lnTo>
                    <a:lnTo>
                      <a:pt x="1530" y="2724"/>
                    </a:lnTo>
                    <a:lnTo>
                      <a:pt x="1536" y="2724"/>
                    </a:lnTo>
                    <a:lnTo>
                      <a:pt x="1584" y="2754"/>
                    </a:lnTo>
                    <a:lnTo>
                      <a:pt x="1584" y="2760"/>
                    </a:lnTo>
                    <a:lnTo>
                      <a:pt x="1590" y="2760"/>
                    </a:lnTo>
                    <a:lnTo>
                      <a:pt x="1602" y="2766"/>
                    </a:lnTo>
                    <a:lnTo>
                      <a:pt x="1626" y="2766"/>
                    </a:lnTo>
                    <a:lnTo>
                      <a:pt x="1632" y="2760"/>
                    </a:lnTo>
                    <a:lnTo>
                      <a:pt x="1644" y="2760"/>
                    </a:lnTo>
                    <a:lnTo>
                      <a:pt x="1644" y="2754"/>
                    </a:lnTo>
                    <a:lnTo>
                      <a:pt x="1674" y="2754"/>
                    </a:lnTo>
                    <a:lnTo>
                      <a:pt x="1686" y="2760"/>
                    </a:lnTo>
                    <a:lnTo>
                      <a:pt x="1698" y="2772"/>
                    </a:lnTo>
                    <a:lnTo>
                      <a:pt x="1728" y="2778"/>
                    </a:lnTo>
                    <a:lnTo>
                      <a:pt x="1728" y="2790"/>
                    </a:lnTo>
                    <a:lnTo>
                      <a:pt x="1722" y="2796"/>
                    </a:lnTo>
                    <a:lnTo>
                      <a:pt x="1722" y="2802"/>
                    </a:lnTo>
                    <a:lnTo>
                      <a:pt x="1740" y="2802"/>
                    </a:lnTo>
                    <a:lnTo>
                      <a:pt x="1752" y="2814"/>
                    </a:lnTo>
                    <a:lnTo>
                      <a:pt x="1764" y="2820"/>
                    </a:lnTo>
                    <a:lnTo>
                      <a:pt x="1776" y="2832"/>
                    </a:lnTo>
                    <a:lnTo>
                      <a:pt x="1788" y="2826"/>
                    </a:lnTo>
                    <a:lnTo>
                      <a:pt x="1794" y="2826"/>
                    </a:lnTo>
                    <a:lnTo>
                      <a:pt x="1818" y="2838"/>
                    </a:lnTo>
                    <a:lnTo>
                      <a:pt x="1836" y="2856"/>
                    </a:lnTo>
                    <a:lnTo>
                      <a:pt x="1842" y="2868"/>
                    </a:lnTo>
                    <a:lnTo>
                      <a:pt x="1854" y="2874"/>
                    </a:lnTo>
                    <a:lnTo>
                      <a:pt x="1860" y="2880"/>
                    </a:lnTo>
                    <a:lnTo>
                      <a:pt x="1884" y="2880"/>
                    </a:lnTo>
                    <a:lnTo>
                      <a:pt x="1890" y="2874"/>
                    </a:lnTo>
                    <a:lnTo>
                      <a:pt x="1890" y="2862"/>
                    </a:lnTo>
                    <a:lnTo>
                      <a:pt x="1908" y="2862"/>
                    </a:lnTo>
                    <a:lnTo>
                      <a:pt x="1914" y="2856"/>
                    </a:lnTo>
                    <a:lnTo>
                      <a:pt x="1914" y="2826"/>
                    </a:lnTo>
                    <a:lnTo>
                      <a:pt x="1908" y="2820"/>
                    </a:lnTo>
                    <a:lnTo>
                      <a:pt x="1908" y="2814"/>
                    </a:lnTo>
                    <a:lnTo>
                      <a:pt x="1896" y="2802"/>
                    </a:lnTo>
                    <a:lnTo>
                      <a:pt x="1890" y="2790"/>
                    </a:lnTo>
                    <a:lnTo>
                      <a:pt x="1884" y="2784"/>
                    </a:lnTo>
                    <a:lnTo>
                      <a:pt x="1872" y="2778"/>
                    </a:lnTo>
                    <a:lnTo>
                      <a:pt x="1866" y="2772"/>
                    </a:lnTo>
                    <a:lnTo>
                      <a:pt x="1854" y="2772"/>
                    </a:lnTo>
                    <a:lnTo>
                      <a:pt x="1854" y="2748"/>
                    </a:lnTo>
                    <a:lnTo>
                      <a:pt x="1848" y="2742"/>
                    </a:lnTo>
                    <a:lnTo>
                      <a:pt x="1836" y="2736"/>
                    </a:lnTo>
                    <a:lnTo>
                      <a:pt x="1830" y="2724"/>
                    </a:lnTo>
                    <a:lnTo>
                      <a:pt x="1824" y="2718"/>
                    </a:lnTo>
                    <a:lnTo>
                      <a:pt x="1824" y="2706"/>
                    </a:lnTo>
                    <a:lnTo>
                      <a:pt x="1830" y="2694"/>
                    </a:lnTo>
                    <a:lnTo>
                      <a:pt x="1830" y="2682"/>
                    </a:lnTo>
                    <a:lnTo>
                      <a:pt x="1818" y="2658"/>
                    </a:lnTo>
                    <a:lnTo>
                      <a:pt x="1812" y="2652"/>
                    </a:lnTo>
                    <a:lnTo>
                      <a:pt x="1806" y="2640"/>
                    </a:lnTo>
                    <a:lnTo>
                      <a:pt x="1794" y="2634"/>
                    </a:lnTo>
                    <a:lnTo>
                      <a:pt x="1788" y="2628"/>
                    </a:lnTo>
                    <a:lnTo>
                      <a:pt x="1776" y="2628"/>
                    </a:lnTo>
                    <a:lnTo>
                      <a:pt x="1758" y="2622"/>
                    </a:lnTo>
                    <a:lnTo>
                      <a:pt x="1758" y="2604"/>
                    </a:lnTo>
                    <a:lnTo>
                      <a:pt x="1794" y="2568"/>
                    </a:lnTo>
                    <a:lnTo>
                      <a:pt x="1800" y="2556"/>
                    </a:lnTo>
                    <a:lnTo>
                      <a:pt x="1806" y="2550"/>
                    </a:lnTo>
                    <a:lnTo>
                      <a:pt x="1806" y="2544"/>
                    </a:lnTo>
                    <a:lnTo>
                      <a:pt x="1800" y="2532"/>
                    </a:lnTo>
                    <a:lnTo>
                      <a:pt x="1788" y="2520"/>
                    </a:lnTo>
                    <a:lnTo>
                      <a:pt x="1800" y="2520"/>
                    </a:lnTo>
                    <a:lnTo>
                      <a:pt x="1812" y="2526"/>
                    </a:lnTo>
                    <a:lnTo>
                      <a:pt x="1830" y="2526"/>
                    </a:lnTo>
                    <a:lnTo>
                      <a:pt x="1842" y="2514"/>
                    </a:lnTo>
                    <a:lnTo>
                      <a:pt x="1872" y="2514"/>
                    </a:lnTo>
                    <a:lnTo>
                      <a:pt x="1878" y="2508"/>
                    </a:lnTo>
                    <a:lnTo>
                      <a:pt x="1860" y="2490"/>
                    </a:lnTo>
                    <a:lnTo>
                      <a:pt x="1890" y="2490"/>
                    </a:lnTo>
                    <a:lnTo>
                      <a:pt x="1890" y="2472"/>
                    </a:lnTo>
                    <a:lnTo>
                      <a:pt x="1878" y="2472"/>
                    </a:lnTo>
                    <a:lnTo>
                      <a:pt x="1854" y="2460"/>
                    </a:lnTo>
                    <a:lnTo>
                      <a:pt x="1842" y="2448"/>
                    </a:lnTo>
                    <a:lnTo>
                      <a:pt x="1842" y="2442"/>
                    </a:lnTo>
                    <a:lnTo>
                      <a:pt x="1878" y="2442"/>
                    </a:lnTo>
                    <a:lnTo>
                      <a:pt x="1878" y="2430"/>
                    </a:lnTo>
                    <a:lnTo>
                      <a:pt x="1866" y="2418"/>
                    </a:lnTo>
                    <a:lnTo>
                      <a:pt x="1860" y="2406"/>
                    </a:lnTo>
                    <a:lnTo>
                      <a:pt x="1812" y="2358"/>
                    </a:lnTo>
                    <a:lnTo>
                      <a:pt x="1800" y="2358"/>
                    </a:lnTo>
                    <a:lnTo>
                      <a:pt x="1788" y="2364"/>
                    </a:lnTo>
                    <a:lnTo>
                      <a:pt x="1746" y="2364"/>
                    </a:lnTo>
                    <a:lnTo>
                      <a:pt x="1740" y="2358"/>
                    </a:lnTo>
                    <a:lnTo>
                      <a:pt x="1740" y="2328"/>
                    </a:lnTo>
                    <a:lnTo>
                      <a:pt x="1734" y="2322"/>
                    </a:lnTo>
                    <a:lnTo>
                      <a:pt x="1710" y="2322"/>
                    </a:lnTo>
                    <a:lnTo>
                      <a:pt x="1704" y="2316"/>
                    </a:lnTo>
                    <a:lnTo>
                      <a:pt x="1698" y="2316"/>
                    </a:lnTo>
                    <a:lnTo>
                      <a:pt x="1698" y="2286"/>
                    </a:lnTo>
                    <a:lnTo>
                      <a:pt x="1710" y="2262"/>
                    </a:lnTo>
                    <a:lnTo>
                      <a:pt x="1710" y="2238"/>
                    </a:lnTo>
                    <a:lnTo>
                      <a:pt x="1704" y="2232"/>
                    </a:lnTo>
                    <a:lnTo>
                      <a:pt x="1698" y="2196"/>
                    </a:lnTo>
                    <a:lnTo>
                      <a:pt x="1722" y="2196"/>
                    </a:lnTo>
                    <a:lnTo>
                      <a:pt x="1722" y="2172"/>
                    </a:lnTo>
                    <a:lnTo>
                      <a:pt x="1716" y="2166"/>
                    </a:lnTo>
                    <a:lnTo>
                      <a:pt x="1716" y="2154"/>
                    </a:lnTo>
                    <a:lnTo>
                      <a:pt x="1722" y="2148"/>
                    </a:lnTo>
                    <a:lnTo>
                      <a:pt x="1734" y="2148"/>
                    </a:lnTo>
                    <a:lnTo>
                      <a:pt x="1746" y="2154"/>
                    </a:lnTo>
                    <a:lnTo>
                      <a:pt x="1758" y="2166"/>
                    </a:lnTo>
                    <a:lnTo>
                      <a:pt x="1770" y="2172"/>
                    </a:lnTo>
                    <a:lnTo>
                      <a:pt x="1776" y="2184"/>
                    </a:lnTo>
                    <a:lnTo>
                      <a:pt x="1788" y="2190"/>
                    </a:lnTo>
                    <a:lnTo>
                      <a:pt x="1800" y="2190"/>
                    </a:lnTo>
                    <a:lnTo>
                      <a:pt x="1806" y="2184"/>
                    </a:lnTo>
                    <a:lnTo>
                      <a:pt x="1812" y="2172"/>
                    </a:lnTo>
                    <a:lnTo>
                      <a:pt x="1818" y="2166"/>
                    </a:lnTo>
                    <a:lnTo>
                      <a:pt x="1812" y="2154"/>
                    </a:lnTo>
                    <a:lnTo>
                      <a:pt x="1800" y="2142"/>
                    </a:lnTo>
                    <a:lnTo>
                      <a:pt x="1830" y="2130"/>
                    </a:lnTo>
                    <a:lnTo>
                      <a:pt x="1830" y="2106"/>
                    </a:lnTo>
                    <a:lnTo>
                      <a:pt x="1836" y="2106"/>
                    </a:lnTo>
                    <a:lnTo>
                      <a:pt x="1848" y="2100"/>
                    </a:lnTo>
                    <a:lnTo>
                      <a:pt x="1860" y="2100"/>
                    </a:lnTo>
                    <a:lnTo>
                      <a:pt x="1872" y="2094"/>
                    </a:lnTo>
                    <a:lnTo>
                      <a:pt x="1884" y="2082"/>
                    </a:lnTo>
                    <a:lnTo>
                      <a:pt x="1884" y="2064"/>
                    </a:lnTo>
                    <a:lnTo>
                      <a:pt x="1878" y="2058"/>
                    </a:lnTo>
                    <a:lnTo>
                      <a:pt x="1878" y="2052"/>
                    </a:lnTo>
                    <a:lnTo>
                      <a:pt x="1908" y="2052"/>
                    </a:lnTo>
                    <a:lnTo>
                      <a:pt x="1920" y="2058"/>
                    </a:lnTo>
                    <a:lnTo>
                      <a:pt x="1926" y="2058"/>
                    </a:lnTo>
                    <a:lnTo>
                      <a:pt x="1926" y="2064"/>
                    </a:lnTo>
                    <a:lnTo>
                      <a:pt x="1932" y="2070"/>
                    </a:lnTo>
                    <a:lnTo>
                      <a:pt x="1962" y="2070"/>
                    </a:lnTo>
                    <a:lnTo>
                      <a:pt x="1974" y="2058"/>
                    </a:lnTo>
                    <a:lnTo>
                      <a:pt x="1986" y="2052"/>
                    </a:lnTo>
                    <a:lnTo>
                      <a:pt x="2004" y="2052"/>
                    </a:lnTo>
                    <a:lnTo>
                      <a:pt x="2010" y="2058"/>
                    </a:lnTo>
                    <a:lnTo>
                      <a:pt x="2016" y="2070"/>
                    </a:lnTo>
                    <a:lnTo>
                      <a:pt x="2076" y="2070"/>
                    </a:lnTo>
                    <a:lnTo>
                      <a:pt x="2082" y="2076"/>
                    </a:lnTo>
                    <a:lnTo>
                      <a:pt x="2082" y="2082"/>
                    </a:lnTo>
                    <a:lnTo>
                      <a:pt x="2088" y="2094"/>
                    </a:lnTo>
                    <a:lnTo>
                      <a:pt x="2124" y="2094"/>
                    </a:lnTo>
                    <a:lnTo>
                      <a:pt x="2136" y="2124"/>
                    </a:lnTo>
                    <a:lnTo>
                      <a:pt x="2136" y="2130"/>
                    </a:lnTo>
                    <a:lnTo>
                      <a:pt x="2148" y="2142"/>
                    </a:lnTo>
                    <a:lnTo>
                      <a:pt x="2160" y="2142"/>
                    </a:lnTo>
                    <a:lnTo>
                      <a:pt x="2160" y="2124"/>
                    </a:lnTo>
                    <a:lnTo>
                      <a:pt x="2148" y="2112"/>
                    </a:lnTo>
                    <a:lnTo>
                      <a:pt x="2148" y="2106"/>
                    </a:lnTo>
                    <a:lnTo>
                      <a:pt x="2160" y="2106"/>
                    </a:lnTo>
                    <a:lnTo>
                      <a:pt x="2232" y="2142"/>
                    </a:lnTo>
                    <a:lnTo>
                      <a:pt x="2238" y="2136"/>
                    </a:lnTo>
                    <a:lnTo>
                      <a:pt x="2244" y="2124"/>
                    </a:lnTo>
                    <a:lnTo>
                      <a:pt x="2256" y="2118"/>
                    </a:lnTo>
                    <a:lnTo>
                      <a:pt x="2268" y="2106"/>
                    </a:lnTo>
                    <a:lnTo>
                      <a:pt x="2280" y="2100"/>
                    </a:lnTo>
                    <a:lnTo>
                      <a:pt x="2286" y="2100"/>
                    </a:lnTo>
                    <a:lnTo>
                      <a:pt x="2322" y="2118"/>
                    </a:lnTo>
                    <a:lnTo>
                      <a:pt x="2334" y="2118"/>
                    </a:lnTo>
                    <a:lnTo>
                      <a:pt x="2352" y="2112"/>
                    </a:lnTo>
                    <a:lnTo>
                      <a:pt x="2364" y="2106"/>
                    </a:lnTo>
                    <a:lnTo>
                      <a:pt x="2370" y="2100"/>
                    </a:lnTo>
                    <a:lnTo>
                      <a:pt x="2382" y="2100"/>
                    </a:lnTo>
                    <a:lnTo>
                      <a:pt x="2388" y="2106"/>
                    </a:lnTo>
                    <a:lnTo>
                      <a:pt x="2400" y="2112"/>
                    </a:lnTo>
                    <a:lnTo>
                      <a:pt x="2406" y="2124"/>
                    </a:lnTo>
                    <a:lnTo>
                      <a:pt x="2430" y="2136"/>
                    </a:lnTo>
                    <a:lnTo>
                      <a:pt x="2454" y="2136"/>
                    </a:lnTo>
                    <a:lnTo>
                      <a:pt x="2466" y="2142"/>
                    </a:lnTo>
                    <a:lnTo>
                      <a:pt x="2478" y="2142"/>
                    </a:lnTo>
                    <a:lnTo>
                      <a:pt x="2490" y="2118"/>
                    </a:lnTo>
                    <a:lnTo>
                      <a:pt x="2496" y="2124"/>
                    </a:lnTo>
                    <a:lnTo>
                      <a:pt x="2508" y="2124"/>
                    </a:lnTo>
                    <a:lnTo>
                      <a:pt x="2514" y="2130"/>
                    </a:lnTo>
                    <a:lnTo>
                      <a:pt x="2526" y="2136"/>
                    </a:lnTo>
                    <a:lnTo>
                      <a:pt x="2562" y="2136"/>
                    </a:lnTo>
                    <a:lnTo>
                      <a:pt x="2568" y="2130"/>
                    </a:lnTo>
                    <a:lnTo>
                      <a:pt x="2574" y="2118"/>
                    </a:lnTo>
                    <a:lnTo>
                      <a:pt x="2574" y="2106"/>
                    </a:lnTo>
                    <a:lnTo>
                      <a:pt x="2568" y="2088"/>
                    </a:lnTo>
                    <a:lnTo>
                      <a:pt x="2544" y="2064"/>
                    </a:lnTo>
                    <a:lnTo>
                      <a:pt x="2532" y="2058"/>
                    </a:lnTo>
                    <a:lnTo>
                      <a:pt x="2514" y="2052"/>
                    </a:lnTo>
                    <a:lnTo>
                      <a:pt x="2490" y="2052"/>
                    </a:lnTo>
                    <a:lnTo>
                      <a:pt x="2460" y="2022"/>
                    </a:lnTo>
                    <a:lnTo>
                      <a:pt x="2472" y="2022"/>
                    </a:lnTo>
                    <a:lnTo>
                      <a:pt x="2484" y="2016"/>
                    </a:lnTo>
                    <a:lnTo>
                      <a:pt x="2496" y="2016"/>
                    </a:lnTo>
                    <a:lnTo>
                      <a:pt x="2508" y="2004"/>
                    </a:lnTo>
                    <a:lnTo>
                      <a:pt x="2508" y="1992"/>
                    </a:lnTo>
                    <a:lnTo>
                      <a:pt x="2502" y="1986"/>
                    </a:lnTo>
                    <a:lnTo>
                      <a:pt x="2496" y="1974"/>
                    </a:lnTo>
                    <a:lnTo>
                      <a:pt x="2490" y="1968"/>
                    </a:lnTo>
                    <a:lnTo>
                      <a:pt x="2502" y="1956"/>
                    </a:lnTo>
                    <a:lnTo>
                      <a:pt x="2556" y="1956"/>
                    </a:lnTo>
                    <a:lnTo>
                      <a:pt x="2544" y="1944"/>
                    </a:lnTo>
                    <a:lnTo>
                      <a:pt x="2532" y="1944"/>
                    </a:lnTo>
                    <a:lnTo>
                      <a:pt x="2508" y="1932"/>
                    </a:lnTo>
                    <a:lnTo>
                      <a:pt x="2496" y="1932"/>
                    </a:lnTo>
                    <a:lnTo>
                      <a:pt x="2508" y="1914"/>
                    </a:lnTo>
                    <a:lnTo>
                      <a:pt x="2484" y="1914"/>
                    </a:lnTo>
                    <a:lnTo>
                      <a:pt x="2484" y="1908"/>
                    </a:lnTo>
                    <a:lnTo>
                      <a:pt x="2478" y="1902"/>
                    </a:lnTo>
                    <a:lnTo>
                      <a:pt x="2478" y="1896"/>
                    </a:lnTo>
                    <a:lnTo>
                      <a:pt x="2490" y="1884"/>
                    </a:lnTo>
                    <a:lnTo>
                      <a:pt x="2526" y="1872"/>
                    </a:lnTo>
                    <a:lnTo>
                      <a:pt x="2586" y="1866"/>
                    </a:lnTo>
                    <a:lnTo>
                      <a:pt x="2640" y="1866"/>
                    </a:lnTo>
                    <a:lnTo>
                      <a:pt x="2646" y="1848"/>
                    </a:lnTo>
                    <a:lnTo>
                      <a:pt x="2712" y="1848"/>
                    </a:lnTo>
                    <a:lnTo>
                      <a:pt x="2712" y="1830"/>
                    </a:lnTo>
                    <a:lnTo>
                      <a:pt x="2718" y="1824"/>
                    </a:lnTo>
                    <a:lnTo>
                      <a:pt x="2808" y="1824"/>
                    </a:lnTo>
                    <a:lnTo>
                      <a:pt x="2862" y="1806"/>
                    </a:lnTo>
                    <a:lnTo>
                      <a:pt x="2874" y="1806"/>
                    </a:lnTo>
                    <a:lnTo>
                      <a:pt x="2874" y="1794"/>
                    </a:lnTo>
                    <a:lnTo>
                      <a:pt x="2886" y="1782"/>
                    </a:lnTo>
                    <a:lnTo>
                      <a:pt x="2898" y="1776"/>
                    </a:lnTo>
                    <a:lnTo>
                      <a:pt x="2916" y="1770"/>
                    </a:lnTo>
                    <a:lnTo>
                      <a:pt x="2940" y="1770"/>
                    </a:lnTo>
                    <a:lnTo>
                      <a:pt x="2958" y="1776"/>
                    </a:lnTo>
                    <a:lnTo>
                      <a:pt x="2976" y="1776"/>
                    </a:lnTo>
                    <a:lnTo>
                      <a:pt x="2988" y="1788"/>
                    </a:lnTo>
                    <a:lnTo>
                      <a:pt x="3000" y="1788"/>
                    </a:lnTo>
                    <a:lnTo>
                      <a:pt x="3012" y="1776"/>
                    </a:lnTo>
                    <a:lnTo>
                      <a:pt x="3018" y="1776"/>
                    </a:lnTo>
                    <a:lnTo>
                      <a:pt x="3036" y="1794"/>
                    </a:lnTo>
                    <a:lnTo>
                      <a:pt x="3042" y="1806"/>
                    </a:lnTo>
                    <a:lnTo>
                      <a:pt x="3048" y="1812"/>
                    </a:lnTo>
                    <a:lnTo>
                      <a:pt x="3060" y="1812"/>
                    </a:lnTo>
                    <a:lnTo>
                      <a:pt x="3066" y="1818"/>
                    </a:lnTo>
                    <a:lnTo>
                      <a:pt x="3066" y="1860"/>
                    </a:lnTo>
                    <a:lnTo>
                      <a:pt x="3072" y="1866"/>
                    </a:lnTo>
                    <a:lnTo>
                      <a:pt x="3090" y="1866"/>
                    </a:lnTo>
                    <a:lnTo>
                      <a:pt x="3102" y="1860"/>
                    </a:lnTo>
                    <a:lnTo>
                      <a:pt x="3120" y="1860"/>
                    </a:lnTo>
                    <a:lnTo>
                      <a:pt x="3132" y="1842"/>
                    </a:lnTo>
                    <a:lnTo>
                      <a:pt x="3156" y="1878"/>
                    </a:lnTo>
                    <a:lnTo>
                      <a:pt x="3180" y="1866"/>
                    </a:lnTo>
                    <a:lnTo>
                      <a:pt x="3204" y="1878"/>
                    </a:lnTo>
                    <a:lnTo>
                      <a:pt x="3210" y="1872"/>
                    </a:lnTo>
                    <a:lnTo>
                      <a:pt x="3216" y="1872"/>
                    </a:lnTo>
                    <a:lnTo>
                      <a:pt x="3228" y="1878"/>
                    </a:lnTo>
                    <a:lnTo>
                      <a:pt x="3228" y="1902"/>
                    </a:lnTo>
                    <a:lnTo>
                      <a:pt x="3222" y="1908"/>
                    </a:lnTo>
                    <a:lnTo>
                      <a:pt x="3222" y="1914"/>
                    </a:lnTo>
                    <a:lnTo>
                      <a:pt x="3228" y="1914"/>
                    </a:lnTo>
                    <a:lnTo>
                      <a:pt x="3234" y="1908"/>
                    </a:lnTo>
                    <a:lnTo>
                      <a:pt x="3240" y="1908"/>
                    </a:lnTo>
                    <a:lnTo>
                      <a:pt x="3246" y="1902"/>
                    </a:lnTo>
                    <a:lnTo>
                      <a:pt x="3252" y="1902"/>
                    </a:lnTo>
                    <a:lnTo>
                      <a:pt x="3258" y="1908"/>
                    </a:lnTo>
                    <a:lnTo>
                      <a:pt x="3270" y="1914"/>
                    </a:lnTo>
                    <a:lnTo>
                      <a:pt x="3276" y="1920"/>
                    </a:lnTo>
                    <a:lnTo>
                      <a:pt x="3288" y="1926"/>
                    </a:lnTo>
                    <a:lnTo>
                      <a:pt x="3300" y="1914"/>
                    </a:lnTo>
                    <a:lnTo>
                      <a:pt x="3300" y="1896"/>
                    </a:lnTo>
                    <a:lnTo>
                      <a:pt x="3306" y="1890"/>
                    </a:lnTo>
                    <a:lnTo>
                      <a:pt x="3318" y="1884"/>
                    </a:lnTo>
                    <a:lnTo>
                      <a:pt x="3330" y="1884"/>
                    </a:lnTo>
                    <a:lnTo>
                      <a:pt x="3342" y="1866"/>
                    </a:lnTo>
                    <a:lnTo>
                      <a:pt x="3378" y="1854"/>
                    </a:lnTo>
                    <a:lnTo>
                      <a:pt x="3396" y="1836"/>
                    </a:lnTo>
                    <a:lnTo>
                      <a:pt x="3402" y="1836"/>
                    </a:lnTo>
                    <a:lnTo>
                      <a:pt x="3408" y="1842"/>
                    </a:lnTo>
                    <a:lnTo>
                      <a:pt x="3408" y="1860"/>
                    </a:lnTo>
                    <a:lnTo>
                      <a:pt x="3396" y="1872"/>
                    </a:lnTo>
                    <a:lnTo>
                      <a:pt x="3390" y="1872"/>
                    </a:lnTo>
                    <a:lnTo>
                      <a:pt x="3426" y="1890"/>
                    </a:lnTo>
                    <a:lnTo>
                      <a:pt x="3456" y="1902"/>
                    </a:lnTo>
                    <a:lnTo>
                      <a:pt x="3486" y="1920"/>
                    </a:lnTo>
                    <a:lnTo>
                      <a:pt x="3498" y="1926"/>
                    </a:lnTo>
                    <a:lnTo>
                      <a:pt x="3516" y="1938"/>
                    </a:lnTo>
                    <a:lnTo>
                      <a:pt x="3546" y="1968"/>
                    </a:lnTo>
                    <a:lnTo>
                      <a:pt x="3618" y="2028"/>
                    </a:lnTo>
                    <a:lnTo>
                      <a:pt x="3636" y="2052"/>
                    </a:lnTo>
                    <a:lnTo>
                      <a:pt x="3672" y="2088"/>
                    </a:lnTo>
                    <a:lnTo>
                      <a:pt x="3684" y="2106"/>
                    </a:lnTo>
                    <a:lnTo>
                      <a:pt x="3696" y="2118"/>
                    </a:lnTo>
                    <a:lnTo>
                      <a:pt x="3708" y="2124"/>
                    </a:lnTo>
                    <a:lnTo>
                      <a:pt x="3720" y="2124"/>
                    </a:lnTo>
                    <a:lnTo>
                      <a:pt x="3732" y="2118"/>
                    </a:lnTo>
                    <a:lnTo>
                      <a:pt x="3744" y="2106"/>
                    </a:lnTo>
                    <a:lnTo>
                      <a:pt x="3744" y="2094"/>
                    </a:lnTo>
                    <a:lnTo>
                      <a:pt x="3750" y="2088"/>
                    </a:lnTo>
                    <a:lnTo>
                      <a:pt x="3750" y="2082"/>
                    </a:lnTo>
                    <a:lnTo>
                      <a:pt x="3762" y="2082"/>
                    </a:lnTo>
                    <a:lnTo>
                      <a:pt x="3768" y="2088"/>
                    </a:lnTo>
                    <a:lnTo>
                      <a:pt x="3768" y="2100"/>
                    </a:lnTo>
                    <a:lnTo>
                      <a:pt x="3774" y="2106"/>
                    </a:lnTo>
                    <a:lnTo>
                      <a:pt x="3774" y="2112"/>
                    </a:lnTo>
                    <a:lnTo>
                      <a:pt x="3804" y="2112"/>
                    </a:lnTo>
                    <a:lnTo>
                      <a:pt x="3816" y="2118"/>
                    </a:lnTo>
                    <a:lnTo>
                      <a:pt x="3822" y="2130"/>
                    </a:lnTo>
                    <a:lnTo>
                      <a:pt x="3834" y="2136"/>
                    </a:lnTo>
                    <a:lnTo>
                      <a:pt x="3858" y="2136"/>
                    </a:lnTo>
                    <a:lnTo>
                      <a:pt x="3864" y="2124"/>
                    </a:lnTo>
                    <a:lnTo>
                      <a:pt x="3876" y="2118"/>
                    </a:lnTo>
                    <a:lnTo>
                      <a:pt x="3894" y="2112"/>
                    </a:lnTo>
                    <a:lnTo>
                      <a:pt x="3906" y="2106"/>
                    </a:lnTo>
                    <a:lnTo>
                      <a:pt x="3924" y="2106"/>
                    </a:lnTo>
                    <a:lnTo>
                      <a:pt x="3948" y="2118"/>
                    </a:lnTo>
                    <a:lnTo>
                      <a:pt x="3972" y="2142"/>
                    </a:lnTo>
                    <a:lnTo>
                      <a:pt x="3984" y="2148"/>
                    </a:lnTo>
                    <a:lnTo>
                      <a:pt x="3990" y="2160"/>
                    </a:lnTo>
                    <a:lnTo>
                      <a:pt x="4002" y="2160"/>
                    </a:lnTo>
                    <a:lnTo>
                      <a:pt x="4014" y="2166"/>
                    </a:lnTo>
                    <a:lnTo>
                      <a:pt x="4026" y="2166"/>
                    </a:lnTo>
                    <a:lnTo>
                      <a:pt x="4038" y="2172"/>
                    </a:lnTo>
                    <a:lnTo>
                      <a:pt x="4044" y="2172"/>
                    </a:lnTo>
                    <a:lnTo>
                      <a:pt x="4044" y="2178"/>
                    </a:lnTo>
                    <a:lnTo>
                      <a:pt x="4050" y="2190"/>
                    </a:lnTo>
                    <a:lnTo>
                      <a:pt x="4056" y="2196"/>
                    </a:lnTo>
                    <a:lnTo>
                      <a:pt x="4062" y="2208"/>
                    </a:lnTo>
                    <a:lnTo>
                      <a:pt x="4068" y="2214"/>
                    </a:lnTo>
                    <a:lnTo>
                      <a:pt x="4068" y="2220"/>
                    </a:lnTo>
                    <a:lnTo>
                      <a:pt x="4140" y="2226"/>
                    </a:lnTo>
                    <a:lnTo>
                      <a:pt x="4152" y="2190"/>
                    </a:lnTo>
                    <a:lnTo>
                      <a:pt x="4176" y="2214"/>
                    </a:lnTo>
                    <a:lnTo>
                      <a:pt x="4212" y="2256"/>
                    </a:lnTo>
                    <a:lnTo>
                      <a:pt x="4254" y="2256"/>
                    </a:lnTo>
                    <a:lnTo>
                      <a:pt x="4266" y="2244"/>
                    </a:lnTo>
                    <a:lnTo>
                      <a:pt x="4266" y="2226"/>
                    </a:lnTo>
                    <a:lnTo>
                      <a:pt x="4326" y="2226"/>
                    </a:lnTo>
                    <a:lnTo>
                      <a:pt x="4320" y="2214"/>
                    </a:lnTo>
                    <a:lnTo>
                      <a:pt x="4344" y="2214"/>
                    </a:lnTo>
                    <a:lnTo>
                      <a:pt x="4338" y="2208"/>
                    </a:lnTo>
                    <a:lnTo>
                      <a:pt x="4338" y="2202"/>
                    </a:lnTo>
                    <a:lnTo>
                      <a:pt x="4374" y="2166"/>
                    </a:lnTo>
                    <a:lnTo>
                      <a:pt x="4392" y="2166"/>
                    </a:lnTo>
                    <a:lnTo>
                      <a:pt x="4404" y="2148"/>
                    </a:lnTo>
                    <a:lnTo>
                      <a:pt x="4428" y="2148"/>
                    </a:lnTo>
                    <a:lnTo>
                      <a:pt x="4428" y="2142"/>
                    </a:lnTo>
                    <a:lnTo>
                      <a:pt x="4434" y="2136"/>
                    </a:lnTo>
                    <a:lnTo>
                      <a:pt x="4434" y="2130"/>
                    </a:lnTo>
                    <a:lnTo>
                      <a:pt x="4440" y="2124"/>
                    </a:lnTo>
                    <a:lnTo>
                      <a:pt x="4458" y="2124"/>
                    </a:lnTo>
                    <a:lnTo>
                      <a:pt x="4464" y="2130"/>
                    </a:lnTo>
                    <a:lnTo>
                      <a:pt x="4482" y="2124"/>
                    </a:lnTo>
                    <a:lnTo>
                      <a:pt x="4482" y="2130"/>
                    </a:lnTo>
                    <a:lnTo>
                      <a:pt x="4518" y="2130"/>
                    </a:lnTo>
                    <a:lnTo>
                      <a:pt x="4524" y="2148"/>
                    </a:lnTo>
                    <a:lnTo>
                      <a:pt x="4548" y="2148"/>
                    </a:lnTo>
                    <a:lnTo>
                      <a:pt x="4566" y="2142"/>
                    </a:lnTo>
                    <a:lnTo>
                      <a:pt x="4608" y="2142"/>
                    </a:lnTo>
                    <a:lnTo>
                      <a:pt x="4608" y="2148"/>
                    </a:lnTo>
                    <a:lnTo>
                      <a:pt x="4614" y="2154"/>
                    </a:lnTo>
                    <a:lnTo>
                      <a:pt x="4614" y="2166"/>
                    </a:lnTo>
                    <a:lnTo>
                      <a:pt x="4620" y="2172"/>
                    </a:lnTo>
                    <a:lnTo>
                      <a:pt x="4638" y="2178"/>
                    </a:lnTo>
                    <a:lnTo>
                      <a:pt x="4668" y="2178"/>
                    </a:lnTo>
                    <a:lnTo>
                      <a:pt x="4674" y="2190"/>
                    </a:lnTo>
                    <a:lnTo>
                      <a:pt x="4698" y="2184"/>
                    </a:lnTo>
                    <a:lnTo>
                      <a:pt x="4704" y="2196"/>
                    </a:lnTo>
                    <a:lnTo>
                      <a:pt x="4704" y="2190"/>
                    </a:lnTo>
                    <a:lnTo>
                      <a:pt x="4710" y="2184"/>
                    </a:lnTo>
                    <a:lnTo>
                      <a:pt x="4752" y="2184"/>
                    </a:lnTo>
                    <a:lnTo>
                      <a:pt x="4752" y="2196"/>
                    </a:lnTo>
                    <a:lnTo>
                      <a:pt x="4800" y="2190"/>
                    </a:lnTo>
                    <a:lnTo>
                      <a:pt x="4800" y="2202"/>
                    </a:lnTo>
                    <a:lnTo>
                      <a:pt x="4806" y="2208"/>
                    </a:lnTo>
                    <a:lnTo>
                      <a:pt x="4830" y="2196"/>
                    </a:lnTo>
                    <a:lnTo>
                      <a:pt x="4836" y="2190"/>
                    </a:lnTo>
                    <a:lnTo>
                      <a:pt x="4836" y="2184"/>
                    </a:lnTo>
                    <a:lnTo>
                      <a:pt x="4854" y="2184"/>
                    </a:lnTo>
                    <a:lnTo>
                      <a:pt x="4854" y="2160"/>
                    </a:lnTo>
                    <a:lnTo>
                      <a:pt x="4848" y="2148"/>
                    </a:lnTo>
                    <a:lnTo>
                      <a:pt x="4842" y="2142"/>
                    </a:lnTo>
                    <a:lnTo>
                      <a:pt x="4836" y="2142"/>
                    </a:lnTo>
                    <a:lnTo>
                      <a:pt x="4812" y="2106"/>
                    </a:lnTo>
                    <a:lnTo>
                      <a:pt x="4806" y="2088"/>
                    </a:lnTo>
                    <a:lnTo>
                      <a:pt x="4794" y="2076"/>
                    </a:lnTo>
                    <a:lnTo>
                      <a:pt x="4794" y="2064"/>
                    </a:lnTo>
                    <a:lnTo>
                      <a:pt x="4812" y="2064"/>
                    </a:lnTo>
                    <a:lnTo>
                      <a:pt x="4806" y="2052"/>
                    </a:lnTo>
                    <a:lnTo>
                      <a:pt x="4812" y="2052"/>
                    </a:lnTo>
                    <a:lnTo>
                      <a:pt x="4824" y="2046"/>
                    </a:lnTo>
                    <a:lnTo>
                      <a:pt x="4830" y="2034"/>
                    </a:lnTo>
                    <a:lnTo>
                      <a:pt x="4830" y="2016"/>
                    </a:lnTo>
                    <a:lnTo>
                      <a:pt x="4890" y="2046"/>
                    </a:lnTo>
                    <a:lnTo>
                      <a:pt x="4902" y="2046"/>
                    </a:lnTo>
                    <a:lnTo>
                      <a:pt x="4926" y="2052"/>
                    </a:lnTo>
                    <a:lnTo>
                      <a:pt x="4962" y="2052"/>
                    </a:lnTo>
                    <a:lnTo>
                      <a:pt x="4974" y="2058"/>
                    </a:lnTo>
                    <a:lnTo>
                      <a:pt x="4980" y="2064"/>
                    </a:lnTo>
                    <a:lnTo>
                      <a:pt x="5004" y="2076"/>
                    </a:lnTo>
                    <a:lnTo>
                      <a:pt x="5010" y="2076"/>
                    </a:lnTo>
                    <a:lnTo>
                      <a:pt x="5022" y="2070"/>
                    </a:lnTo>
                    <a:lnTo>
                      <a:pt x="5040" y="2070"/>
                    </a:lnTo>
                    <a:lnTo>
                      <a:pt x="5052" y="2076"/>
                    </a:lnTo>
                    <a:lnTo>
                      <a:pt x="5058" y="2082"/>
                    </a:lnTo>
                    <a:lnTo>
                      <a:pt x="5064" y="2094"/>
                    </a:lnTo>
                    <a:lnTo>
                      <a:pt x="5076" y="2106"/>
                    </a:lnTo>
                    <a:lnTo>
                      <a:pt x="5088" y="2130"/>
                    </a:lnTo>
                    <a:lnTo>
                      <a:pt x="5094" y="2136"/>
                    </a:lnTo>
                    <a:lnTo>
                      <a:pt x="5094" y="2142"/>
                    </a:lnTo>
                    <a:lnTo>
                      <a:pt x="5118" y="2136"/>
                    </a:lnTo>
                    <a:lnTo>
                      <a:pt x="5118" y="2142"/>
                    </a:lnTo>
                    <a:lnTo>
                      <a:pt x="5136" y="2160"/>
                    </a:lnTo>
                    <a:lnTo>
                      <a:pt x="5166" y="2160"/>
                    </a:lnTo>
                    <a:lnTo>
                      <a:pt x="5172" y="2166"/>
                    </a:lnTo>
                    <a:lnTo>
                      <a:pt x="5184" y="2166"/>
                    </a:lnTo>
                    <a:lnTo>
                      <a:pt x="5196" y="2172"/>
                    </a:lnTo>
                    <a:lnTo>
                      <a:pt x="5208" y="2172"/>
                    </a:lnTo>
                    <a:lnTo>
                      <a:pt x="5220" y="2166"/>
                    </a:lnTo>
                    <a:lnTo>
                      <a:pt x="5274" y="2148"/>
                    </a:lnTo>
                    <a:lnTo>
                      <a:pt x="5322" y="2148"/>
                    </a:lnTo>
                    <a:lnTo>
                      <a:pt x="5334" y="2154"/>
                    </a:lnTo>
                    <a:lnTo>
                      <a:pt x="5340" y="2154"/>
                    </a:lnTo>
                    <a:lnTo>
                      <a:pt x="5346" y="2160"/>
                    </a:lnTo>
                    <a:lnTo>
                      <a:pt x="5382" y="2160"/>
                    </a:lnTo>
                    <a:lnTo>
                      <a:pt x="5406" y="2184"/>
                    </a:lnTo>
                    <a:lnTo>
                      <a:pt x="5466" y="2184"/>
                    </a:lnTo>
                    <a:lnTo>
                      <a:pt x="5472" y="2190"/>
                    </a:lnTo>
                    <a:lnTo>
                      <a:pt x="5472" y="2196"/>
                    </a:lnTo>
                    <a:lnTo>
                      <a:pt x="5484" y="2208"/>
                    </a:lnTo>
                    <a:lnTo>
                      <a:pt x="5484" y="2214"/>
                    </a:lnTo>
                    <a:lnTo>
                      <a:pt x="5502" y="2214"/>
                    </a:lnTo>
                    <a:lnTo>
                      <a:pt x="5514" y="2220"/>
                    </a:lnTo>
                    <a:lnTo>
                      <a:pt x="5514" y="2232"/>
                    </a:lnTo>
                    <a:lnTo>
                      <a:pt x="5520" y="2238"/>
                    </a:lnTo>
                    <a:lnTo>
                      <a:pt x="5586" y="2238"/>
                    </a:lnTo>
                    <a:lnTo>
                      <a:pt x="5592" y="2244"/>
                    </a:lnTo>
                    <a:lnTo>
                      <a:pt x="5598" y="2244"/>
                    </a:lnTo>
                    <a:lnTo>
                      <a:pt x="5610" y="2250"/>
                    </a:lnTo>
                    <a:lnTo>
                      <a:pt x="5634" y="2250"/>
                    </a:lnTo>
                    <a:lnTo>
                      <a:pt x="5646" y="2244"/>
                    </a:lnTo>
                    <a:lnTo>
                      <a:pt x="5664" y="2244"/>
                    </a:lnTo>
                    <a:lnTo>
                      <a:pt x="5670" y="2250"/>
                    </a:lnTo>
                    <a:lnTo>
                      <a:pt x="5670" y="2256"/>
                    </a:lnTo>
                    <a:lnTo>
                      <a:pt x="5676" y="2256"/>
                    </a:lnTo>
                    <a:lnTo>
                      <a:pt x="5694" y="2238"/>
                    </a:lnTo>
                    <a:lnTo>
                      <a:pt x="5694" y="2232"/>
                    </a:lnTo>
                    <a:lnTo>
                      <a:pt x="5742" y="2232"/>
                    </a:lnTo>
                    <a:lnTo>
                      <a:pt x="5754" y="2220"/>
                    </a:lnTo>
                    <a:lnTo>
                      <a:pt x="5790" y="2220"/>
                    </a:lnTo>
                    <a:lnTo>
                      <a:pt x="5802" y="2208"/>
                    </a:lnTo>
                    <a:lnTo>
                      <a:pt x="5802" y="2196"/>
                    </a:lnTo>
                    <a:lnTo>
                      <a:pt x="5832" y="2166"/>
                    </a:lnTo>
                    <a:lnTo>
                      <a:pt x="5850" y="2166"/>
                    </a:lnTo>
                    <a:lnTo>
                      <a:pt x="5862" y="2172"/>
                    </a:lnTo>
                    <a:lnTo>
                      <a:pt x="5898" y="2172"/>
                    </a:lnTo>
                    <a:lnTo>
                      <a:pt x="5916" y="2190"/>
                    </a:lnTo>
                    <a:lnTo>
                      <a:pt x="5928" y="2196"/>
                    </a:lnTo>
                    <a:lnTo>
                      <a:pt x="5952" y="2196"/>
                    </a:lnTo>
                    <a:lnTo>
                      <a:pt x="5964" y="2190"/>
                    </a:lnTo>
                    <a:lnTo>
                      <a:pt x="5970" y="2184"/>
                    </a:lnTo>
                    <a:lnTo>
                      <a:pt x="5994" y="2190"/>
                    </a:lnTo>
                    <a:lnTo>
                      <a:pt x="6012" y="2190"/>
                    </a:lnTo>
                    <a:lnTo>
                      <a:pt x="6048" y="2214"/>
                    </a:lnTo>
                    <a:lnTo>
                      <a:pt x="6084" y="2214"/>
                    </a:lnTo>
                    <a:lnTo>
                      <a:pt x="6090" y="2220"/>
                    </a:lnTo>
                    <a:lnTo>
                      <a:pt x="6102" y="2220"/>
                    </a:lnTo>
                    <a:lnTo>
                      <a:pt x="6120" y="2202"/>
                    </a:lnTo>
                    <a:lnTo>
                      <a:pt x="6120" y="2190"/>
                    </a:lnTo>
                    <a:lnTo>
                      <a:pt x="6144" y="2190"/>
                    </a:lnTo>
                    <a:lnTo>
                      <a:pt x="6156" y="2184"/>
                    </a:lnTo>
                    <a:lnTo>
                      <a:pt x="6162" y="2178"/>
                    </a:lnTo>
                    <a:lnTo>
                      <a:pt x="6162" y="2166"/>
                    </a:lnTo>
                    <a:lnTo>
                      <a:pt x="6150" y="2166"/>
                    </a:lnTo>
                    <a:lnTo>
                      <a:pt x="6144" y="2160"/>
                    </a:lnTo>
                    <a:lnTo>
                      <a:pt x="6138" y="2118"/>
                    </a:lnTo>
                    <a:lnTo>
                      <a:pt x="6138" y="2046"/>
                    </a:lnTo>
                    <a:lnTo>
                      <a:pt x="6156" y="2028"/>
                    </a:lnTo>
                    <a:lnTo>
                      <a:pt x="6156" y="2016"/>
                    </a:lnTo>
                    <a:lnTo>
                      <a:pt x="6150" y="2010"/>
                    </a:lnTo>
                    <a:lnTo>
                      <a:pt x="6138" y="2004"/>
                    </a:lnTo>
                    <a:lnTo>
                      <a:pt x="6126" y="1992"/>
                    </a:lnTo>
                    <a:lnTo>
                      <a:pt x="6114" y="1992"/>
                    </a:lnTo>
                    <a:lnTo>
                      <a:pt x="6108" y="1986"/>
                    </a:lnTo>
                    <a:lnTo>
                      <a:pt x="6096" y="1986"/>
                    </a:lnTo>
                    <a:lnTo>
                      <a:pt x="6078" y="1980"/>
                    </a:lnTo>
                    <a:lnTo>
                      <a:pt x="6072" y="1980"/>
                    </a:lnTo>
                    <a:lnTo>
                      <a:pt x="6072" y="1968"/>
                    </a:lnTo>
                    <a:lnTo>
                      <a:pt x="6078" y="1968"/>
                    </a:lnTo>
                    <a:lnTo>
                      <a:pt x="6120" y="1926"/>
                    </a:lnTo>
                    <a:lnTo>
                      <a:pt x="6156" y="1920"/>
                    </a:lnTo>
                    <a:lnTo>
                      <a:pt x="6162" y="1908"/>
                    </a:lnTo>
                    <a:lnTo>
                      <a:pt x="6204" y="1914"/>
                    </a:lnTo>
                    <a:lnTo>
                      <a:pt x="6258" y="1902"/>
                    </a:lnTo>
                    <a:lnTo>
                      <a:pt x="6294" y="1920"/>
                    </a:lnTo>
                    <a:lnTo>
                      <a:pt x="6330" y="1944"/>
                    </a:lnTo>
                    <a:lnTo>
                      <a:pt x="6402" y="1944"/>
                    </a:lnTo>
                    <a:lnTo>
                      <a:pt x="6408" y="1950"/>
                    </a:lnTo>
                    <a:lnTo>
                      <a:pt x="6420" y="1956"/>
                    </a:lnTo>
                    <a:lnTo>
                      <a:pt x="6426" y="1962"/>
                    </a:lnTo>
                    <a:lnTo>
                      <a:pt x="6438" y="1968"/>
                    </a:lnTo>
                    <a:lnTo>
                      <a:pt x="6438" y="1980"/>
                    </a:lnTo>
                    <a:lnTo>
                      <a:pt x="6444" y="1980"/>
                    </a:lnTo>
                    <a:lnTo>
                      <a:pt x="6456" y="1992"/>
                    </a:lnTo>
                    <a:lnTo>
                      <a:pt x="6468" y="1998"/>
                    </a:lnTo>
                    <a:lnTo>
                      <a:pt x="6480" y="2010"/>
                    </a:lnTo>
                    <a:lnTo>
                      <a:pt x="6492" y="2010"/>
                    </a:lnTo>
                    <a:lnTo>
                      <a:pt x="6498" y="2016"/>
                    </a:lnTo>
                    <a:lnTo>
                      <a:pt x="6504" y="2016"/>
                    </a:lnTo>
                    <a:lnTo>
                      <a:pt x="6510" y="2046"/>
                    </a:lnTo>
                    <a:lnTo>
                      <a:pt x="6558" y="2070"/>
                    </a:lnTo>
                    <a:lnTo>
                      <a:pt x="6570" y="2100"/>
                    </a:lnTo>
                    <a:lnTo>
                      <a:pt x="6582" y="2100"/>
                    </a:lnTo>
                    <a:lnTo>
                      <a:pt x="6630" y="2124"/>
                    </a:lnTo>
                    <a:lnTo>
                      <a:pt x="6636" y="2136"/>
                    </a:lnTo>
                    <a:lnTo>
                      <a:pt x="6654" y="2154"/>
                    </a:lnTo>
                    <a:lnTo>
                      <a:pt x="6660" y="2166"/>
                    </a:lnTo>
                    <a:lnTo>
                      <a:pt x="6672" y="2166"/>
                    </a:lnTo>
                    <a:lnTo>
                      <a:pt x="6678" y="2190"/>
                    </a:lnTo>
                    <a:lnTo>
                      <a:pt x="6684" y="2190"/>
                    </a:lnTo>
                    <a:lnTo>
                      <a:pt x="6690" y="2196"/>
                    </a:lnTo>
                    <a:lnTo>
                      <a:pt x="6714" y="2208"/>
                    </a:lnTo>
                    <a:lnTo>
                      <a:pt x="6720" y="2214"/>
                    </a:lnTo>
                    <a:lnTo>
                      <a:pt x="6732" y="2220"/>
                    </a:lnTo>
                    <a:lnTo>
                      <a:pt x="6780" y="2220"/>
                    </a:lnTo>
                    <a:lnTo>
                      <a:pt x="6792" y="2226"/>
                    </a:lnTo>
                    <a:lnTo>
                      <a:pt x="6798" y="2232"/>
                    </a:lnTo>
                    <a:lnTo>
                      <a:pt x="6810" y="2238"/>
                    </a:lnTo>
                    <a:lnTo>
                      <a:pt x="6822" y="2226"/>
                    </a:lnTo>
                    <a:lnTo>
                      <a:pt x="6834" y="2226"/>
                    </a:lnTo>
                    <a:lnTo>
                      <a:pt x="6852" y="2244"/>
                    </a:lnTo>
                    <a:lnTo>
                      <a:pt x="6864" y="2250"/>
                    </a:lnTo>
                    <a:lnTo>
                      <a:pt x="6882" y="2268"/>
                    </a:lnTo>
                    <a:lnTo>
                      <a:pt x="6924" y="2268"/>
                    </a:lnTo>
                    <a:lnTo>
                      <a:pt x="6942" y="2298"/>
                    </a:lnTo>
                    <a:lnTo>
                      <a:pt x="6960" y="2298"/>
                    </a:lnTo>
                    <a:lnTo>
                      <a:pt x="6966" y="2304"/>
                    </a:lnTo>
                    <a:lnTo>
                      <a:pt x="6966" y="2310"/>
                    </a:lnTo>
                    <a:lnTo>
                      <a:pt x="6972" y="2322"/>
                    </a:lnTo>
                    <a:lnTo>
                      <a:pt x="6972" y="2334"/>
                    </a:lnTo>
                    <a:lnTo>
                      <a:pt x="7014" y="2364"/>
                    </a:lnTo>
                    <a:lnTo>
                      <a:pt x="7038" y="2358"/>
                    </a:lnTo>
                    <a:lnTo>
                      <a:pt x="7050" y="2370"/>
                    </a:lnTo>
                    <a:lnTo>
                      <a:pt x="7068" y="2370"/>
                    </a:lnTo>
                    <a:lnTo>
                      <a:pt x="7068" y="2358"/>
                    </a:lnTo>
                    <a:lnTo>
                      <a:pt x="7098" y="2364"/>
                    </a:lnTo>
                    <a:lnTo>
                      <a:pt x="7098" y="2346"/>
                    </a:lnTo>
                    <a:lnTo>
                      <a:pt x="7104" y="2340"/>
                    </a:lnTo>
                    <a:lnTo>
                      <a:pt x="7110" y="2340"/>
                    </a:lnTo>
                    <a:lnTo>
                      <a:pt x="7122" y="2334"/>
                    </a:lnTo>
                    <a:lnTo>
                      <a:pt x="7152" y="2334"/>
                    </a:lnTo>
                    <a:lnTo>
                      <a:pt x="7158" y="2310"/>
                    </a:lnTo>
                    <a:lnTo>
                      <a:pt x="7200" y="2310"/>
                    </a:lnTo>
                    <a:lnTo>
                      <a:pt x="7212" y="2316"/>
                    </a:lnTo>
                    <a:lnTo>
                      <a:pt x="7218" y="2328"/>
                    </a:lnTo>
                    <a:lnTo>
                      <a:pt x="7218" y="2346"/>
                    </a:lnTo>
                    <a:lnTo>
                      <a:pt x="7242" y="2358"/>
                    </a:lnTo>
                    <a:lnTo>
                      <a:pt x="7242" y="2388"/>
                    </a:lnTo>
                    <a:lnTo>
                      <a:pt x="7224" y="2394"/>
                    </a:lnTo>
                    <a:lnTo>
                      <a:pt x="7236" y="2412"/>
                    </a:lnTo>
                    <a:lnTo>
                      <a:pt x="7236" y="2430"/>
                    </a:lnTo>
                    <a:lnTo>
                      <a:pt x="7248" y="2442"/>
                    </a:lnTo>
                    <a:lnTo>
                      <a:pt x="7248" y="2466"/>
                    </a:lnTo>
                    <a:lnTo>
                      <a:pt x="7266" y="2472"/>
                    </a:lnTo>
                    <a:lnTo>
                      <a:pt x="7260" y="2502"/>
                    </a:lnTo>
                    <a:lnTo>
                      <a:pt x="7266" y="2526"/>
                    </a:lnTo>
                    <a:lnTo>
                      <a:pt x="7260" y="2532"/>
                    </a:lnTo>
                    <a:lnTo>
                      <a:pt x="7254" y="2532"/>
                    </a:lnTo>
                    <a:lnTo>
                      <a:pt x="7254" y="2550"/>
                    </a:lnTo>
                    <a:lnTo>
                      <a:pt x="7260" y="2562"/>
                    </a:lnTo>
                    <a:lnTo>
                      <a:pt x="7260" y="2574"/>
                    </a:lnTo>
                    <a:lnTo>
                      <a:pt x="7254" y="2580"/>
                    </a:lnTo>
                    <a:lnTo>
                      <a:pt x="7248" y="2580"/>
                    </a:lnTo>
                    <a:lnTo>
                      <a:pt x="7236" y="2574"/>
                    </a:lnTo>
                    <a:lnTo>
                      <a:pt x="7224" y="2574"/>
                    </a:lnTo>
                    <a:lnTo>
                      <a:pt x="7206" y="2568"/>
                    </a:lnTo>
                    <a:lnTo>
                      <a:pt x="7194" y="2562"/>
                    </a:lnTo>
                    <a:lnTo>
                      <a:pt x="7170" y="2562"/>
                    </a:lnTo>
                    <a:lnTo>
                      <a:pt x="7164" y="2568"/>
                    </a:lnTo>
                    <a:lnTo>
                      <a:pt x="7170" y="2574"/>
                    </a:lnTo>
                    <a:lnTo>
                      <a:pt x="7170" y="2586"/>
                    </a:lnTo>
                    <a:lnTo>
                      <a:pt x="7146" y="2586"/>
                    </a:lnTo>
                    <a:lnTo>
                      <a:pt x="7146" y="2598"/>
                    </a:lnTo>
                    <a:lnTo>
                      <a:pt x="7152" y="2610"/>
                    </a:lnTo>
                    <a:lnTo>
                      <a:pt x="7158" y="2610"/>
                    </a:lnTo>
                    <a:lnTo>
                      <a:pt x="7170" y="2622"/>
                    </a:lnTo>
                    <a:lnTo>
                      <a:pt x="7182" y="2628"/>
                    </a:lnTo>
                    <a:lnTo>
                      <a:pt x="7194" y="2646"/>
                    </a:lnTo>
                    <a:lnTo>
                      <a:pt x="7206" y="2658"/>
                    </a:lnTo>
                    <a:lnTo>
                      <a:pt x="7212" y="2676"/>
                    </a:lnTo>
                    <a:lnTo>
                      <a:pt x="7212" y="2688"/>
                    </a:lnTo>
                    <a:lnTo>
                      <a:pt x="7224" y="2700"/>
                    </a:lnTo>
                    <a:lnTo>
                      <a:pt x="7230" y="2712"/>
                    </a:lnTo>
                    <a:lnTo>
                      <a:pt x="7236" y="2748"/>
                    </a:lnTo>
                    <a:lnTo>
                      <a:pt x="7206" y="2742"/>
                    </a:lnTo>
                    <a:lnTo>
                      <a:pt x="7200" y="2766"/>
                    </a:lnTo>
                    <a:lnTo>
                      <a:pt x="7224" y="2778"/>
                    </a:lnTo>
                    <a:lnTo>
                      <a:pt x="7260" y="2778"/>
                    </a:lnTo>
                    <a:lnTo>
                      <a:pt x="7260" y="2718"/>
                    </a:lnTo>
                    <a:lnTo>
                      <a:pt x="7266" y="2712"/>
                    </a:lnTo>
                    <a:lnTo>
                      <a:pt x="7272" y="2712"/>
                    </a:lnTo>
                    <a:lnTo>
                      <a:pt x="7284" y="2718"/>
                    </a:lnTo>
                    <a:lnTo>
                      <a:pt x="7290" y="2724"/>
                    </a:lnTo>
                    <a:lnTo>
                      <a:pt x="7302" y="2712"/>
                    </a:lnTo>
                    <a:lnTo>
                      <a:pt x="7308" y="2724"/>
                    </a:lnTo>
                    <a:lnTo>
                      <a:pt x="7314" y="2730"/>
                    </a:lnTo>
                    <a:lnTo>
                      <a:pt x="7320" y="2742"/>
                    </a:lnTo>
                    <a:lnTo>
                      <a:pt x="7332" y="2754"/>
                    </a:lnTo>
                    <a:lnTo>
                      <a:pt x="7344" y="2754"/>
                    </a:lnTo>
                    <a:lnTo>
                      <a:pt x="7356" y="2748"/>
                    </a:lnTo>
                    <a:lnTo>
                      <a:pt x="7368" y="2748"/>
                    </a:lnTo>
                    <a:lnTo>
                      <a:pt x="7374" y="2742"/>
                    </a:lnTo>
                    <a:lnTo>
                      <a:pt x="7380" y="2742"/>
                    </a:lnTo>
                    <a:lnTo>
                      <a:pt x="7380" y="2760"/>
                    </a:lnTo>
                    <a:lnTo>
                      <a:pt x="7386" y="2760"/>
                    </a:lnTo>
                    <a:lnTo>
                      <a:pt x="7392" y="2754"/>
                    </a:lnTo>
                    <a:lnTo>
                      <a:pt x="7404" y="2748"/>
                    </a:lnTo>
                    <a:lnTo>
                      <a:pt x="7422" y="2742"/>
                    </a:lnTo>
                    <a:lnTo>
                      <a:pt x="7440" y="2730"/>
                    </a:lnTo>
                    <a:lnTo>
                      <a:pt x="7452" y="2724"/>
                    </a:lnTo>
                    <a:lnTo>
                      <a:pt x="7464" y="2700"/>
                    </a:lnTo>
                    <a:lnTo>
                      <a:pt x="7464" y="2682"/>
                    </a:lnTo>
                    <a:lnTo>
                      <a:pt x="7470" y="2664"/>
                    </a:lnTo>
                    <a:lnTo>
                      <a:pt x="7470" y="2628"/>
                    </a:lnTo>
                    <a:lnTo>
                      <a:pt x="7494" y="2622"/>
                    </a:lnTo>
                    <a:lnTo>
                      <a:pt x="7494" y="2562"/>
                    </a:lnTo>
                    <a:lnTo>
                      <a:pt x="7500" y="2550"/>
                    </a:lnTo>
                    <a:lnTo>
                      <a:pt x="7506" y="2544"/>
                    </a:lnTo>
                    <a:lnTo>
                      <a:pt x="7518" y="2520"/>
                    </a:lnTo>
                    <a:lnTo>
                      <a:pt x="7518" y="2490"/>
                    </a:lnTo>
                    <a:lnTo>
                      <a:pt x="7524" y="2472"/>
                    </a:lnTo>
                    <a:lnTo>
                      <a:pt x="7524" y="2454"/>
                    </a:lnTo>
                    <a:lnTo>
                      <a:pt x="7518" y="2442"/>
                    </a:lnTo>
                    <a:lnTo>
                      <a:pt x="7518" y="2424"/>
                    </a:lnTo>
                    <a:lnTo>
                      <a:pt x="7512" y="2418"/>
                    </a:lnTo>
                    <a:lnTo>
                      <a:pt x="7512" y="2412"/>
                    </a:lnTo>
                    <a:lnTo>
                      <a:pt x="7518" y="2400"/>
                    </a:lnTo>
                    <a:lnTo>
                      <a:pt x="7524" y="2394"/>
                    </a:lnTo>
                    <a:lnTo>
                      <a:pt x="7524" y="2382"/>
                    </a:lnTo>
                    <a:lnTo>
                      <a:pt x="7530" y="2376"/>
                    </a:lnTo>
                    <a:lnTo>
                      <a:pt x="7530" y="2364"/>
                    </a:lnTo>
                    <a:lnTo>
                      <a:pt x="7524" y="2358"/>
                    </a:lnTo>
                    <a:lnTo>
                      <a:pt x="7518" y="2346"/>
                    </a:lnTo>
                    <a:lnTo>
                      <a:pt x="7524" y="2334"/>
                    </a:lnTo>
                    <a:lnTo>
                      <a:pt x="7530" y="2328"/>
                    </a:lnTo>
                    <a:lnTo>
                      <a:pt x="7536" y="2316"/>
                    </a:lnTo>
                    <a:lnTo>
                      <a:pt x="7536" y="2298"/>
                    </a:lnTo>
                    <a:lnTo>
                      <a:pt x="7530" y="2292"/>
                    </a:lnTo>
                    <a:lnTo>
                      <a:pt x="7530" y="2280"/>
                    </a:lnTo>
                    <a:lnTo>
                      <a:pt x="7518" y="2256"/>
                    </a:lnTo>
                    <a:lnTo>
                      <a:pt x="7512" y="2250"/>
                    </a:lnTo>
                    <a:lnTo>
                      <a:pt x="7512" y="2238"/>
                    </a:lnTo>
                    <a:lnTo>
                      <a:pt x="7506" y="2232"/>
                    </a:lnTo>
                    <a:lnTo>
                      <a:pt x="7506" y="2220"/>
                    </a:lnTo>
                    <a:lnTo>
                      <a:pt x="7500" y="2214"/>
                    </a:lnTo>
                    <a:lnTo>
                      <a:pt x="7500" y="2202"/>
                    </a:lnTo>
                    <a:lnTo>
                      <a:pt x="7494" y="2196"/>
                    </a:lnTo>
                    <a:lnTo>
                      <a:pt x="7482" y="2190"/>
                    </a:lnTo>
                    <a:lnTo>
                      <a:pt x="7476" y="2184"/>
                    </a:lnTo>
                    <a:lnTo>
                      <a:pt x="7482" y="2178"/>
                    </a:lnTo>
                    <a:lnTo>
                      <a:pt x="7476" y="2178"/>
                    </a:lnTo>
                    <a:lnTo>
                      <a:pt x="7470" y="2172"/>
                    </a:lnTo>
                    <a:lnTo>
                      <a:pt x="7458" y="2166"/>
                    </a:lnTo>
                    <a:lnTo>
                      <a:pt x="7446" y="2154"/>
                    </a:lnTo>
                    <a:lnTo>
                      <a:pt x="7440" y="2142"/>
                    </a:lnTo>
                    <a:lnTo>
                      <a:pt x="7434" y="2124"/>
                    </a:lnTo>
                    <a:lnTo>
                      <a:pt x="7434" y="2112"/>
                    </a:lnTo>
                    <a:lnTo>
                      <a:pt x="7428" y="2106"/>
                    </a:lnTo>
                    <a:lnTo>
                      <a:pt x="7428" y="2100"/>
                    </a:lnTo>
                    <a:lnTo>
                      <a:pt x="7416" y="2094"/>
                    </a:lnTo>
                    <a:lnTo>
                      <a:pt x="7416" y="2082"/>
                    </a:lnTo>
                    <a:lnTo>
                      <a:pt x="7422" y="2070"/>
                    </a:lnTo>
                    <a:lnTo>
                      <a:pt x="7422" y="2040"/>
                    </a:lnTo>
                    <a:lnTo>
                      <a:pt x="7410" y="2028"/>
                    </a:lnTo>
                    <a:lnTo>
                      <a:pt x="7404" y="2016"/>
                    </a:lnTo>
                    <a:lnTo>
                      <a:pt x="7398" y="2010"/>
                    </a:lnTo>
                    <a:lnTo>
                      <a:pt x="7380" y="2004"/>
                    </a:lnTo>
                    <a:lnTo>
                      <a:pt x="7380" y="1998"/>
                    </a:lnTo>
                    <a:lnTo>
                      <a:pt x="7374" y="1992"/>
                    </a:lnTo>
                    <a:lnTo>
                      <a:pt x="7368" y="1980"/>
                    </a:lnTo>
                    <a:lnTo>
                      <a:pt x="7356" y="1968"/>
                    </a:lnTo>
                    <a:lnTo>
                      <a:pt x="7344" y="1968"/>
                    </a:lnTo>
                    <a:lnTo>
                      <a:pt x="7332" y="1956"/>
                    </a:lnTo>
                    <a:lnTo>
                      <a:pt x="7326" y="1956"/>
                    </a:lnTo>
                    <a:lnTo>
                      <a:pt x="7308" y="1950"/>
                    </a:lnTo>
                    <a:lnTo>
                      <a:pt x="7302" y="1938"/>
                    </a:lnTo>
                    <a:lnTo>
                      <a:pt x="7308" y="1938"/>
                    </a:lnTo>
                    <a:lnTo>
                      <a:pt x="7314" y="1944"/>
                    </a:lnTo>
                    <a:lnTo>
                      <a:pt x="7326" y="1944"/>
                    </a:lnTo>
                    <a:lnTo>
                      <a:pt x="7332" y="1950"/>
                    </a:lnTo>
                    <a:lnTo>
                      <a:pt x="7344" y="1950"/>
                    </a:lnTo>
                    <a:lnTo>
                      <a:pt x="7350" y="1944"/>
                    </a:lnTo>
                    <a:lnTo>
                      <a:pt x="7350" y="1938"/>
                    </a:lnTo>
                    <a:lnTo>
                      <a:pt x="7344" y="1938"/>
                    </a:lnTo>
                    <a:lnTo>
                      <a:pt x="7332" y="1932"/>
                    </a:lnTo>
                    <a:lnTo>
                      <a:pt x="7326" y="1926"/>
                    </a:lnTo>
                    <a:lnTo>
                      <a:pt x="7320" y="1926"/>
                    </a:lnTo>
                    <a:lnTo>
                      <a:pt x="7242" y="1890"/>
                    </a:lnTo>
                    <a:lnTo>
                      <a:pt x="7236" y="1890"/>
                    </a:lnTo>
                    <a:lnTo>
                      <a:pt x="7230" y="1884"/>
                    </a:lnTo>
                    <a:lnTo>
                      <a:pt x="7218" y="1878"/>
                    </a:lnTo>
                    <a:lnTo>
                      <a:pt x="7206" y="1866"/>
                    </a:lnTo>
                    <a:lnTo>
                      <a:pt x="7194" y="1860"/>
                    </a:lnTo>
                    <a:lnTo>
                      <a:pt x="7188" y="1854"/>
                    </a:lnTo>
                    <a:lnTo>
                      <a:pt x="7170" y="1854"/>
                    </a:lnTo>
                    <a:lnTo>
                      <a:pt x="7164" y="1860"/>
                    </a:lnTo>
                    <a:lnTo>
                      <a:pt x="7152" y="1866"/>
                    </a:lnTo>
                    <a:lnTo>
                      <a:pt x="7116" y="1854"/>
                    </a:lnTo>
                    <a:lnTo>
                      <a:pt x="7152" y="1896"/>
                    </a:lnTo>
                    <a:lnTo>
                      <a:pt x="7146" y="1920"/>
                    </a:lnTo>
                    <a:lnTo>
                      <a:pt x="7134" y="1920"/>
                    </a:lnTo>
                    <a:lnTo>
                      <a:pt x="7134" y="1890"/>
                    </a:lnTo>
                    <a:lnTo>
                      <a:pt x="7116" y="1878"/>
                    </a:lnTo>
                    <a:lnTo>
                      <a:pt x="7116" y="1908"/>
                    </a:lnTo>
                    <a:lnTo>
                      <a:pt x="7068" y="1908"/>
                    </a:lnTo>
                    <a:lnTo>
                      <a:pt x="7074" y="1902"/>
                    </a:lnTo>
                    <a:lnTo>
                      <a:pt x="7074" y="1884"/>
                    </a:lnTo>
                    <a:lnTo>
                      <a:pt x="7068" y="1878"/>
                    </a:lnTo>
                    <a:lnTo>
                      <a:pt x="7044" y="1878"/>
                    </a:lnTo>
                    <a:lnTo>
                      <a:pt x="7038" y="1890"/>
                    </a:lnTo>
                    <a:lnTo>
                      <a:pt x="7014" y="1890"/>
                    </a:lnTo>
                    <a:lnTo>
                      <a:pt x="7002" y="1854"/>
                    </a:lnTo>
                    <a:lnTo>
                      <a:pt x="6996" y="1854"/>
                    </a:lnTo>
                    <a:lnTo>
                      <a:pt x="6984" y="1830"/>
                    </a:lnTo>
                    <a:lnTo>
                      <a:pt x="6912" y="1836"/>
                    </a:lnTo>
                    <a:lnTo>
                      <a:pt x="6906" y="1824"/>
                    </a:lnTo>
                    <a:lnTo>
                      <a:pt x="6882" y="1824"/>
                    </a:lnTo>
                    <a:lnTo>
                      <a:pt x="6870" y="1818"/>
                    </a:lnTo>
                    <a:lnTo>
                      <a:pt x="6864" y="1812"/>
                    </a:lnTo>
                    <a:lnTo>
                      <a:pt x="6864" y="1794"/>
                    </a:lnTo>
                    <a:lnTo>
                      <a:pt x="6876" y="1788"/>
                    </a:lnTo>
                    <a:lnTo>
                      <a:pt x="6888" y="1776"/>
                    </a:lnTo>
                    <a:lnTo>
                      <a:pt x="6900" y="1776"/>
                    </a:lnTo>
                    <a:lnTo>
                      <a:pt x="6900" y="1752"/>
                    </a:lnTo>
                    <a:lnTo>
                      <a:pt x="6906" y="1752"/>
                    </a:lnTo>
                    <a:lnTo>
                      <a:pt x="6918" y="1746"/>
                    </a:lnTo>
                    <a:lnTo>
                      <a:pt x="6930" y="1734"/>
                    </a:lnTo>
                    <a:lnTo>
                      <a:pt x="6930" y="1728"/>
                    </a:lnTo>
                    <a:lnTo>
                      <a:pt x="6936" y="1716"/>
                    </a:lnTo>
                    <a:lnTo>
                      <a:pt x="6936" y="1710"/>
                    </a:lnTo>
                    <a:lnTo>
                      <a:pt x="6942" y="1698"/>
                    </a:lnTo>
                    <a:lnTo>
                      <a:pt x="6930" y="1686"/>
                    </a:lnTo>
                    <a:lnTo>
                      <a:pt x="6942" y="1662"/>
                    </a:lnTo>
                    <a:lnTo>
                      <a:pt x="6930" y="1650"/>
                    </a:lnTo>
                    <a:lnTo>
                      <a:pt x="6948" y="1632"/>
                    </a:lnTo>
                    <a:lnTo>
                      <a:pt x="6972" y="1626"/>
                    </a:lnTo>
                    <a:lnTo>
                      <a:pt x="6960" y="1596"/>
                    </a:lnTo>
                    <a:lnTo>
                      <a:pt x="6984" y="1590"/>
                    </a:lnTo>
                    <a:lnTo>
                      <a:pt x="6960" y="1554"/>
                    </a:lnTo>
                    <a:lnTo>
                      <a:pt x="6990" y="1542"/>
                    </a:lnTo>
                    <a:lnTo>
                      <a:pt x="6990" y="1500"/>
                    </a:lnTo>
                    <a:lnTo>
                      <a:pt x="6996" y="1488"/>
                    </a:lnTo>
                    <a:lnTo>
                      <a:pt x="7002" y="1482"/>
                    </a:lnTo>
                    <a:lnTo>
                      <a:pt x="7020" y="1470"/>
                    </a:lnTo>
                    <a:lnTo>
                      <a:pt x="7032" y="1464"/>
                    </a:lnTo>
                    <a:lnTo>
                      <a:pt x="7050" y="1464"/>
                    </a:lnTo>
                    <a:lnTo>
                      <a:pt x="7068" y="1470"/>
                    </a:lnTo>
                    <a:lnTo>
                      <a:pt x="7188" y="1470"/>
                    </a:lnTo>
                    <a:lnTo>
                      <a:pt x="7206" y="1488"/>
                    </a:lnTo>
                    <a:lnTo>
                      <a:pt x="7224" y="1482"/>
                    </a:lnTo>
                    <a:lnTo>
                      <a:pt x="7218" y="1464"/>
                    </a:lnTo>
                    <a:lnTo>
                      <a:pt x="7290" y="1482"/>
                    </a:lnTo>
                    <a:lnTo>
                      <a:pt x="7320" y="1464"/>
                    </a:lnTo>
                    <a:lnTo>
                      <a:pt x="7350" y="1488"/>
                    </a:lnTo>
                    <a:lnTo>
                      <a:pt x="7356" y="1452"/>
                    </a:lnTo>
                    <a:lnTo>
                      <a:pt x="7434" y="1452"/>
                    </a:lnTo>
                    <a:lnTo>
                      <a:pt x="7446" y="1458"/>
                    </a:lnTo>
                    <a:lnTo>
                      <a:pt x="7452" y="1470"/>
                    </a:lnTo>
                    <a:lnTo>
                      <a:pt x="7458" y="1470"/>
                    </a:lnTo>
                    <a:lnTo>
                      <a:pt x="7464" y="1464"/>
                    </a:lnTo>
                    <a:lnTo>
                      <a:pt x="7476" y="1464"/>
                    </a:lnTo>
                    <a:lnTo>
                      <a:pt x="7482" y="1458"/>
                    </a:lnTo>
                    <a:lnTo>
                      <a:pt x="7494" y="1452"/>
                    </a:lnTo>
                    <a:lnTo>
                      <a:pt x="7518" y="1470"/>
                    </a:lnTo>
                    <a:lnTo>
                      <a:pt x="7560" y="1476"/>
                    </a:lnTo>
                    <a:lnTo>
                      <a:pt x="7506" y="1488"/>
                    </a:lnTo>
                    <a:lnTo>
                      <a:pt x="7506" y="1494"/>
                    </a:lnTo>
                    <a:lnTo>
                      <a:pt x="7512" y="1500"/>
                    </a:lnTo>
                    <a:lnTo>
                      <a:pt x="7524" y="1506"/>
                    </a:lnTo>
                    <a:lnTo>
                      <a:pt x="7530" y="1512"/>
                    </a:lnTo>
                    <a:lnTo>
                      <a:pt x="7542" y="1512"/>
                    </a:lnTo>
                    <a:lnTo>
                      <a:pt x="7548" y="1506"/>
                    </a:lnTo>
                    <a:lnTo>
                      <a:pt x="7560" y="1506"/>
                    </a:lnTo>
                    <a:lnTo>
                      <a:pt x="7572" y="1500"/>
                    </a:lnTo>
                    <a:lnTo>
                      <a:pt x="7578" y="1494"/>
                    </a:lnTo>
                    <a:lnTo>
                      <a:pt x="7584" y="1494"/>
                    </a:lnTo>
                    <a:lnTo>
                      <a:pt x="7614" y="1506"/>
                    </a:lnTo>
                    <a:lnTo>
                      <a:pt x="7638" y="1488"/>
                    </a:lnTo>
                    <a:lnTo>
                      <a:pt x="7644" y="1488"/>
                    </a:lnTo>
                    <a:lnTo>
                      <a:pt x="7650" y="1494"/>
                    </a:lnTo>
                    <a:lnTo>
                      <a:pt x="7686" y="1494"/>
                    </a:lnTo>
                    <a:lnTo>
                      <a:pt x="7692" y="1488"/>
                    </a:lnTo>
                    <a:lnTo>
                      <a:pt x="7692" y="1476"/>
                    </a:lnTo>
                    <a:lnTo>
                      <a:pt x="7728" y="1482"/>
                    </a:lnTo>
                    <a:lnTo>
                      <a:pt x="7680" y="1452"/>
                    </a:lnTo>
                    <a:lnTo>
                      <a:pt x="7650" y="1464"/>
                    </a:lnTo>
                    <a:lnTo>
                      <a:pt x="7644" y="1446"/>
                    </a:lnTo>
                    <a:lnTo>
                      <a:pt x="7638" y="1434"/>
                    </a:lnTo>
                    <a:lnTo>
                      <a:pt x="7632" y="1428"/>
                    </a:lnTo>
                    <a:lnTo>
                      <a:pt x="7626" y="1416"/>
                    </a:lnTo>
                    <a:lnTo>
                      <a:pt x="7626" y="1398"/>
                    </a:lnTo>
                    <a:lnTo>
                      <a:pt x="7650" y="1374"/>
                    </a:lnTo>
                    <a:lnTo>
                      <a:pt x="7644" y="1344"/>
                    </a:lnTo>
                    <a:lnTo>
                      <a:pt x="7662" y="1332"/>
                    </a:lnTo>
                    <a:lnTo>
                      <a:pt x="7650" y="1326"/>
                    </a:lnTo>
                    <a:lnTo>
                      <a:pt x="7638" y="1314"/>
                    </a:lnTo>
                    <a:lnTo>
                      <a:pt x="7638" y="1302"/>
                    </a:lnTo>
                    <a:lnTo>
                      <a:pt x="7644" y="1296"/>
                    </a:lnTo>
                    <a:lnTo>
                      <a:pt x="7662" y="1290"/>
                    </a:lnTo>
                    <a:lnTo>
                      <a:pt x="7698" y="1290"/>
                    </a:lnTo>
                    <a:lnTo>
                      <a:pt x="7710" y="1296"/>
                    </a:lnTo>
                    <a:lnTo>
                      <a:pt x="7728" y="1296"/>
                    </a:lnTo>
                    <a:lnTo>
                      <a:pt x="7746" y="1278"/>
                    </a:lnTo>
                    <a:lnTo>
                      <a:pt x="7782" y="1308"/>
                    </a:lnTo>
                    <a:lnTo>
                      <a:pt x="7806" y="1290"/>
                    </a:lnTo>
                    <a:lnTo>
                      <a:pt x="7812" y="1302"/>
                    </a:lnTo>
                    <a:lnTo>
                      <a:pt x="7818" y="1308"/>
                    </a:lnTo>
                    <a:lnTo>
                      <a:pt x="7830" y="1332"/>
                    </a:lnTo>
                    <a:lnTo>
                      <a:pt x="7830" y="1338"/>
                    </a:lnTo>
                    <a:lnTo>
                      <a:pt x="7836" y="1344"/>
                    </a:lnTo>
                    <a:lnTo>
                      <a:pt x="7878" y="1344"/>
                    </a:lnTo>
                    <a:lnTo>
                      <a:pt x="7878" y="1362"/>
                    </a:lnTo>
                    <a:lnTo>
                      <a:pt x="7884" y="1374"/>
                    </a:lnTo>
                    <a:lnTo>
                      <a:pt x="7890" y="1380"/>
                    </a:lnTo>
                    <a:lnTo>
                      <a:pt x="7896" y="1380"/>
                    </a:lnTo>
                    <a:lnTo>
                      <a:pt x="7914" y="1362"/>
                    </a:lnTo>
                    <a:lnTo>
                      <a:pt x="7932" y="1326"/>
                    </a:lnTo>
                    <a:lnTo>
                      <a:pt x="7938" y="1320"/>
                    </a:lnTo>
                    <a:lnTo>
                      <a:pt x="7938" y="1314"/>
                    </a:lnTo>
                    <a:lnTo>
                      <a:pt x="7962" y="1302"/>
                    </a:lnTo>
                    <a:lnTo>
                      <a:pt x="7992" y="1314"/>
                    </a:lnTo>
                    <a:lnTo>
                      <a:pt x="7986" y="1302"/>
                    </a:lnTo>
                    <a:lnTo>
                      <a:pt x="7962" y="1284"/>
                    </a:lnTo>
                    <a:lnTo>
                      <a:pt x="7956" y="1278"/>
                    </a:lnTo>
                    <a:lnTo>
                      <a:pt x="7932" y="1266"/>
                    </a:lnTo>
                    <a:lnTo>
                      <a:pt x="7926" y="1254"/>
                    </a:lnTo>
                    <a:lnTo>
                      <a:pt x="7914" y="1248"/>
                    </a:lnTo>
                    <a:lnTo>
                      <a:pt x="7908" y="1242"/>
                    </a:lnTo>
                    <a:lnTo>
                      <a:pt x="7908" y="1230"/>
                    </a:lnTo>
                    <a:lnTo>
                      <a:pt x="7962" y="1230"/>
                    </a:lnTo>
                    <a:lnTo>
                      <a:pt x="7992" y="1236"/>
                    </a:lnTo>
                    <a:lnTo>
                      <a:pt x="8052" y="1236"/>
                    </a:lnTo>
                    <a:lnTo>
                      <a:pt x="8052" y="1254"/>
                    </a:lnTo>
                    <a:lnTo>
                      <a:pt x="8040" y="1254"/>
                    </a:lnTo>
                    <a:lnTo>
                      <a:pt x="8028" y="1248"/>
                    </a:lnTo>
                    <a:lnTo>
                      <a:pt x="7992" y="1248"/>
                    </a:lnTo>
                    <a:lnTo>
                      <a:pt x="7992" y="1266"/>
                    </a:lnTo>
                    <a:lnTo>
                      <a:pt x="8016" y="1290"/>
                    </a:lnTo>
                    <a:lnTo>
                      <a:pt x="8028" y="1296"/>
                    </a:lnTo>
                    <a:lnTo>
                      <a:pt x="8034" y="1320"/>
                    </a:lnTo>
                    <a:lnTo>
                      <a:pt x="8064" y="1326"/>
                    </a:lnTo>
                    <a:lnTo>
                      <a:pt x="8058" y="1344"/>
                    </a:lnTo>
                    <a:lnTo>
                      <a:pt x="8076" y="1362"/>
                    </a:lnTo>
                    <a:lnTo>
                      <a:pt x="8046" y="1368"/>
                    </a:lnTo>
                    <a:lnTo>
                      <a:pt x="8040" y="1380"/>
                    </a:lnTo>
                    <a:lnTo>
                      <a:pt x="8022" y="1386"/>
                    </a:lnTo>
                    <a:lnTo>
                      <a:pt x="8028" y="1398"/>
                    </a:lnTo>
                    <a:lnTo>
                      <a:pt x="8028" y="1404"/>
                    </a:lnTo>
                    <a:lnTo>
                      <a:pt x="8034" y="1416"/>
                    </a:lnTo>
                    <a:lnTo>
                      <a:pt x="8034" y="1440"/>
                    </a:lnTo>
                    <a:lnTo>
                      <a:pt x="8028" y="1452"/>
                    </a:lnTo>
                    <a:lnTo>
                      <a:pt x="8016" y="1464"/>
                    </a:lnTo>
                    <a:lnTo>
                      <a:pt x="8004" y="1488"/>
                    </a:lnTo>
                    <a:lnTo>
                      <a:pt x="8004" y="1506"/>
                    </a:lnTo>
                    <a:lnTo>
                      <a:pt x="8010" y="1506"/>
                    </a:lnTo>
                    <a:lnTo>
                      <a:pt x="8016" y="1512"/>
                    </a:lnTo>
                    <a:lnTo>
                      <a:pt x="8022" y="1524"/>
                    </a:lnTo>
                    <a:lnTo>
                      <a:pt x="8016" y="1530"/>
                    </a:lnTo>
                    <a:lnTo>
                      <a:pt x="8010" y="1542"/>
                    </a:lnTo>
                    <a:lnTo>
                      <a:pt x="7986" y="1566"/>
                    </a:lnTo>
                    <a:lnTo>
                      <a:pt x="7974" y="1572"/>
                    </a:lnTo>
                    <a:lnTo>
                      <a:pt x="7968" y="1578"/>
                    </a:lnTo>
                    <a:lnTo>
                      <a:pt x="7962" y="1578"/>
                    </a:lnTo>
                    <a:lnTo>
                      <a:pt x="7962" y="1596"/>
                    </a:lnTo>
                    <a:lnTo>
                      <a:pt x="7944" y="1596"/>
                    </a:lnTo>
                    <a:lnTo>
                      <a:pt x="7950" y="1596"/>
                    </a:lnTo>
                    <a:lnTo>
                      <a:pt x="7956" y="1602"/>
                    </a:lnTo>
                    <a:lnTo>
                      <a:pt x="7968" y="1608"/>
                    </a:lnTo>
                    <a:lnTo>
                      <a:pt x="7980" y="1632"/>
                    </a:lnTo>
                    <a:lnTo>
                      <a:pt x="7974" y="1650"/>
                    </a:lnTo>
                    <a:lnTo>
                      <a:pt x="7974" y="1662"/>
                    </a:lnTo>
                    <a:lnTo>
                      <a:pt x="7968" y="1674"/>
                    </a:lnTo>
                    <a:lnTo>
                      <a:pt x="7968" y="1686"/>
                    </a:lnTo>
                    <a:lnTo>
                      <a:pt x="7974" y="1704"/>
                    </a:lnTo>
                    <a:lnTo>
                      <a:pt x="7992" y="1722"/>
                    </a:lnTo>
                    <a:lnTo>
                      <a:pt x="8016" y="1752"/>
                    </a:lnTo>
                    <a:lnTo>
                      <a:pt x="8046" y="1776"/>
                    </a:lnTo>
                    <a:lnTo>
                      <a:pt x="8070" y="1800"/>
                    </a:lnTo>
                    <a:lnTo>
                      <a:pt x="8082" y="1806"/>
                    </a:lnTo>
                    <a:lnTo>
                      <a:pt x="8142" y="1872"/>
                    </a:lnTo>
                    <a:lnTo>
                      <a:pt x="8154" y="1866"/>
                    </a:lnTo>
                    <a:lnTo>
                      <a:pt x="8238" y="1962"/>
                    </a:lnTo>
                    <a:lnTo>
                      <a:pt x="8286" y="1980"/>
                    </a:lnTo>
                    <a:lnTo>
                      <a:pt x="8310" y="2004"/>
                    </a:lnTo>
                    <a:lnTo>
                      <a:pt x="8316" y="2016"/>
                    </a:lnTo>
                    <a:lnTo>
                      <a:pt x="8328" y="2022"/>
                    </a:lnTo>
                    <a:lnTo>
                      <a:pt x="8334" y="2034"/>
                    </a:lnTo>
                    <a:lnTo>
                      <a:pt x="8388" y="2088"/>
                    </a:lnTo>
                    <a:lnTo>
                      <a:pt x="8406" y="2088"/>
                    </a:lnTo>
                    <a:lnTo>
                      <a:pt x="8406" y="2106"/>
                    </a:lnTo>
                    <a:lnTo>
                      <a:pt x="8418" y="2106"/>
                    </a:lnTo>
                    <a:lnTo>
                      <a:pt x="8430" y="2100"/>
                    </a:lnTo>
                    <a:lnTo>
                      <a:pt x="8436" y="2094"/>
                    </a:lnTo>
                    <a:lnTo>
                      <a:pt x="8442" y="2082"/>
                    </a:lnTo>
                    <a:lnTo>
                      <a:pt x="8442" y="2076"/>
                    </a:lnTo>
                    <a:lnTo>
                      <a:pt x="8430" y="2064"/>
                    </a:lnTo>
                    <a:lnTo>
                      <a:pt x="8436" y="2058"/>
                    </a:lnTo>
                    <a:lnTo>
                      <a:pt x="8442" y="2046"/>
                    </a:lnTo>
                    <a:lnTo>
                      <a:pt x="8448" y="2040"/>
                    </a:lnTo>
                    <a:lnTo>
                      <a:pt x="8448" y="2022"/>
                    </a:lnTo>
                    <a:lnTo>
                      <a:pt x="8430" y="2004"/>
                    </a:lnTo>
                    <a:lnTo>
                      <a:pt x="8418" y="1998"/>
                    </a:lnTo>
                    <a:lnTo>
                      <a:pt x="8406" y="1974"/>
                    </a:lnTo>
                    <a:lnTo>
                      <a:pt x="8406" y="1962"/>
                    </a:lnTo>
                    <a:lnTo>
                      <a:pt x="8412" y="1950"/>
                    </a:lnTo>
                    <a:lnTo>
                      <a:pt x="8430" y="1932"/>
                    </a:lnTo>
                    <a:lnTo>
                      <a:pt x="8442" y="1932"/>
                    </a:lnTo>
                    <a:lnTo>
                      <a:pt x="8454" y="1938"/>
                    </a:lnTo>
                    <a:lnTo>
                      <a:pt x="8460" y="1938"/>
                    </a:lnTo>
                    <a:lnTo>
                      <a:pt x="8466" y="1944"/>
                    </a:lnTo>
                    <a:lnTo>
                      <a:pt x="8472" y="1944"/>
                    </a:lnTo>
                    <a:lnTo>
                      <a:pt x="8466" y="1938"/>
                    </a:lnTo>
                    <a:lnTo>
                      <a:pt x="8460" y="1926"/>
                    </a:lnTo>
                    <a:lnTo>
                      <a:pt x="8448" y="1920"/>
                    </a:lnTo>
                    <a:lnTo>
                      <a:pt x="8442" y="1908"/>
                    </a:lnTo>
                    <a:lnTo>
                      <a:pt x="8424" y="1890"/>
                    </a:lnTo>
                    <a:lnTo>
                      <a:pt x="8412" y="1890"/>
                    </a:lnTo>
                    <a:lnTo>
                      <a:pt x="8406" y="1884"/>
                    </a:lnTo>
                    <a:lnTo>
                      <a:pt x="8400" y="1872"/>
                    </a:lnTo>
                    <a:lnTo>
                      <a:pt x="8400" y="1860"/>
                    </a:lnTo>
                    <a:lnTo>
                      <a:pt x="8406" y="1848"/>
                    </a:lnTo>
                    <a:lnTo>
                      <a:pt x="8412" y="1842"/>
                    </a:lnTo>
                    <a:lnTo>
                      <a:pt x="8424" y="1836"/>
                    </a:lnTo>
                    <a:lnTo>
                      <a:pt x="8430" y="1830"/>
                    </a:lnTo>
                    <a:lnTo>
                      <a:pt x="8442" y="1836"/>
                    </a:lnTo>
                    <a:lnTo>
                      <a:pt x="8466" y="1836"/>
                    </a:lnTo>
                    <a:lnTo>
                      <a:pt x="8472" y="1830"/>
                    </a:lnTo>
                    <a:lnTo>
                      <a:pt x="8472" y="1812"/>
                    </a:lnTo>
                    <a:lnTo>
                      <a:pt x="8454" y="1794"/>
                    </a:lnTo>
                    <a:lnTo>
                      <a:pt x="8436" y="1788"/>
                    </a:lnTo>
                    <a:lnTo>
                      <a:pt x="8424" y="1782"/>
                    </a:lnTo>
                    <a:lnTo>
                      <a:pt x="8406" y="1770"/>
                    </a:lnTo>
                    <a:lnTo>
                      <a:pt x="8394" y="1758"/>
                    </a:lnTo>
                    <a:lnTo>
                      <a:pt x="8388" y="1740"/>
                    </a:lnTo>
                    <a:lnTo>
                      <a:pt x="8376" y="1716"/>
                    </a:lnTo>
                    <a:lnTo>
                      <a:pt x="8376" y="1704"/>
                    </a:lnTo>
                    <a:lnTo>
                      <a:pt x="8370" y="1698"/>
                    </a:lnTo>
                    <a:lnTo>
                      <a:pt x="8370" y="1692"/>
                    </a:lnTo>
                    <a:lnTo>
                      <a:pt x="8382" y="1686"/>
                    </a:lnTo>
                    <a:lnTo>
                      <a:pt x="8406" y="1710"/>
                    </a:lnTo>
                    <a:lnTo>
                      <a:pt x="8418" y="1716"/>
                    </a:lnTo>
                    <a:lnTo>
                      <a:pt x="8430" y="1716"/>
                    </a:lnTo>
                    <a:lnTo>
                      <a:pt x="8430" y="1710"/>
                    </a:lnTo>
                    <a:lnTo>
                      <a:pt x="8424" y="1704"/>
                    </a:lnTo>
                    <a:lnTo>
                      <a:pt x="8418" y="1692"/>
                    </a:lnTo>
                    <a:lnTo>
                      <a:pt x="8412" y="1686"/>
                    </a:lnTo>
                    <a:lnTo>
                      <a:pt x="8406" y="1674"/>
                    </a:lnTo>
                    <a:lnTo>
                      <a:pt x="8400" y="1668"/>
                    </a:lnTo>
                    <a:lnTo>
                      <a:pt x="8364" y="1668"/>
                    </a:lnTo>
                    <a:lnTo>
                      <a:pt x="8316" y="1626"/>
                    </a:lnTo>
                    <a:lnTo>
                      <a:pt x="8316" y="1596"/>
                    </a:lnTo>
                    <a:lnTo>
                      <a:pt x="8310" y="1590"/>
                    </a:lnTo>
                    <a:lnTo>
                      <a:pt x="8298" y="1584"/>
                    </a:lnTo>
                    <a:lnTo>
                      <a:pt x="8280" y="1578"/>
                    </a:lnTo>
                    <a:lnTo>
                      <a:pt x="8268" y="1572"/>
                    </a:lnTo>
                    <a:lnTo>
                      <a:pt x="8256" y="1572"/>
                    </a:lnTo>
                    <a:lnTo>
                      <a:pt x="8256" y="1590"/>
                    </a:lnTo>
                    <a:lnTo>
                      <a:pt x="8250" y="1590"/>
                    </a:lnTo>
                    <a:lnTo>
                      <a:pt x="8244" y="1584"/>
                    </a:lnTo>
                    <a:lnTo>
                      <a:pt x="8232" y="1584"/>
                    </a:lnTo>
                    <a:lnTo>
                      <a:pt x="8214" y="1572"/>
                    </a:lnTo>
                    <a:lnTo>
                      <a:pt x="8202" y="1566"/>
                    </a:lnTo>
                    <a:lnTo>
                      <a:pt x="8196" y="1560"/>
                    </a:lnTo>
                    <a:lnTo>
                      <a:pt x="8190" y="1548"/>
                    </a:lnTo>
                    <a:lnTo>
                      <a:pt x="8190" y="1536"/>
                    </a:lnTo>
                    <a:lnTo>
                      <a:pt x="8196" y="1524"/>
                    </a:lnTo>
                    <a:lnTo>
                      <a:pt x="8196" y="1500"/>
                    </a:lnTo>
                    <a:lnTo>
                      <a:pt x="8184" y="1476"/>
                    </a:lnTo>
                    <a:lnTo>
                      <a:pt x="8166" y="1458"/>
                    </a:lnTo>
                    <a:lnTo>
                      <a:pt x="8154" y="1452"/>
                    </a:lnTo>
                    <a:lnTo>
                      <a:pt x="8154" y="1434"/>
                    </a:lnTo>
                    <a:lnTo>
                      <a:pt x="8160" y="1428"/>
                    </a:lnTo>
                    <a:lnTo>
                      <a:pt x="8172" y="1428"/>
                    </a:lnTo>
                    <a:lnTo>
                      <a:pt x="8184" y="1434"/>
                    </a:lnTo>
                    <a:lnTo>
                      <a:pt x="8196" y="1416"/>
                    </a:lnTo>
                    <a:lnTo>
                      <a:pt x="8232" y="1446"/>
                    </a:lnTo>
                    <a:lnTo>
                      <a:pt x="8238" y="1440"/>
                    </a:lnTo>
                    <a:lnTo>
                      <a:pt x="8226" y="1428"/>
                    </a:lnTo>
                    <a:lnTo>
                      <a:pt x="8226" y="1422"/>
                    </a:lnTo>
                    <a:lnTo>
                      <a:pt x="8232" y="1416"/>
                    </a:lnTo>
                    <a:lnTo>
                      <a:pt x="8232" y="1404"/>
                    </a:lnTo>
                    <a:lnTo>
                      <a:pt x="8238" y="1392"/>
                    </a:lnTo>
                    <a:lnTo>
                      <a:pt x="8250" y="1386"/>
                    </a:lnTo>
                    <a:lnTo>
                      <a:pt x="8256" y="1386"/>
                    </a:lnTo>
                    <a:lnTo>
                      <a:pt x="8274" y="1404"/>
                    </a:lnTo>
                    <a:lnTo>
                      <a:pt x="8280" y="1416"/>
                    </a:lnTo>
                    <a:lnTo>
                      <a:pt x="8292" y="1428"/>
                    </a:lnTo>
                    <a:lnTo>
                      <a:pt x="8304" y="1434"/>
                    </a:lnTo>
                    <a:lnTo>
                      <a:pt x="8310" y="1446"/>
                    </a:lnTo>
                    <a:lnTo>
                      <a:pt x="8322" y="1398"/>
                    </a:lnTo>
                    <a:lnTo>
                      <a:pt x="8334" y="1398"/>
                    </a:lnTo>
                    <a:lnTo>
                      <a:pt x="8364" y="1392"/>
                    </a:lnTo>
                    <a:lnTo>
                      <a:pt x="8400" y="1386"/>
                    </a:lnTo>
                    <a:lnTo>
                      <a:pt x="8430" y="1386"/>
                    </a:lnTo>
                    <a:lnTo>
                      <a:pt x="8478" y="1410"/>
                    </a:lnTo>
                    <a:lnTo>
                      <a:pt x="8484" y="1416"/>
                    </a:lnTo>
                    <a:lnTo>
                      <a:pt x="8490" y="1416"/>
                    </a:lnTo>
                    <a:lnTo>
                      <a:pt x="8532" y="1434"/>
                    </a:lnTo>
                    <a:lnTo>
                      <a:pt x="8502" y="1374"/>
                    </a:lnTo>
                    <a:lnTo>
                      <a:pt x="8526" y="1374"/>
                    </a:lnTo>
                    <a:lnTo>
                      <a:pt x="8538" y="1368"/>
                    </a:lnTo>
                    <a:lnTo>
                      <a:pt x="8550" y="1356"/>
                    </a:lnTo>
                    <a:lnTo>
                      <a:pt x="8550" y="1332"/>
                    </a:lnTo>
                    <a:lnTo>
                      <a:pt x="8544" y="1326"/>
                    </a:lnTo>
                    <a:lnTo>
                      <a:pt x="8538" y="1314"/>
                    </a:lnTo>
                    <a:lnTo>
                      <a:pt x="8562" y="1314"/>
                    </a:lnTo>
                    <a:lnTo>
                      <a:pt x="8562" y="1290"/>
                    </a:lnTo>
                    <a:lnTo>
                      <a:pt x="8574" y="1290"/>
                    </a:lnTo>
                    <a:lnTo>
                      <a:pt x="8586" y="1296"/>
                    </a:lnTo>
                    <a:lnTo>
                      <a:pt x="8616" y="1296"/>
                    </a:lnTo>
                    <a:lnTo>
                      <a:pt x="8628" y="1290"/>
                    </a:lnTo>
                    <a:lnTo>
                      <a:pt x="8634" y="1284"/>
                    </a:lnTo>
                    <a:lnTo>
                      <a:pt x="8640" y="1272"/>
                    </a:lnTo>
                    <a:lnTo>
                      <a:pt x="8652" y="1260"/>
                    </a:lnTo>
                    <a:lnTo>
                      <a:pt x="8658" y="1248"/>
                    </a:lnTo>
                    <a:lnTo>
                      <a:pt x="8664" y="1242"/>
                    </a:lnTo>
                    <a:lnTo>
                      <a:pt x="8670" y="1242"/>
                    </a:lnTo>
                    <a:lnTo>
                      <a:pt x="8652" y="1218"/>
                    </a:lnTo>
                    <a:lnTo>
                      <a:pt x="8682" y="1218"/>
                    </a:lnTo>
                    <a:lnTo>
                      <a:pt x="8688" y="1236"/>
                    </a:lnTo>
                    <a:lnTo>
                      <a:pt x="8748" y="1242"/>
                    </a:lnTo>
                    <a:lnTo>
                      <a:pt x="8760" y="1242"/>
                    </a:lnTo>
                    <a:lnTo>
                      <a:pt x="8772" y="1248"/>
                    </a:lnTo>
                    <a:lnTo>
                      <a:pt x="8808" y="1248"/>
                    </a:lnTo>
                    <a:lnTo>
                      <a:pt x="8808" y="1230"/>
                    </a:lnTo>
                    <a:lnTo>
                      <a:pt x="8802" y="1218"/>
                    </a:lnTo>
                    <a:lnTo>
                      <a:pt x="8766" y="1218"/>
                    </a:lnTo>
                    <a:lnTo>
                      <a:pt x="8760" y="1194"/>
                    </a:lnTo>
                    <a:lnTo>
                      <a:pt x="8754" y="1194"/>
                    </a:lnTo>
                    <a:lnTo>
                      <a:pt x="8748" y="1188"/>
                    </a:lnTo>
                    <a:lnTo>
                      <a:pt x="8736" y="1188"/>
                    </a:lnTo>
                    <a:lnTo>
                      <a:pt x="8712" y="1176"/>
                    </a:lnTo>
                    <a:lnTo>
                      <a:pt x="8700" y="1176"/>
                    </a:lnTo>
                    <a:lnTo>
                      <a:pt x="8688" y="1170"/>
                    </a:lnTo>
                    <a:lnTo>
                      <a:pt x="8658" y="1170"/>
                    </a:lnTo>
                    <a:lnTo>
                      <a:pt x="8664" y="1152"/>
                    </a:lnTo>
                    <a:lnTo>
                      <a:pt x="8592" y="1104"/>
                    </a:lnTo>
                    <a:lnTo>
                      <a:pt x="8574" y="1122"/>
                    </a:lnTo>
                    <a:lnTo>
                      <a:pt x="8568" y="1122"/>
                    </a:lnTo>
                    <a:lnTo>
                      <a:pt x="8562" y="1116"/>
                    </a:lnTo>
                    <a:lnTo>
                      <a:pt x="8550" y="1116"/>
                    </a:lnTo>
                    <a:lnTo>
                      <a:pt x="8538" y="1110"/>
                    </a:lnTo>
                    <a:lnTo>
                      <a:pt x="8532" y="1110"/>
                    </a:lnTo>
                    <a:lnTo>
                      <a:pt x="8520" y="1104"/>
                    </a:lnTo>
                    <a:lnTo>
                      <a:pt x="8508" y="1092"/>
                    </a:lnTo>
                    <a:lnTo>
                      <a:pt x="8502" y="1092"/>
                    </a:lnTo>
                    <a:lnTo>
                      <a:pt x="8466" y="1098"/>
                    </a:lnTo>
                    <a:lnTo>
                      <a:pt x="8442" y="1092"/>
                    </a:lnTo>
                    <a:lnTo>
                      <a:pt x="8430" y="1086"/>
                    </a:lnTo>
                    <a:lnTo>
                      <a:pt x="8412" y="1068"/>
                    </a:lnTo>
                    <a:lnTo>
                      <a:pt x="8406" y="1068"/>
                    </a:lnTo>
                    <a:lnTo>
                      <a:pt x="8412" y="1062"/>
                    </a:lnTo>
                    <a:lnTo>
                      <a:pt x="8436" y="1062"/>
                    </a:lnTo>
                    <a:lnTo>
                      <a:pt x="8460" y="1074"/>
                    </a:lnTo>
                    <a:lnTo>
                      <a:pt x="8478" y="1074"/>
                    </a:lnTo>
                    <a:lnTo>
                      <a:pt x="8496" y="1080"/>
                    </a:lnTo>
                    <a:lnTo>
                      <a:pt x="8514" y="1080"/>
                    </a:lnTo>
                    <a:lnTo>
                      <a:pt x="8526" y="1086"/>
                    </a:lnTo>
                    <a:lnTo>
                      <a:pt x="8544" y="1086"/>
                    </a:lnTo>
                    <a:lnTo>
                      <a:pt x="8550" y="1080"/>
                    </a:lnTo>
                    <a:lnTo>
                      <a:pt x="8562" y="1080"/>
                    </a:lnTo>
                    <a:lnTo>
                      <a:pt x="8580" y="1074"/>
                    </a:lnTo>
                    <a:lnTo>
                      <a:pt x="8604" y="1062"/>
                    </a:lnTo>
                    <a:lnTo>
                      <a:pt x="8616" y="1050"/>
                    </a:lnTo>
                    <a:lnTo>
                      <a:pt x="8604" y="1038"/>
                    </a:lnTo>
                    <a:lnTo>
                      <a:pt x="8592" y="1032"/>
                    </a:lnTo>
                    <a:lnTo>
                      <a:pt x="8586" y="1026"/>
                    </a:lnTo>
                    <a:lnTo>
                      <a:pt x="8574" y="1020"/>
                    </a:lnTo>
                    <a:lnTo>
                      <a:pt x="8568" y="1014"/>
                    </a:lnTo>
                    <a:lnTo>
                      <a:pt x="8562" y="1014"/>
                    </a:lnTo>
                    <a:lnTo>
                      <a:pt x="8556" y="1008"/>
                    </a:lnTo>
                    <a:lnTo>
                      <a:pt x="8520" y="990"/>
                    </a:lnTo>
                    <a:lnTo>
                      <a:pt x="8508" y="978"/>
                    </a:lnTo>
                    <a:lnTo>
                      <a:pt x="8514" y="972"/>
                    </a:lnTo>
                    <a:lnTo>
                      <a:pt x="8538" y="972"/>
                    </a:lnTo>
                    <a:lnTo>
                      <a:pt x="8556" y="978"/>
                    </a:lnTo>
                    <a:lnTo>
                      <a:pt x="8562" y="984"/>
                    </a:lnTo>
                    <a:lnTo>
                      <a:pt x="8574" y="990"/>
                    </a:lnTo>
                    <a:lnTo>
                      <a:pt x="8580" y="990"/>
                    </a:lnTo>
                    <a:lnTo>
                      <a:pt x="8586" y="996"/>
                    </a:lnTo>
                    <a:lnTo>
                      <a:pt x="8610" y="1008"/>
                    </a:lnTo>
                    <a:lnTo>
                      <a:pt x="8628" y="1020"/>
                    </a:lnTo>
                    <a:lnTo>
                      <a:pt x="8652" y="1032"/>
                    </a:lnTo>
                    <a:lnTo>
                      <a:pt x="8664" y="1032"/>
                    </a:lnTo>
                    <a:lnTo>
                      <a:pt x="8676" y="1026"/>
                    </a:lnTo>
                    <a:lnTo>
                      <a:pt x="8682" y="1026"/>
                    </a:lnTo>
                    <a:lnTo>
                      <a:pt x="8688" y="1020"/>
                    </a:lnTo>
                    <a:lnTo>
                      <a:pt x="8730" y="1020"/>
                    </a:lnTo>
                    <a:lnTo>
                      <a:pt x="8754" y="1026"/>
                    </a:lnTo>
                    <a:lnTo>
                      <a:pt x="8808" y="1044"/>
                    </a:lnTo>
                    <a:lnTo>
                      <a:pt x="8850" y="1062"/>
                    </a:lnTo>
                    <a:lnTo>
                      <a:pt x="8880" y="1068"/>
                    </a:lnTo>
                    <a:lnTo>
                      <a:pt x="8886" y="1074"/>
                    </a:lnTo>
                    <a:lnTo>
                      <a:pt x="8898" y="1074"/>
                    </a:lnTo>
                    <a:lnTo>
                      <a:pt x="8934" y="1086"/>
                    </a:lnTo>
                    <a:lnTo>
                      <a:pt x="8946" y="1086"/>
                    </a:lnTo>
                    <a:lnTo>
                      <a:pt x="8952" y="1092"/>
                    </a:lnTo>
                    <a:lnTo>
                      <a:pt x="8958" y="1092"/>
                    </a:lnTo>
                    <a:lnTo>
                      <a:pt x="8970" y="1098"/>
                    </a:lnTo>
                    <a:lnTo>
                      <a:pt x="8976" y="1104"/>
                    </a:lnTo>
                    <a:lnTo>
                      <a:pt x="8988" y="1110"/>
                    </a:lnTo>
                    <a:lnTo>
                      <a:pt x="9000" y="1110"/>
                    </a:lnTo>
                    <a:lnTo>
                      <a:pt x="9018" y="1116"/>
                    </a:lnTo>
                    <a:lnTo>
                      <a:pt x="9024" y="1122"/>
                    </a:lnTo>
                    <a:lnTo>
                      <a:pt x="9042" y="1122"/>
                    </a:lnTo>
                    <a:lnTo>
                      <a:pt x="9042" y="1116"/>
                    </a:lnTo>
                    <a:lnTo>
                      <a:pt x="9036" y="1098"/>
                    </a:lnTo>
                    <a:lnTo>
                      <a:pt x="9012" y="1074"/>
                    </a:lnTo>
                    <a:lnTo>
                      <a:pt x="9006" y="1074"/>
                    </a:lnTo>
                    <a:lnTo>
                      <a:pt x="9024" y="1056"/>
                    </a:lnTo>
                    <a:lnTo>
                      <a:pt x="8976" y="1038"/>
                    </a:lnTo>
                    <a:lnTo>
                      <a:pt x="8988" y="1032"/>
                    </a:lnTo>
                    <a:lnTo>
                      <a:pt x="8940" y="1008"/>
                    </a:lnTo>
                    <a:lnTo>
                      <a:pt x="8994" y="1020"/>
                    </a:lnTo>
                    <a:lnTo>
                      <a:pt x="8988" y="996"/>
                    </a:lnTo>
                    <a:lnTo>
                      <a:pt x="9000" y="996"/>
                    </a:lnTo>
                    <a:lnTo>
                      <a:pt x="9012" y="1002"/>
                    </a:lnTo>
                    <a:lnTo>
                      <a:pt x="9048" y="1002"/>
                    </a:lnTo>
                    <a:lnTo>
                      <a:pt x="9048" y="99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77" name="Rom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36AE664-E7DB-4219-815F-CCFCA5A354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0473" y="2779883"/>
                <a:ext cx="272560" cy="164743"/>
              </a:xfrm>
              <a:custGeom>
                <a:avLst/>
                <a:gdLst>
                  <a:gd name="T0" fmla="*/ 2147483647 w 612"/>
                  <a:gd name="T1" fmla="*/ 2147483647 h 366"/>
                  <a:gd name="T2" fmla="*/ 2147483647 w 612"/>
                  <a:gd name="T3" fmla="*/ 2147483647 h 366"/>
                  <a:gd name="T4" fmla="*/ 2147483647 w 612"/>
                  <a:gd name="T5" fmla="*/ 2147483647 h 366"/>
                  <a:gd name="T6" fmla="*/ 2147483647 w 612"/>
                  <a:gd name="T7" fmla="*/ 2147483647 h 366"/>
                  <a:gd name="T8" fmla="*/ 2147483647 w 612"/>
                  <a:gd name="T9" fmla="*/ 2147483647 h 366"/>
                  <a:gd name="T10" fmla="*/ 2147483647 w 612"/>
                  <a:gd name="T11" fmla="*/ 2147483647 h 366"/>
                  <a:gd name="T12" fmla="*/ 2147483647 w 612"/>
                  <a:gd name="T13" fmla="*/ 2147483647 h 366"/>
                  <a:gd name="T14" fmla="*/ 2147483647 w 612"/>
                  <a:gd name="T15" fmla="*/ 2147483647 h 366"/>
                  <a:gd name="T16" fmla="*/ 2147483647 w 612"/>
                  <a:gd name="T17" fmla="*/ 2147483647 h 366"/>
                  <a:gd name="T18" fmla="*/ 2147483647 w 612"/>
                  <a:gd name="T19" fmla="*/ 2147483647 h 366"/>
                  <a:gd name="T20" fmla="*/ 2147483647 w 612"/>
                  <a:gd name="T21" fmla="*/ 2147483647 h 366"/>
                  <a:gd name="T22" fmla="*/ 2147483647 w 612"/>
                  <a:gd name="T23" fmla="*/ 2147483647 h 366"/>
                  <a:gd name="T24" fmla="*/ 2147483647 w 612"/>
                  <a:gd name="T25" fmla="*/ 2147483647 h 366"/>
                  <a:gd name="T26" fmla="*/ 2147483647 w 612"/>
                  <a:gd name="T27" fmla="*/ 0 h 366"/>
                  <a:gd name="T28" fmla="*/ 2147483647 w 612"/>
                  <a:gd name="T29" fmla="*/ 2147483647 h 366"/>
                  <a:gd name="T30" fmla="*/ 2147483647 w 612"/>
                  <a:gd name="T31" fmla="*/ 2147483647 h 366"/>
                  <a:gd name="T32" fmla="*/ 2147483647 w 612"/>
                  <a:gd name="T33" fmla="*/ 2147483647 h 366"/>
                  <a:gd name="T34" fmla="*/ 2147483647 w 612"/>
                  <a:gd name="T35" fmla="*/ 2147483647 h 366"/>
                  <a:gd name="T36" fmla="*/ 2147483647 w 612"/>
                  <a:gd name="T37" fmla="*/ 2147483647 h 366"/>
                  <a:gd name="T38" fmla="*/ 2147483647 w 612"/>
                  <a:gd name="T39" fmla="*/ 2147483647 h 366"/>
                  <a:gd name="T40" fmla="*/ 2147483647 w 612"/>
                  <a:gd name="T41" fmla="*/ 2147483647 h 366"/>
                  <a:gd name="T42" fmla="*/ 2147483647 w 612"/>
                  <a:gd name="T43" fmla="*/ 2147483647 h 366"/>
                  <a:gd name="T44" fmla="*/ 2147483647 w 612"/>
                  <a:gd name="T45" fmla="*/ 2147483647 h 366"/>
                  <a:gd name="T46" fmla="*/ 2147483647 w 612"/>
                  <a:gd name="T47" fmla="*/ 2147483647 h 366"/>
                  <a:gd name="T48" fmla="*/ 0 w 612"/>
                  <a:gd name="T49" fmla="*/ 2147483647 h 366"/>
                  <a:gd name="T50" fmla="*/ 2147483647 w 612"/>
                  <a:gd name="T51" fmla="*/ 2147483647 h 366"/>
                  <a:gd name="T52" fmla="*/ 2147483647 w 612"/>
                  <a:gd name="T53" fmla="*/ 2147483647 h 366"/>
                  <a:gd name="T54" fmla="*/ 2147483647 w 612"/>
                  <a:gd name="T55" fmla="*/ 2147483647 h 366"/>
                  <a:gd name="T56" fmla="*/ 2147483647 w 612"/>
                  <a:gd name="T57" fmla="*/ 2147483647 h 366"/>
                  <a:gd name="T58" fmla="*/ 2147483647 w 612"/>
                  <a:gd name="T59" fmla="*/ 2147483647 h 366"/>
                  <a:gd name="T60" fmla="*/ 2147483647 w 612"/>
                  <a:gd name="T61" fmla="*/ 2147483647 h 366"/>
                  <a:gd name="T62" fmla="*/ 2147483647 w 612"/>
                  <a:gd name="T63" fmla="*/ 2147483647 h 366"/>
                  <a:gd name="T64" fmla="*/ 2147483647 w 612"/>
                  <a:gd name="T65" fmla="*/ 2147483647 h 366"/>
                  <a:gd name="T66" fmla="*/ 2147483647 w 612"/>
                  <a:gd name="T67" fmla="*/ 2147483647 h 366"/>
                  <a:gd name="T68" fmla="*/ 2147483647 w 612"/>
                  <a:gd name="T69" fmla="*/ 2147483647 h 366"/>
                  <a:gd name="T70" fmla="*/ 2147483647 w 612"/>
                  <a:gd name="T71" fmla="*/ 2147483647 h 366"/>
                  <a:gd name="T72" fmla="*/ 2147483647 w 612"/>
                  <a:gd name="T73" fmla="*/ 2147483647 h 366"/>
                  <a:gd name="T74" fmla="*/ 2147483647 w 612"/>
                  <a:gd name="T75" fmla="*/ 2147483647 h 366"/>
                  <a:gd name="T76" fmla="*/ 2147483647 w 612"/>
                  <a:gd name="T77" fmla="*/ 2147483647 h 366"/>
                  <a:gd name="T78" fmla="*/ 2147483647 w 612"/>
                  <a:gd name="T79" fmla="*/ 2147483647 h 366"/>
                  <a:gd name="T80" fmla="*/ 2147483647 w 612"/>
                  <a:gd name="T81" fmla="*/ 2147483647 h 366"/>
                  <a:gd name="T82" fmla="*/ 2147483647 w 612"/>
                  <a:gd name="T83" fmla="*/ 2147483647 h 366"/>
                  <a:gd name="T84" fmla="*/ 2147483647 w 612"/>
                  <a:gd name="T85" fmla="*/ 2147483647 h 36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12"/>
                  <a:gd name="T130" fmla="*/ 0 h 366"/>
                  <a:gd name="T131" fmla="*/ 612 w 612"/>
                  <a:gd name="T132" fmla="*/ 366 h 36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12" h="366">
                    <a:moveTo>
                      <a:pt x="516" y="354"/>
                    </a:moveTo>
                    <a:lnTo>
                      <a:pt x="522" y="360"/>
                    </a:lnTo>
                    <a:lnTo>
                      <a:pt x="540" y="360"/>
                    </a:lnTo>
                    <a:lnTo>
                      <a:pt x="540" y="318"/>
                    </a:lnTo>
                    <a:lnTo>
                      <a:pt x="546" y="312"/>
                    </a:lnTo>
                    <a:lnTo>
                      <a:pt x="558" y="294"/>
                    </a:lnTo>
                    <a:lnTo>
                      <a:pt x="564" y="282"/>
                    </a:lnTo>
                    <a:lnTo>
                      <a:pt x="570" y="276"/>
                    </a:lnTo>
                    <a:lnTo>
                      <a:pt x="606" y="276"/>
                    </a:lnTo>
                    <a:lnTo>
                      <a:pt x="612" y="270"/>
                    </a:lnTo>
                    <a:lnTo>
                      <a:pt x="612" y="258"/>
                    </a:lnTo>
                    <a:lnTo>
                      <a:pt x="600" y="222"/>
                    </a:lnTo>
                    <a:lnTo>
                      <a:pt x="600" y="216"/>
                    </a:lnTo>
                    <a:lnTo>
                      <a:pt x="594" y="216"/>
                    </a:lnTo>
                    <a:lnTo>
                      <a:pt x="588" y="222"/>
                    </a:lnTo>
                    <a:lnTo>
                      <a:pt x="570" y="222"/>
                    </a:lnTo>
                    <a:lnTo>
                      <a:pt x="564" y="228"/>
                    </a:lnTo>
                    <a:lnTo>
                      <a:pt x="558" y="228"/>
                    </a:lnTo>
                    <a:lnTo>
                      <a:pt x="552" y="234"/>
                    </a:lnTo>
                    <a:lnTo>
                      <a:pt x="522" y="234"/>
                    </a:lnTo>
                    <a:lnTo>
                      <a:pt x="510" y="222"/>
                    </a:lnTo>
                    <a:lnTo>
                      <a:pt x="510" y="198"/>
                    </a:lnTo>
                    <a:lnTo>
                      <a:pt x="504" y="192"/>
                    </a:lnTo>
                    <a:lnTo>
                      <a:pt x="498" y="180"/>
                    </a:lnTo>
                    <a:lnTo>
                      <a:pt x="498" y="168"/>
                    </a:lnTo>
                    <a:lnTo>
                      <a:pt x="504" y="162"/>
                    </a:lnTo>
                    <a:lnTo>
                      <a:pt x="504" y="150"/>
                    </a:lnTo>
                    <a:lnTo>
                      <a:pt x="510" y="144"/>
                    </a:lnTo>
                    <a:lnTo>
                      <a:pt x="504" y="144"/>
                    </a:lnTo>
                    <a:lnTo>
                      <a:pt x="504" y="102"/>
                    </a:lnTo>
                    <a:lnTo>
                      <a:pt x="498" y="96"/>
                    </a:lnTo>
                    <a:lnTo>
                      <a:pt x="480" y="96"/>
                    </a:lnTo>
                    <a:lnTo>
                      <a:pt x="474" y="78"/>
                    </a:lnTo>
                    <a:lnTo>
                      <a:pt x="462" y="78"/>
                    </a:lnTo>
                    <a:lnTo>
                      <a:pt x="456" y="54"/>
                    </a:lnTo>
                    <a:lnTo>
                      <a:pt x="432" y="42"/>
                    </a:lnTo>
                    <a:lnTo>
                      <a:pt x="432" y="30"/>
                    </a:lnTo>
                    <a:lnTo>
                      <a:pt x="426" y="24"/>
                    </a:lnTo>
                    <a:lnTo>
                      <a:pt x="420" y="12"/>
                    </a:lnTo>
                    <a:lnTo>
                      <a:pt x="414" y="6"/>
                    </a:lnTo>
                    <a:lnTo>
                      <a:pt x="396" y="0"/>
                    </a:lnTo>
                    <a:lnTo>
                      <a:pt x="384" y="0"/>
                    </a:lnTo>
                    <a:lnTo>
                      <a:pt x="378" y="6"/>
                    </a:lnTo>
                    <a:lnTo>
                      <a:pt x="378" y="12"/>
                    </a:lnTo>
                    <a:lnTo>
                      <a:pt x="366" y="24"/>
                    </a:lnTo>
                    <a:lnTo>
                      <a:pt x="348" y="24"/>
                    </a:lnTo>
                    <a:lnTo>
                      <a:pt x="342" y="18"/>
                    </a:lnTo>
                    <a:lnTo>
                      <a:pt x="336" y="30"/>
                    </a:lnTo>
                    <a:lnTo>
                      <a:pt x="312" y="24"/>
                    </a:lnTo>
                    <a:lnTo>
                      <a:pt x="312" y="30"/>
                    </a:lnTo>
                    <a:lnTo>
                      <a:pt x="300" y="42"/>
                    </a:lnTo>
                    <a:lnTo>
                      <a:pt x="288" y="42"/>
                    </a:lnTo>
                    <a:lnTo>
                      <a:pt x="264" y="18"/>
                    </a:lnTo>
                    <a:lnTo>
                      <a:pt x="258" y="18"/>
                    </a:lnTo>
                    <a:lnTo>
                      <a:pt x="246" y="24"/>
                    </a:lnTo>
                    <a:lnTo>
                      <a:pt x="240" y="24"/>
                    </a:lnTo>
                    <a:lnTo>
                      <a:pt x="228" y="30"/>
                    </a:lnTo>
                    <a:lnTo>
                      <a:pt x="222" y="24"/>
                    </a:lnTo>
                    <a:lnTo>
                      <a:pt x="198" y="24"/>
                    </a:lnTo>
                    <a:lnTo>
                      <a:pt x="192" y="18"/>
                    </a:lnTo>
                    <a:lnTo>
                      <a:pt x="168" y="18"/>
                    </a:lnTo>
                    <a:lnTo>
                      <a:pt x="150" y="36"/>
                    </a:lnTo>
                    <a:lnTo>
                      <a:pt x="120" y="36"/>
                    </a:lnTo>
                    <a:lnTo>
                      <a:pt x="108" y="48"/>
                    </a:lnTo>
                    <a:lnTo>
                      <a:pt x="108" y="90"/>
                    </a:lnTo>
                    <a:lnTo>
                      <a:pt x="90" y="108"/>
                    </a:lnTo>
                    <a:lnTo>
                      <a:pt x="78" y="114"/>
                    </a:lnTo>
                    <a:lnTo>
                      <a:pt x="72" y="120"/>
                    </a:lnTo>
                    <a:lnTo>
                      <a:pt x="72" y="138"/>
                    </a:lnTo>
                    <a:lnTo>
                      <a:pt x="66" y="144"/>
                    </a:lnTo>
                    <a:lnTo>
                      <a:pt x="54" y="150"/>
                    </a:lnTo>
                    <a:lnTo>
                      <a:pt x="48" y="156"/>
                    </a:lnTo>
                    <a:lnTo>
                      <a:pt x="30" y="150"/>
                    </a:lnTo>
                    <a:lnTo>
                      <a:pt x="30" y="168"/>
                    </a:lnTo>
                    <a:lnTo>
                      <a:pt x="0" y="174"/>
                    </a:lnTo>
                    <a:lnTo>
                      <a:pt x="6" y="174"/>
                    </a:lnTo>
                    <a:lnTo>
                      <a:pt x="30" y="192"/>
                    </a:lnTo>
                    <a:lnTo>
                      <a:pt x="36" y="192"/>
                    </a:lnTo>
                    <a:lnTo>
                      <a:pt x="48" y="228"/>
                    </a:lnTo>
                    <a:lnTo>
                      <a:pt x="54" y="234"/>
                    </a:lnTo>
                    <a:lnTo>
                      <a:pt x="60" y="234"/>
                    </a:lnTo>
                    <a:lnTo>
                      <a:pt x="66" y="228"/>
                    </a:lnTo>
                    <a:lnTo>
                      <a:pt x="72" y="228"/>
                    </a:lnTo>
                    <a:lnTo>
                      <a:pt x="84" y="234"/>
                    </a:lnTo>
                    <a:lnTo>
                      <a:pt x="84" y="252"/>
                    </a:lnTo>
                    <a:lnTo>
                      <a:pt x="78" y="258"/>
                    </a:lnTo>
                    <a:lnTo>
                      <a:pt x="90" y="276"/>
                    </a:lnTo>
                    <a:lnTo>
                      <a:pt x="114" y="282"/>
                    </a:lnTo>
                    <a:lnTo>
                      <a:pt x="120" y="288"/>
                    </a:lnTo>
                    <a:lnTo>
                      <a:pt x="144" y="282"/>
                    </a:lnTo>
                    <a:lnTo>
                      <a:pt x="168" y="288"/>
                    </a:lnTo>
                    <a:lnTo>
                      <a:pt x="162" y="294"/>
                    </a:lnTo>
                    <a:lnTo>
                      <a:pt x="156" y="306"/>
                    </a:lnTo>
                    <a:lnTo>
                      <a:pt x="162" y="312"/>
                    </a:lnTo>
                    <a:lnTo>
                      <a:pt x="162" y="324"/>
                    </a:lnTo>
                    <a:lnTo>
                      <a:pt x="186" y="324"/>
                    </a:lnTo>
                    <a:lnTo>
                      <a:pt x="192" y="330"/>
                    </a:lnTo>
                    <a:lnTo>
                      <a:pt x="186" y="336"/>
                    </a:lnTo>
                    <a:lnTo>
                      <a:pt x="186" y="342"/>
                    </a:lnTo>
                    <a:lnTo>
                      <a:pt x="180" y="348"/>
                    </a:lnTo>
                    <a:lnTo>
                      <a:pt x="186" y="354"/>
                    </a:lnTo>
                    <a:lnTo>
                      <a:pt x="204" y="354"/>
                    </a:lnTo>
                    <a:lnTo>
                      <a:pt x="216" y="342"/>
                    </a:lnTo>
                    <a:lnTo>
                      <a:pt x="240" y="354"/>
                    </a:lnTo>
                    <a:lnTo>
                      <a:pt x="252" y="354"/>
                    </a:lnTo>
                    <a:lnTo>
                      <a:pt x="258" y="360"/>
                    </a:lnTo>
                    <a:lnTo>
                      <a:pt x="282" y="360"/>
                    </a:lnTo>
                    <a:lnTo>
                      <a:pt x="288" y="354"/>
                    </a:lnTo>
                    <a:lnTo>
                      <a:pt x="288" y="348"/>
                    </a:lnTo>
                    <a:lnTo>
                      <a:pt x="306" y="354"/>
                    </a:lnTo>
                    <a:lnTo>
                      <a:pt x="330" y="354"/>
                    </a:lnTo>
                    <a:lnTo>
                      <a:pt x="336" y="360"/>
                    </a:lnTo>
                    <a:lnTo>
                      <a:pt x="348" y="366"/>
                    </a:lnTo>
                    <a:lnTo>
                      <a:pt x="366" y="366"/>
                    </a:lnTo>
                    <a:lnTo>
                      <a:pt x="372" y="360"/>
                    </a:lnTo>
                    <a:lnTo>
                      <a:pt x="372" y="348"/>
                    </a:lnTo>
                    <a:lnTo>
                      <a:pt x="378" y="342"/>
                    </a:lnTo>
                    <a:lnTo>
                      <a:pt x="384" y="342"/>
                    </a:lnTo>
                    <a:lnTo>
                      <a:pt x="396" y="336"/>
                    </a:lnTo>
                    <a:lnTo>
                      <a:pt x="402" y="336"/>
                    </a:lnTo>
                    <a:lnTo>
                      <a:pt x="402" y="330"/>
                    </a:lnTo>
                    <a:lnTo>
                      <a:pt x="432" y="336"/>
                    </a:lnTo>
                    <a:lnTo>
                      <a:pt x="432" y="324"/>
                    </a:lnTo>
                    <a:lnTo>
                      <a:pt x="438" y="324"/>
                    </a:lnTo>
                    <a:lnTo>
                      <a:pt x="450" y="330"/>
                    </a:lnTo>
                    <a:lnTo>
                      <a:pt x="462" y="330"/>
                    </a:lnTo>
                    <a:lnTo>
                      <a:pt x="474" y="336"/>
                    </a:lnTo>
                    <a:lnTo>
                      <a:pt x="498" y="336"/>
                    </a:lnTo>
                    <a:lnTo>
                      <a:pt x="516" y="35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78" name="Qata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0AF1A20-1DDC-40B4-AFEA-83C63A1741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20154" y="3571703"/>
                <a:ext cx="29701" cy="63770"/>
              </a:xfrm>
              <a:custGeom>
                <a:avLst/>
                <a:gdLst>
                  <a:gd name="T0" fmla="*/ 2147483647 w 66"/>
                  <a:gd name="T1" fmla="*/ 2147483647 h 144"/>
                  <a:gd name="T2" fmla="*/ 2147483647 w 66"/>
                  <a:gd name="T3" fmla="*/ 2147483647 h 144"/>
                  <a:gd name="T4" fmla="*/ 2147483647 w 66"/>
                  <a:gd name="T5" fmla="*/ 2147483647 h 144"/>
                  <a:gd name="T6" fmla="*/ 2147483647 w 66"/>
                  <a:gd name="T7" fmla="*/ 2147483647 h 144"/>
                  <a:gd name="T8" fmla="*/ 2147483647 w 66"/>
                  <a:gd name="T9" fmla="*/ 2147483647 h 144"/>
                  <a:gd name="T10" fmla="*/ 2147483647 w 66"/>
                  <a:gd name="T11" fmla="*/ 2147483647 h 144"/>
                  <a:gd name="T12" fmla="*/ 2147483647 w 66"/>
                  <a:gd name="T13" fmla="*/ 2147483647 h 144"/>
                  <a:gd name="T14" fmla="*/ 2147483647 w 66"/>
                  <a:gd name="T15" fmla="*/ 2147483647 h 144"/>
                  <a:gd name="T16" fmla="*/ 2147483647 w 66"/>
                  <a:gd name="T17" fmla="*/ 2147483647 h 144"/>
                  <a:gd name="T18" fmla="*/ 2147483647 w 66"/>
                  <a:gd name="T19" fmla="*/ 0 h 144"/>
                  <a:gd name="T20" fmla="*/ 2147483647 w 66"/>
                  <a:gd name="T21" fmla="*/ 0 h 144"/>
                  <a:gd name="T22" fmla="*/ 2147483647 w 66"/>
                  <a:gd name="T23" fmla="*/ 2147483647 h 144"/>
                  <a:gd name="T24" fmla="*/ 2147483647 w 66"/>
                  <a:gd name="T25" fmla="*/ 2147483647 h 144"/>
                  <a:gd name="T26" fmla="*/ 2147483647 w 66"/>
                  <a:gd name="T27" fmla="*/ 2147483647 h 144"/>
                  <a:gd name="T28" fmla="*/ 2147483647 w 66"/>
                  <a:gd name="T29" fmla="*/ 2147483647 h 144"/>
                  <a:gd name="T30" fmla="*/ 0 w 66"/>
                  <a:gd name="T31" fmla="*/ 2147483647 h 144"/>
                  <a:gd name="T32" fmla="*/ 2147483647 w 66"/>
                  <a:gd name="T33" fmla="*/ 2147483647 h 144"/>
                  <a:gd name="T34" fmla="*/ 2147483647 w 66"/>
                  <a:gd name="T35" fmla="*/ 2147483647 h 14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66"/>
                  <a:gd name="T55" fmla="*/ 0 h 144"/>
                  <a:gd name="T56" fmla="*/ 66 w 66"/>
                  <a:gd name="T57" fmla="*/ 144 h 14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66" h="144">
                    <a:moveTo>
                      <a:pt x="24" y="132"/>
                    </a:moveTo>
                    <a:lnTo>
                      <a:pt x="36" y="144"/>
                    </a:lnTo>
                    <a:lnTo>
                      <a:pt x="48" y="132"/>
                    </a:lnTo>
                    <a:lnTo>
                      <a:pt x="54" y="114"/>
                    </a:lnTo>
                    <a:lnTo>
                      <a:pt x="60" y="102"/>
                    </a:lnTo>
                    <a:lnTo>
                      <a:pt x="66" y="84"/>
                    </a:lnTo>
                    <a:lnTo>
                      <a:pt x="66" y="30"/>
                    </a:lnTo>
                    <a:lnTo>
                      <a:pt x="54" y="18"/>
                    </a:lnTo>
                    <a:lnTo>
                      <a:pt x="48" y="6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18" y="18"/>
                    </a:lnTo>
                    <a:lnTo>
                      <a:pt x="12" y="36"/>
                    </a:lnTo>
                    <a:lnTo>
                      <a:pt x="12" y="108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24" y="132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79" name="Po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EFBC710-9FE9-44E3-8989-B3EC3CFD1B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75754" y="2551372"/>
                <a:ext cx="276054" cy="201940"/>
              </a:xfrm>
              <a:custGeom>
                <a:avLst/>
                <a:gdLst>
                  <a:gd name="T0" fmla="*/ 2147483647 w 624"/>
                  <a:gd name="T1" fmla="*/ 2147483647 h 450"/>
                  <a:gd name="T2" fmla="*/ 2147483647 w 624"/>
                  <a:gd name="T3" fmla="*/ 2147483647 h 450"/>
                  <a:gd name="T4" fmla="*/ 2147483647 w 624"/>
                  <a:gd name="T5" fmla="*/ 2147483647 h 450"/>
                  <a:gd name="T6" fmla="*/ 2147483647 w 624"/>
                  <a:gd name="T7" fmla="*/ 2147483647 h 450"/>
                  <a:gd name="T8" fmla="*/ 2147483647 w 624"/>
                  <a:gd name="T9" fmla="*/ 2147483647 h 450"/>
                  <a:gd name="T10" fmla="*/ 2147483647 w 624"/>
                  <a:gd name="T11" fmla="*/ 2147483647 h 450"/>
                  <a:gd name="T12" fmla="*/ 2147483647 w 624"/>
                  <a:gd name="T13" fmla="*/ 2147483647 h 450"/>
                  <a:gd name="T14" fmla="*/ 2147483647 w 624"/>
                  <a:gd name="T15" fmla="*/ 2147483647 h 450"/>
                  <a:gd name="T16" fmla="*/ 2147483647 w 624"/>
                  <a:gd name="T17" fmla="*/ 2147483647 h 450"/>
                  <a:gd name="T18" fmla="*/ 2147483647 w 624"/>
                  <a:gd name="T19" fmla="*/ 2147483647 h 450"/>
                  <a:gd name="T20" fmla="*/ 2147483647 w 624"/>
                  <a:gd name="T21" fmla="*/ 2147483647 h 450"/>
                  <a:gd name="T22" fmla="*/ 2147483647 w 624"/>
                  <a:gd name="T23" fmla="*/ 2147483647 h 450"/>
                  <a:gd name="T24" fmla="*/ 2147483647 w 624"/>
                  <a:gd name="T25" fmla="*/ 2147483647 h 450"/>
                  <a:gd name="T26" fmla="*/ 2147483647 w 624"/>
                  <a:gd name="T27" fmla="*/ 2147483647 h 450"/>
                  <a:gd name="T28" fmla="*/ 2147483647 w 624"/>
                  <a:gd name="T29" fmla="*/ 2147483647 h 450"/>
                  <a:gd name="T30" fmla="*/ 2147483647 w 624"/>
                  <a:gd name="T31" fmla="*/ 2147483647 h 450"/>
                  <a:gd name="T32" fmla="*/ 2147483647 w 624"/>
                  <a:gd name="T33" fmla="*/ 2147483647 h 450"/>
                  <a:gd name="T34" fmla="*/ 2147483647 w 624"/>
                  <a:gd name="T35" fmla="*/ 2147483647 h 450"/>
                  <a:gd name="T36" fmla="*/ 2147483647 w 624"/>
                  <a:gd name="T37" fmla="*/ 2147483647 h 450"/>
                  <a:gd name="T38" fmla="*/ 2147483647 w 624"/>
                  <a:gd name="T39" fmla="*/ 2147483647 h 450"/>
                  <a:gd name="T40" fmla="*/ 2147483647 w 624"/>
                  <a:gd name="T41" fmla="*/ 2147483647 h 450"/>
                  <a:gd name="T42" fmla="*/ 2147483647 w 624"/>
                  <a:gd name="T43" fmla="*/ 2147483647 h 450"/>
                  <a:gd name="T44" fmla="*/ 2147483647 w 624"/>
                  <a:gd name="T45" fmla="*/ 2147483647 h 450"/>
                  <a:gd name="T46" fmla="*/ 2147483647 w 624"/>
                  <a:gd name="T47" fmla="*/ 2147483647 h 450"/>
                  <a:gd name="T48" fmla="*/ 2147483647 w 624"/>
                  <a:gd name="T49" fmla="*/ 2147483647 h 450"/>
                  <a:gd name="T50" fmla="*/ 2147483647 w 624"/>
                  <a:gd name="T51" fmla="*/ 2147483647 h 450"/>
                  <a:gd name="T52" fmla="*/ 2147483647 w 624"/>
                  <a:gd name="T53" fmla="*/ 2147483647 h 450"/>
                  <a:gd name="T54" fmla="*/ 2147483647 w 624"/>
                  <a:gd name="T55" fmla="*/ 2147483647 h 450"/>
                  <a:gd name="T56" fmla="*/ 2147483647 w 624"/>
                  <a:gd name="T57" fmla="*/ 2147483647 h 450"/>
                  <a:gd name="T58" fmla="*/ 0 w 624"/>
                  <a:gd name="T59" fmla="*/ 2147483647 h 450"/>
                  <a:gd name="T60" fmla="*/ 2147483647 w 624"/>
                  <a:gd name="T61" fmla="*/ 2147483647 h 450"/>
                  <a:gd name="T62" fmla="*/ 2147483647 w 624"/>
                  <a:gd name="T63" fmla="*/ 2147483647 h 450"/>
                  <a:gd name="T64" fmla="*/ 2147483647 w 624"/>
                  <a:gd name="T65" fmla="*/ 2147483647 h 450"/>
                  <a:gd name="T66" fmla="*/ 2147483647 w 624"/>
                  <a:gd name="T67" fmla="*/ 2147483647 h 450"/>
                  <a:gd name="T68" fmla="*/ 2147483647 w 624"/>
                  <a:gd name="T69" fmla="*/ 2147483647 h 450"/>
                  <a:gd name="T70" fmla="*/ 2147483647 w 624"/>
                  <a:gd name="T71" fmla="*/ 2147483647 h 450"/>
                  <a:gd name="T72" fmla="*/ 2147483647 w 624"/>
                  <a:gd name="T73" fmla="*/ 2147483647 h 450"/>
                  <a:gd name="T74" fmla="*/ 2147483647 w 624"/>
                  <a:gd name="T75" fmla="*/ 2147483647 h 450"/>
                  <a:gd name="T76" fmla="*/ 2147483647 w 624"/>
                  <a:gd name="T77" fmla="*/ 2147483647 h 450"/>
                  <a:gd name="T78" fmla="*/ 2147483647 w 624"/>
                  <a:gd name="T79" fmla="*/ 2147483647 h 450"/>
                  <a:gd name="T80" fmla="*/ 2147483647 w 624"/>
                  <a:gd name="T81" fmla="*/ 2147483647 h 450"/>
                  <a:gd name="T82" fmla="*/ 2147483647 w 624"/>
                  <a:gd name="T83" fmla="*/ 2147483647 h 450"/>
                  <a:gd name="T84" fmla="*/ 2147483647 w 624"/>
                  <a:gd name="T85" fmla="*/ 2147483647 h 450"/>
                  <a:gd name="T86" fmla="*/ 2147483647 w 624"/>
                  <a:gd name="T87" fmla="*/ 2147483647 h 450"/>
                  <a:gd name="T88" fmla="*/ 2147483647 w 624"/>
                  <a:gd name="T89" fmla="*/ 2147483647 h 450"/>
                  <a:gd name="T90" fmla="*/ 2147483647 w 624"/>
                  <a:gd name="T91" fmla="*/ 2147483647 h 450"/>
                  <a:gd name="T92" fmla="*/ 2147483647 w 624"/>
                  <a:gd name="T93" fmla="*/ 2147483647 h 450"/>
                  <a:gd name="T94" fmla="*/ 2147483647 w 624"/>
                  <a:gd name="T95" fmla="*/ 2147483647 h 450"/>
                  <a:gd name="T96" fmla="*/ 2147483647 w 624"/>
                  <a:gd name="T97" fmla="*/ 2147483647 h 450"/>
                  <a:gd name="T98" fmla="*/ 2147483647 w 624"/>
                  <a:gd name="T99" fmla="*/ 2147483647 h 450"/>
                  <a:gd name="T100" fmla="*/ 2147483647 w 624"/>
                  <a:gd name="T101" fmla="*/ 2147483647 h 450"/>
                  <a:gd name="T102" fmla="*/ 2147483647 w 624"/>
                  <a:gd name="T103" fmla="*/ 2147483647 h 450"/>
                  <a:gd name="T104" fmla="*/ 2147483647 w 624"/>
                  <a:gd name="T105" fmla="*/ 2147483647 h 450"/>
                  <a:gd name="T106" fmla="*/ 2147483647 w 624"/>
                  <a:gd name="T107" fmla="*/ 2147483647 h 4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24"/>
                  <a:gd name="T163" fmla="*/ 0 h 450"/>
                  <a:gd name="T164" fmla="*/ 624 w 624"/>
                  <a:gd name="T165" fmla="*/ 450 h 4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24" h="450">
                    <a:moveTo>
                      <a:pt x="426" y="426"/>
                    </a:moveTo>
                    <a:lnTo>
                      <a:pt x="432" y="426"/>
                    </a:lnTo>
                    <a:lnTo>
                      <a:pt x="444" y="420"/>
                    </a:lnTo>
                    <a:lnTo>
                      <a:pt x="450" y="414"/>
                    </a:lnTo>
                    <a:lnTo>
                      <a:pt x="474" y="414"/>
                    </a:lnTo>
                    <a:lnTo>
                      <a:pt x="498" y="438"/>
                    </a:lnTo>
                    <a:lnTo>
                      <a:pt x="528" y="438"/>
                    </a:lnTo>
                    <a:lnTo>
                      <a:pt x="528" y="450"/>
                    </a:lnTo>
                    <a:lnTo>
                      <a:pt x="552" y="450"/>
                    </a:lnTo>
                    <a:lnTo>
                      <a:pt x="540" y="438"/>
                    </a:lnTo>
                    <a:lnTo>
                      <a:pt x="540" y="396"/>
                    </a:lnTo>
                    <a:lnTo>
                      <a:pt x="594" y="348"/>
                    </a:lnTo>
                    <a:lnTo>
                      <a:pt x="606" y="348"/>
                    </a:lnTo>
                    <a:lnTo>
                      <a:pt x="612" y="342"/>
                    </a:lnTo>
                    <a:lnTo>
                      <a:pt x="618" y="342"/>
                    </a:lnTo>
                    <a:lnTo>
                      <a:pt x="624" y="336"/>
                    </a:lnTo>
                    <a:lnTo>
                      <a:pt x="618" y="330"/>
                    </a:lnTo>
                    <a:lnTo>
                      <a:pt x="618" y="324"/>
                    </a:lnTo>
                    <a:lnTo>
                      <a:pt x="612" y="318"/>
                    </a:lnTo>
                    <a:lnTo>
                      <a:pt x="618" y="306"/>
                    </a:lnTo>
                    <a:lnTo>
                      <a:pt x="612" y="300"/>
                    </a:lnTo>
                    <a:lnTo>
                      <a:pt x="600" y="294"/>
                    </a:lnTo>
                    <a:lnTo>
                      <a:pt x="600" y="288"/>
                    </a:lnTo>
                    <a:lnTo>
                      <a:pt x="582" y="270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76" y="240"/>
                    </a:lnTo>
                    <a:lnTo>
                      <a:pt x="576" y="210"/>
                    </a:lnTo>
                    <a:lnTo>
                      <a:pt x="564" y="198"/>
                    </a:lnTo>
                    <a:lnTo>
                      <a:pt x="558" y="198"/>
                    </a:lnTo>
                    <a:lnTo>
                      <a:pt x="552" y="192"/>
                    </a:lnTo>
                    <a:lnTo>
                      <a:pt x="552" y="186"/>
                    </a:lnTo>
                    <a:lnTo>
                      <a:pt x="564" y="186"/>
                    </a:lnTo>
                    <a:lnTo>
                      <a:pt x="564" y="168"/>
                    </a:lnTo>
                    <a:lnTo>
                      <a:pt x="588" y="162"/>
                    </a:lnTo>
                    <a:lnTo>
                      <a:pt x="588" y="150"/>
                    </a:lnTo>
                    <a:lnTo>
                      <a:pt x="594" y="144"/>
                    </a:lnTo>
                    <a:lnTo>
                      <a:pt x="594" y="138"/>
                    </a:lnTo>
                    <a:lnTo>
                      <a:pt x="588" y="132"/>
                    </a:lnTo>
                    <a:lnTo>
                      <a:pt x="576" y="108"/>
                    </a:lnTo>
                    <a:lnTo>
                      <a:pt x="570" y="102"/>
                    </a:lnTo>
                    <a:lnTo>
                      <a:pt x="570" y="90"/>
                    </a:lnTo>
                    <a:lnTo>
                      <a:pt x="564" y="84"/>
                    </a:lnTo>
                    <a:lnTo>
                      <a:pt x="558" y="72"/>
                    </a:lnTo>
                    <a:lnTo>
                      <a:pt x="558" y="48"/>
                    </a:lnTo>
                    <a:lnTo>
                      <a:pt x="546" y="42"/>
                    </a:lnTo>
                    <a:lnTo>
                      <a:pt x="540" y="42"/>
                    </a:lnTo>
                    <a:lnTo>
                      <a:pt x="522" y="36"/>
                    </a:lnTo>
                    <a:lnTo>
                      <a:pt x="498" y="36"/>
                    </a:lnTo>
                    <a:lnTo>
                      <a:pt x="498" y="42"/>
                    </a:lnTo>
                    <a:lnTo>
                      <a:pt x="408" y="42"/>
                    </a:lnTo>
                    <a:lnTo>
                      <a:pt x="402" y="36"/>
                    </a:lnTo>
                    <a:lnTo>
                      <a:pt x="390" y="36"/>
                    </a:lnTo>
                    <a:lnTo>
                      <a:pt x="384" y="30"/>
                    </a:lnTo>
                    <a:lnTo>
                      <a:pt x="360" y="30"/>
                    </a:lnTo>
                    <a:lnTo>
                      <a:pt x="354" y="36"/>
                    </a:lnTo>
                    <a:lnTo>
                      <a:pt x="348" y="36"/>
                    </a:lnTo>
                    <a:lnTo>
                      <a:pt x="342" y="30"/>
                    </a:lnTo>
                    <a:lnTo>
                      <a:pt x="312" y="30"/>
                    </a:lnTo>
                    <a:lnTo>
                      <a:pt x="300" y="36"/>
                    </a:lnTo>
                    <a:lnTo>
                      <a:pt x="282" y="36"/>
                    </a:lnTo>
                    <a:lnTo>
                      <a:pt x="276" y="30"/>
                    </a:lnTo>
                    <a:lnTo>
                      <a:pt x="270" y="18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58" y="6"/>
                    </a:lnTo>
                    <a:lnTo>
                      <a:pt x="252" y="0"/>
                    </a:lnTo>
                    <a:lnTo>
                      <a:pt x="210" y="0"/>
                    </a:lnTo>
                    <a:lnTo>
                      <a:pt x="192" y="6"/>
                    </a:lnTo>
                    <a:lnTo>
                      <a:pt x="180" y="12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44" y="24"/>
                    </a:lnTo>
                    <a:lnTo>
                      <a:pt x="138" y="24"/>
                    </a:lnTo>
                    <a:lnTo>
                      <a:pt x="120" y="42"/>
                    </a:lnTo>
                    <a:lnTo>
                      <a:pt x="60" y="48"/>
                    </a:lnTo>
                    <a:lnTo>
                      <a:pt x="54" y="48"/>
                    </a:lnTo>
                    <a:lnTo>
                      <a:pt x="48" y="54"/>
                    </a:lnTo>
                    <a:lnTo>
                      <a:pt x="24" y="66"/>
                    </a:lnTo>
                    <a:lnTo>
                      <a:pt x="18" y="66"/>
                    </a:lnTo>
                    <a:lnTo>
                      <a:pt x="12" y="72"/>
                    </a:lnTo>
                    <a:lnTo>
                      <a:pt x="18" y="78"/>
                    </a:lnTo>
                    <a:lnTo>
                      <a:pt x="18" y="96"/>
                    </a:lnTo>
                    <a:lnTo>
                      <a:pt x="6" y="90"/>
                    </a:lnTo>
                    <a:lnTo>
                      <a:pt x="6" y="108"/>
                    </a:lnTo>
                    <a:lnTo>
                      <a:pt x="12" y="108"/>
                    </a:lnTo>
                    <a:lnTo>
                      <a:pt x="18" y="114"/>
                    </a:lnTo>
                    <a:lnTo>
                      <a:pt x="18" y="132"/>
                    </a:lnTo>
                    <a:lnTo>
                      <a:pt x="6" y="144"/>
                    </a:lnTo>
                    <a:lnTo>
                      <a:pt x="0" y="144"/>
                    </a:lnTo>
                    <a:lnTo>
                      <a:pt x="0" y="156"/>
                    </a:lnTo>
                    <a:lnTo>
                      <a:pt x="6" y="162"/>
                    </a:lnTo>
                    <a:lnTo>
                      <a:pt x="12" y="162"/>
                    </a:lnTo>
                    <a:lnTo>
                      <a:pt x="18" y="168"/>
                    </a:lnTo>
                    <a:lnTo>
                      <a:pt x="30" y="168"/>
                    </a:lnTo>
                    <a:lnTo>
                      <a:pt x="30" y="186"/>
                    </a:lnTo>
                    <a:lnTo>
                      <a:pt x="24" y="186"/>
                    </a:lnTo>
                    <a:lnTo>
                      <a:pt x="24" y="198"/>
                    </a:lnTo>
                    <a:lnTo>
                      <a:pt x="36" y="198"/>
                    </a:lnTo>
                    <a:lnTo>
                      <a:pt x="36" y="204"/>
                    </a:lnTo>
                    <a:lnTo>
                      <a:pt x="30" y="210"/>
                    </a:lnTo>
                    <a:lnTo>
                      <a:pt x="36" y="210"/>
                    </a:lnTo>
                    <a:lnTo>
                      <a:pt x="42" y="216"/>
                    </a:lnTo>
                    <a:lnTo>
                      <a:pt x="36" y="222"/>
                    </a:lnTo>
                    <a:lnTo>
                      <a:pt x="24" y="228"/>
                    </a:lnTo>
                    <a:lnTo>
                      <a:pt x="24" y="234"/>
                    </a:lnTo>
                    <a:lnTo>
                      <a:pt x="30" y="240"/>
                    </a:lnTo>
                    <a:lnTo>
                      <a:pt x="36" y="240"/>
                    </a:lnTo>
                    <a:lnTo>
                      <a:pt x="42" y="246"/>
                    </a:lnTo>
                    <a:lnTo>
                      <a:pt x="42" y="264"/>
                    </a:lnTo>
                    <a:lnTo>
                      <a:pt x="48" y="258"/>
                    </a:lnTo>
                    <a:lnTo>
                      <a:pt x="54" y="258"/>
                    </a:lnTo>
                    <a:lnTo>
                      <a:pt x="54" y="270"/>
                    </a:lnTo>
                    <a:lnTo>
                      <a:pt x="48" y="276"/>
                    </a:lnTo>
                    <a:lnTo>
                      <a:pt x="60" y="276"/>
                    </a:lnTo>
                    <a:lnTo>
                      <a:pt x="60" y="282"/>
                    </a:lnTo>
                    <a:lnTo>
                      <a:pt x="54" y="282"/>
                    </a:lnTo>
                    <a:lnTo>
                      <a:pt x="54" y="294"/>
                    </a:lnTo>
                    <a:lnTo>
                      <a:pt x="72" y="294"/>
                    </a:lnTo>
                    <a:lnTo>
                      <a:pt x="78" y="312"/>
                    </a:lnTo>
                    <a:lnTo>
                      <a:pt x="96" y="312"/>
                    </a:lnTo>
                    <a:lnTo>
                      <a:pt x="108" y="318"/>
                    </a:lnTo>
                    <a:lnTo>
                      <a:pt x="114" y="318"/>
                    </a:lnTo>
                    <a:lnTo>
                      <a:pt x="114" y="324"/>
                    </a:lnTo>
                    <a:lnTo>
                      <a:pt x="138" y="324"/>
                    </a:lnTo>
                    <a:lnTo>
                      <a:pt x="144" y="330"/>
                    </a:lnTo>
                    <a:lnTo>
                      <a:pt x="132" y="336"/>
                    </a:lnTo>
                    <a:lnTo>
                      <a:pt x="144" y="342"/>
                    </a:lnTo>
                    <a:lnTo>
                      <a:pt x="144" y="354"/>
                    </a:lnTo>
                    <a:lnTo>
                      <a:pt x="150" y="354"/>
                    </a:lnTo>
                    <a:lnTo>
                      <a:pt x="156" y="360"/>
                    </a:lnTo>
                    <a:lnTo>
                      <a:pt x="174" y="360"/>
                    </a:lnTo>
                    <a:lnTo>
                      <a:pt x="174" y="354"/>
                    </a:lnTo>
                    <a:lnTo>
                      <a:pt x="180" y="354"/>
                    </a:lnTo>
                    <a:lnTo>
                      <a:pt x="192" y="348"/>
                    </a:lnTo>
                    <a:lnTo>
                      <a:pt x="210" y="348"/>
                    </a:lnTo>
                    <a:lnTo>
                      <a:pt x="204" y="354"/>
                    </a:lnTo>
                    <a:lnTo>
                      <a:pt x="222" y="354"/>
                    </a:lnTo>
                    <a:lnTo>
                      <a:pt x="228" y="360"/>
                    </a:lnTo>
                    <a:lnTo>
                      <a:pt x="234" y="372"/>
                    </a:lnTo>
                    <a:lnTo>
                      <a:pt x="240" y="378"/>
                    </a:lnTo>
                    <a:lnTo>
                      <a:pt x="246" y="366"/>
                    </a:lnTo>
                    <a:lnTo>
                      <a:pt x="252" y="372"/>
                    </a:lnTo>
                    <a:lnTo>
                      <a:pt x="252" y="378"/>
                    </a:lnTo>
                    <a:lnTo>
                      <a:pt x="270" y="378"/>
                    </a:lnTo>
                    <a:lnTo>
                      <a:pt x="282" y="384"/>
                    </a:lnTo>
                    <a:lnTo>
                      <a:pt x="282" y="390"/>
                    </a:lnTo>
                    <a:lnTo>
                      <a:pt x="288" y="402"/>
                    </a:lnTo>
                    <a:lnTo>
                      <a:pt x="306" y="420"/>
                    </a:lnTo>
                    <a:lnTo>
                      <a:pt x="318" y="420"/>
                    </a:lnTo>
                    <a:lnTo>
                      <a:pt x="330" y="408"/>
                    </a:lnTo>
                    <a:lnTo>
                      <a:pt x="342" y="408"/>
                    </a:lnTo>
                    <a:lnTo>
                      <a:pt x="354" y="420"/>
                    </a:lnTo>
                    <a:lnTo>
                      <a:pt x="360" y="420"/>
                    </a:lnTo>
                    <a:lnTo>
                      <a:pt x="360" y="426"/>
                    </a:lnTo>
                    <a:lnTo>
                      <a:pt x="366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84" y="420"/>
                    </a:lnTo>
                    <a:lnTo>
                      <a:pt x="414" y="420"/>
                    </a:lnTo>
                    <a:lnTo>
                      <a:pt x="420" y="426"/>
                    </a:lnTo>
                    <a:lnTo>
                      <a:pt x="426" y="426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0" name="Om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9DD5666-0678-4C66-8F3D-3E0091D429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69077" y="3614218"/>
                <a:ext cx="239362" cy="302911"/>
              </a:xfrm>
              <a:custGeom>
                <a:avLst/>
                <a:gdLst>
                  <a:gd name="T0" fmla="*/ 2147483647 w 540"/>
                  <a:gd name="T1" fmla="*/ 2147483647 h 672"/>
                  <a:gd name="T2" fmla="*/ 2147483647 w 540"/>
                  <a:gd name="T3" fmla="*/ 2147483647 h 672"/>
                  <a:gd name="T4" fmla="*/ 2147483647 w 540"/>
                  <a:gd name="T5" fmla="*/ 2147483647 h 672"/>
                  <a:gd name="T6" fmla="*/ 2147483647 w 540"/>
                  <a:gd name="T7" fmla="*/ 2147483647 h 672"/>
                  <a:gd name="T8" fmla="*/ 2147483647 w 540"/>
                  <a:gd name="T9" fmla="*/ 2147483647 h 672"/>
                  <a:gd name="T10" fmla="*/ 2147483647 w 540"/>
                  <a:gd name="T11" fmla="*/ 2147483647 h 672"/>
                  <a:gd name="T12" fmla="*/ 2147483647 w 540"/>
                  <a:gd name="T13" fmla="*/ 2147483647 h 672"/>
                  <a:gd name="T14" fmla="*/ 2147483647 w 540"/>
                  <a:gd name="T15" fmla="*/ 2147483647 h 672"/>
                  <a:gd name="T16" fmla="*/ 2147483647 w 540"/>
                  <a:gd name="T17" fmla="*/ 2147483647 h 672"/>
                  <a:gd name="T18" fmla="*/ 2147483647 w 540"/>
                  <a:gd name="T19" fmla="*/ 2147483647 h 672"/>
                  <a:gd name="T20" fmla="*/ 2147483647 w 540"/>
                  <a:gd name="T21" fmla="*/ 2147483647 h 672"/>
                  <a:gd name="T22" fmla="*/ 2147483647 w 540"/>
                  <a:gd name="T23" fmla="*/ 2147483647 h 672"/>
                  <a:gd name="T24" fmla="*/ 2147483647 w 540"/>
                  <a:gd name="T25" fmla="*/ 2147483647 h 672"/>
                  <a:gd name="T26" fmla="*/ 2147483647 w 540"/>
                  <a:gd name="T27" fmla="*/ 2147483647 h 672"/>
                  <a:gd name="T28" fmla="*/ 2147483647 w 540"/>
                  <a:gd name="T29" fmla="*/ 2147483647 h 672"/>
                  <a:gd name="T30" fmla="*/ 2147483647 w 540"/>
                  <a:gd name="T31" fmla="*/ 2147483647 h 672"/>
                  <a:gd name="T32" fmla="*/ 2147483647 w 540"/>
                  <a:gd name="T33" fmla="*/ 2147483647 h 672"/>
                  <a:gd name="T34" fmla="*/ 2147483647 w 540"/>
                  <a:gd name="T35" fmla="*/ 2147483647 h 672"/>
                  <a:gd name="T36" fmla="*/ 2147483647 w 540"/>
                  <a:gd name="T37" fmla="*/ 2147483647 h 672"/>
                  <a:gd name="T38" fmla="*/ 2147483647 w 540"/>
                  <a:gd name="T39" fmla="*/ 2147483647 h 672"/>
                  <a:gd name="T40" fmla="*/ 2147483647 w 540"/>
                  <a:gd name="T41" fmla="*/ 2147483647 h 672"/>
                  <a:gd name="T42" fmla="*/ 2147483647 w 540"/>
                  <a:gd name="T43" fmla="*/ 2147483647 h 672"/>
                  <a:gd name="T44" fmla="*/ 2147483647 w 540"/>
                  <a:gd name="T45" fmla="*/ 2147483647 h 672"/>
                  <a:gd name="T46" fmla="*/ 2147483647 w 540"/>
                  <a:gd name="T47" fmla="*/ 2147483647 h 672"/>
                  <a:gd name="T48" fmla="*/ 2147483647 w 540"/>
                  <a:gd name="T49" fmla="*/ 2147483647 h 672"/>
                  <a:gd name="T50" fmla="*/ 2147483647 w 540"/>
                  <a:gd name="T51" fmla="*/ 0 h 672"/>
                  <a:gd name="T52" fmla="*/ 2147483647 w 540"/>
                  <a:gd name="T53" fmla="*/ 2147483647 h 672"/>
                  <a:gd name="T54" fmla="*/ 2147483647 w 540"/>
                  <a:gd name="T55" fmla="*/ 2147483647 h 672"/>
                  <a:gd name="T56" fmla="*/ 2147483647 w 540"/>
                  <a:gd name="T57" fmla="*/ 2147483647 h 672"/>
                  <a:gd name="T58" fmla="*/ 2147483647 w 540"/>
                  <a:gd name="T59" fmla="*/ 2147483647 h 672"/>
                  <a:gd name="T60" fmla="*/ 2147483647 w 540"/>
                  <a:gd name="T61" fmla="*/ 2147483647 h 672"/>
                  <a:gd name="T62" fmla="*/ 2147483647 w 540"/>
                  <a:gd name="T63" fmla="*/ 2147483647 h 672"/>
                  <a:gd name="T64" fmla="*/ 2147483647 w 540"/>
                  <a:gd name="T65" fmla="*/ 2147483647 h 672"/>
                  <a:gd name="T66" fmla="*/ 2147483647 w 540"/>
                  <a:gd name="T67" fmla="*/ 2147483647 h 672"/>
                  <a:gd name="T68" fmla="*/ 2147483647 w 540"/>
                  <a:gd name="T69" fmla="*/ 2147483647 h 672"/>
                  <a:gd name="T70" fmla="*/ 2147483647 w 540"/>
                  <a:gd name="T71" fmla="*/ 2147483647 h 672"/>
                  <a:gd name="T72" fmla="*/ 2147483647 w 540"/>
                  <a:gd name="T73" fmla="*/ 2147483647 h 672"/>
                  <a:gd name="T74" fmla="*/ 2147483647 w 540"/>
                  <a:gd name="T75" fmla="*/ 2147483647 h 672"/>
                  <a:gd name="T76" fmla="*/ 2147483647 w 540"/>
                  <a:gd name="T77" fmla="*/ 2147483647 h 672"/>
                  <a:gd name="T78" fmla="*/ 2147483647 w 540"/>
                  <a:gd name="T79" fmla="*/ 2147483647 h 672"/>
                  <a:gd name="T80" fmla="*/ 2147483647 w 540"/>
                  <a:gd name="T81" fmla="*/ 2147483647 h 672"/>
                  <a:gd name="T82" fmla="*/ 2147483647 w 540"/>
                  <a:gd name="T83" fmla="*/ 2147483647 h 672"/>
                  <a:gd name="T84" fmla="*/ 2147483647 w 540"/>
                  <a:gd name="T85" fmla="*/ 2147483647 h 672"/>
                  <a:gd name="T86" fmla="*/ 2147483647 w 540"/>
                  <a:gd name="T87" fmla="*/ 2147483647 h 67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540"/>
                  <a:gd name="T133" fmla="*/ 0 h 672"/>
                  <a:gd name="T134" fmla="*/ 540 w 540"/>
                  <a:gd name="T135" fmla="*/ 672 h 672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540" h="672">
                    <a:moveTo>
                      <a:pt x="258" y="564"/>
                    </a:moveTo>
                    <a:lnTo>
                      <a:pt x="276" y="564"/>
                    </a:lnTo>
                    <a:lnTo>
                      <a:pt x="288" y="558"/>
                    </a:lnTo>
                    <a:lnTo>
                      <a:pt x="306" y="552"/>
                    </a:lnTo>
                    <a:lnTo>
                      <a:pt x="330" y="540"/>
                    </a:lnTo>
                    <a:lnTo>
                      <a:pt x="336" y="528"/>
                    </a:lnTo>
                    <a:lnTo>
                      <a:pt x="342" y="510"/>
                    </a:lnTo>
                    <a:lnTo>
                      <a:pt x="342" y="498"/>
                    </a:lnTo>
                    <a:lnTo>
                      <a:pt x="348" y="498"/>
                    </a:lnTo>
                    <a:lnTo>
                      <a:pt x="354" y="492"/>
                    </a:lnTo>
                    <a:lnTo>
                      <a:pt x="366" y="486"/>
                    </a:lnTo>
                    <a:lnTo>
                      <a:pt x="384" y="480"/>
                    </a:lnTo>
                    <a:lnTo>
                      <a:pt x="408" y="456"/>
                    </a:lnTo>
                    <a:lnTo>
                      <a:pt x="414" y="444"/>
                    </a:lnTo>
                    <a:lnTo>
                      <a:pt x="414" y="426"/>
                    </a:lnTo>
                    <a:lnTo>
                      <a:pt x="420" y="408"/>
                    </a:lnTo>
                    <a:lnTo>
                      <a:pt x="420" y="378"/>
                    </a:lnTo>
                    <a:lnTo>
                      <a:pt x="426" y="372"/>
                    </a:lnTo>
                    <a:lnTo>
                      <a:pt x="432" y="372"/>
                    </a:lnTo>
                    <a:lnTo>
                      <a:pt x="444" y="378"/>
                    </a:lnTo>
                    <a:lnTo>
                      <a:pt x="450" y="384"/>
                    </a:lnTo>
                    <a:lnTo>
                      <a:pt x="462" y="384"/>
                    </a:lnTo>
                    <a:lnTo>
                      <a:pt x="468" y="378"/>
                    </a:lnTo>
                    <a:lnTo>
                      <a:pt x="480" y="354"/>
                    </a:lnTo>
                    <a:lnTo>
                      <a:pt x="480" y="330"/>
                    </a:lnTo>
                    <a:lnTo>
                      <a:pt x="534" y="276"/>
                    </a:lnTo>
                    <a:lnTo>
                      <a:pt x="534" y="264"/>
                    </a:lnTo>
                    <a:lnTo>
                      <a:pt x="540" y="252"/>
                    </a:lnTo>
                    <a:lnTo>
                      <a:pt x="540" y="204"/>
                    </a:lnTo>
                    <a:lnTo>
                      <a:pt x="528" y="192"/>
                    </a:lnTo>
                    <a:lnTo>
                      <a:pt x="510" y="192"/>
                    </a:lnTo>
                    <a:lnTo>
                      <a:pt x="510" y="186"/>
                    </a:lnTo>
                    <a:lnTo>
                      <a:pt x="492" y="168"/>
                    </a:lnTo>
                    <a:lnTo>
                      <a:pt x="486" y="150"/>
                    </a:lnTo>
                    <a:lnTo>
                      <a:pt x="462" y="126"/>
                    </a:lnTo>
                    <a:lnTo>
                      <a:pt x="456" y="114"/>
                    </a:lnTo>
                    <a:lnTo>
                      <a:pt x="432" y="96"/>
                    </a:lnTo>
                    <a:lnTo>
                      <a:pt x="396" y="84"/>
                    </a:lnTo>
                    <a:lnTo>
                      <a:pt x="366" y="78"/>
                    </a:lnTo>
                    <a:lnTo>
                      <a:pt x="348" y="78"/>
                    </a:lnTo>
                    <a:lnTo>
                      <a:pt x="342" y="72"/>
                    </a:lnTo>
                    <a:lnTo>
                      <a:pt x="330" y="72"/>
                    </a:lnTo>
                    <a:lnTo>
                      <a:pt x="318" y="60"/>
                    </a:lnTo>
                    <a:lnTo>
                      <a:pt x="294" y="48"/>
                    </a:lnTo>
                    <a:lnTo>
                      <a:pt x="288" y="36"/>
                    </a:lnTo>
                    <a:lnTo>
                      <a:pt x="288" y="30"/>
                    </a:lnTo>
                    <a:lnTo>
                      <a:pt x="282" y="18"/>
                    </a:lnTo>
                    <a:lnTo>
                      <a:pt x="276" y="12"/>
                    </a:lnTo>
                    <a:lnTo>
                      <a:pt x="252" y="18"/>
                    </a:lnTo>
                    <a:lnTo>
                      <a:pt x="246" y="6"/>
                    </a:lnTo>
                    <a:lnTo>
                      <a:pt x="246" y="0"/>
                    </a:lnTo>
                    <a:lnTo>
                      <a:pt x="240" y="0"/>
                    </a:lnTo>
                    <a:lnTo>
                      <a:pt x="234" y="6"/>
                    </a:lnTo>
                    <a:lnTo>
                      <a:pt x="234" y="12"/>
                    </a:lnTo>
                    <a:lnTo>
                      <a:pt x="228" y="24"/>
                    </a:lnTo>
                    <a:lnTo>
                      <a:pt x="228" y="54"/>
                    </a:lnTo>
                    <a:lnTo>
                      <a:pt x="246" y="72"/>
                    </a:lnTo>
                    <a:lnTo>
                      <a:pt x="246" y="78"/>
                    </a:lnTo>
                    <a:lnTo>
                      <a:pt x="240" y="78"/>
                    </a:lnTo>
                    <a:lnTo>
                      <a:pt x="240" y="72"/>
                    </a:lnTo>
                    <a:lnTo>
                      <a:pt x="228" y="72"/>
                    </a:lnTo>
                    <a:lnTo>
                      <a:pt x="228" y="78"/>
                    </a:lnTo>
                    <a:lnTo>
                      <a:pt x="222" y="84"/>
                    </a:lnTo>
                    <a:lnTo>
                      <a:pt x="222" y="96"/>
                    </a:lnTo>
                    <a:lnTo>
                      <a:pt x="216" y="108"/>
                    </a:lnTo>
                    <a:lnTo>
                      <a:pt x="216" y="120"/>
                    </a:lnTo>
                    <a:lnTo>
                      <a:pt x="210" y="132"/>
                    </a:lnTo>
                    <a:lnTo>
                      <a:pt x="204" y="138"/>
                    </a:lnTo>
                    <a:lnTo>
                      <a:pt x="198" y="150"/>
                    </a:lnTo>
                    <a:lnTo>
                      <a:pt x="192" y="156"/>
                    </a:lnTo>
                    <a:lnTo>
                      <a:pt x="192" y="168"/>
                    </a:lnTo>
                    <a:lnTo>
                      <a:pt x="210" y="204"/>
                    </a:lnTo>
                    <a:lnTo>
                      <a:pt x="216" y="210"/>
                    </a:lnTo>
                    <a:lnTo>
                      <a:pt x="216" y="222"/>
                    </a:lnTo>
                    <a:lnTo>
                      <a:pt x="222" y="228"/>
                    </a:lnTo>
                    <a:lnTo>
                      <a:pt x="234" y="234"/>
                    </a:lnTo>
                    <a:lnTo>
                      <a:pt x="240" y="240"/>
                    </a:lnTo>
                    <a:lnTo>
                      <a:pt x="204" y="414"/>
                    </a:lnTo>
                    <a:lnTo>
                      <a:pt x="0" y="486"/>
                    </a:lnTo>
                    <a:lnTo>
                      <a:pt x="84" y="672"/>
                    </a:lnTo>
                    <a:lnTo>
                      <a:pt x="114" y="660"/>
                    </a:lnTo>
                    <a:lnTo>
                      <a:pt x="198" y="636"/>
                    </a:lnTo>
                    <a:lnTo>
                      <a:pt x="228" y="624"/>
                    </a:lnTo>
                    <a:lnTo>
                      <a:pt x="246" y="618"/>
                    </a:lnTo>
                    <a:lnTo>
                      <a:pt x="252" y="606"/>
                    </a:lnTo>
                    <a:lnTo>
                      <a:pt x="252" y="594"/>
                    </a:lnTo>
                    <a:lnTo>
                      <a:pt x="258" y="582"/>
                    </a:lnTo>
                    <a:lnTo>
                      <a:pt x="258" y="56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1" name="Montenegr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5E35DC1-E6F0-4B4A-93CF-3CF11430AE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03299" y="2944624"/>
                <a:ext cx="50668" cy="60228"/>
              </a:xfrm>
              <a:custGeom>
                <a:avLst/>
                <a:gdLst>
                  <a:gd name="T0" fmla="*/ 2147483647 w 114"/>
                  <a:gd name="T1" fmla="*/ 2147483647 h 138"/>
                  <a:gd name="T2" fmla="*/ 2147483647 w 114"/>
                  <a:gd name="T3" fmla="*/ 2147483647 h 138"/>
                  <a:gd name="T4" fmla="*/ 2147483647 w 114"/>
                  <a:gd name="T5" fmla="*/ 2147483647 h 138"/>
                  <a:gd name="T6" fmla="*/ 2147483647 w 114"/>
                  <a:gd name="T7" fmla="*/ 2147483647 h 138"/>
                  <a:gd name="T8" fmla="*/ 2147483647 w 114"/>
                  <a:gd name="T9" fmla="*/ 2147483647 h 138"/>
                  <a:gd name="T10" fmla="*/ 2147483647 w 114"/>
                  <a:gd name="T11" fmla="*/ 2147483647 h 138"/>
                  <a:gd name="T12" fmla="*/ 2147483647 w 114"/>
                  <a:gd name="T13" fmla="*/ 0 h 138"/>
                  <a:gd name="T14" fmla="*/ 2147483647 w 114"/>
                  <a:gd name="T15" fmla="*/ 0 h 138"/>
                  <a:gd name="T16" fmla="*/ 2147483647 w 114"/>
                  <a:gd name="T17" fmla="*/ 2147483647 h 138"/>
                  <a:gd name="T18" fmla="*/ 2147483647 w 114"/>
                  <a:gd name="T19" fmla="*/ 2147483647 h 138"/>
                  <a:gd name="T20" fmla="*/ 2147483647 w 114"/>
                  <a:gd name="T21" fmla="*/ 2147483647 h 138"/>
                  <a:gd name="T22" fmla="*/ 2147483647 w 114"/>
                  <a:gd name="T23" fmla="*/ 2147483647 h 138"/>
                  <a:gd name="T24" fmla="*/ 2147483647 w 114"/>
                  <a:gd name="T25" fmla="*/ 2147483647 h 138"/>
                  <a:gd name="T26" fmla="*/ 2147483647 w 114"/>
                  <a:gd name="T27" fmla="*/ 2147483647 h 138"/>
                  <a:gd name="T28" fmla="*/ 0 w 114"/>
                  <a:gd name="T29" fmla="*/ 2147483647 h 138"/>
                  <a:gd name="T30" fmla="*/ 0 w 114"/>
                  <a:gd name="T31" fmla="*/ 2147483647 h 138"/>
                  <a:gd name="T32" fmla="*/ 2147483647 w 114"/>
                  <a:gd name="T33" fmla="*/ 2147483647 h 138"/>
                  <a:gd name="T34" fmla="*/ 2147483647 w 114"/>
                  <a:gd name="T35" fmla="*/ 2147483647 h 138"/>
                  <a:gd name="T36" fmla="*/ 2147483647 w 114"/>
                  <a:gd name="T37" fmla="*/ 2147483647 h 138"/>
                  <a:gd name="T38" fmla="*/ 2147483647 w 114"/>
                  <a:gd name="T39" fmla="*/ 2147483647 h 138"/>
                  <a:gd name="T40" fmla="*/ 2147483647 w 114"/>
                  <a:gd name="T41" fmla="*/ 2147483647 h 138"/>
                  <a:gd name="T42" fmla="*/ 2147483647 w 114"/>
                  <a:gd name="T43" fmla="*/ 2147483647 h 138"/>
                  <a:gd name="T44" fmla="*/ 2147483647 w 114"/>
                  <a:gd name="T45" fmla="*/ 2147483647 h 138"/>
                  <a:gd name="T46" fmla="*/ 2147483647 w 114"/>
                  <a:gd name="T47" fmla="*/ 2147483647 h 138"/>
                  <a:gd name="T48" fmla="*/ 2147483647 w 114"/>
                  <a:gd name="T49" fmla="*/ 2147483647 h 138"/>
                  <a:gd name="T50" fmla="*/ 2147483647 w 114"/>
                  <a:gd name="T51" fmla="*/ 2147483647 h 138"/>
                  <a:gd name="T52" fmla="*/ 2147483647 w 114"/>
                  <a:gd name="T53" fmla="*/ 2147483647 h 138"/>
                  <a:gd name="T54" fmla="*/ 2147483647 w 114"/>
                  <a:gd name="T55" fmla="*/ 2147483647 h 138"/>
                  <a:gd name="T56" fmla="*/ 2147483647 w 114"/>
                  <a:gd name="T57" fmla="*/ 2147483647 h 138"/>
                  <a:gd name="T58" fmla="*/ 2147483647 w 114"/>
                  <a:gd name="T59" fmla="*/ 2147483647 h 138"/>
                  <a:gd name="T60" fmla="*/ 2147483647 w 114"/>
                  <a:gd name="T61" fmla="*/ 2147483647 h 138"/>
                  <a:gd name="T62" fmla="*/ 2147483647 w 114"/>
                  <a:gd name="T63" fmla="*/ 2147483647 h 138"/>
                  <a:gd name="T64" fmla="*/ 2147483647 w 114"/>
                  <a:gd name="T65" fmla="*/ 2147483647 h 138"/>
                  <a:gd name="T66" fmla="*/ 2147483647 w 114"/>
                  <a:gd name="T67" fmla="*/ 2147483647 h 138"/>
                  <a:gd name="T68" fmla="*/ 2147483647 w 114"/>
                  <a:gd name="T69" fmla="*/ 2147483647 h 138"/>
                  <a:gd name="T70" fmla="*/ 2147483647 w 114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4"/>
                  <a:gd name="T109" fmla="*/ 0 h 138"/>
                  <a:gd name="T110" fmla="*/ 114 w 114"/>
                  <a:gd name="T111" fmla="*/ 138 h 13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4" h="138">
                    <a:moveTo>
                      <a:pt x="114" y="42"/>
                    </a:moveTo>
                    <a:lnTo>
                      <a:pt x="108" y="48"/>
                    </a:lnTo>
                    <a:lnTo>
                      <a:pt x="96" y="30"/>
                    </a:lnTo>
                    <a:lnTo>
                      <a:pt x="84" y="18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42" y="24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24" y="72"/>
                    </a:lnTo>
                    <a:lnTo>
                      <a:pt x="6" y="102"/>
                    </a:lnTo>
                    <a:lnTo>
                      <a:pt x="18" y="102"/>
                    </a:lnTo>
                    <a:lnTo>
                      <a:pt x="24" y="96"/>
                    </a:lnTo>
                    <a:lnTo>
                      <a:pt x="36" y="96"/>
                    </a:lnTo>
                    <a:lnTo>
                      <a:pt x="36" y="114"/>
                    </a:lnTo>
                    <a:lnTo>
                      <a:pt x="60" y="138"/>
                    </a:lnTo>
                    <a:lnTo>
                      <a:pt x="72" y="126"/>
                    </a:lnTo>
                    <a:lnTo>
                      <a:pt x="66" y="108"/>
                    </a:lnTo>
                    <a:lnTo>
                      <a:pt x="60" y="114"/>
                    </a:lnTo>
                    <a:lnTo>
                      <a:pt x="42" y="102"/>
                    </a:lnTo>
                    <a:lnTo>
                      <a:pt x="66" y="102"/>
                    </a:lnTo>
                    <a:lnTo>
                      <a:pt x="78" y="96"/>
                    </a:lnTo>
                    <a:lnTo>
                      <a:pt x="78" y="78"/>
                    </a:lnTo>
                    <a:lnTo>
                      <a:pt x="108" y="90"/>
                    </a:lnTo>
                    <a:lnTo>
                      <a:pt x="114" y="84"/>
                    </a:lnTo>
                    <a:lnTo>
                      <a:pt x="114" y="90"/>
                    </a:lnTo>
                    <a:lnTo>
                      <a:pt x="114" y="4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2" name="Moldov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CC09B0C-8919-4CD5-A0DC-D3149DBAA0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26937" y="2772796"/>
                <a:ext cx="96095" cy="106285"/>
              </a:xfrm>
              <a:custGeom>
                <a:avLst/>
                <a:gdLst>
                  <a:gd name="T0" fmla="*/ 2147483647 w 216"/>
                  <a:gd name="T1" fmla="*/ 2147483647 h 240"/>
                  <a:gd name="T2" fmla="*/ 2147483647 w 216"/>
                  <a:gd name="T3" fmla="*/ 2147483647 h 240"/>
                  <a:gd name="T4" fmla="*/ 2147483647 w 216"/>
                  <a:gd name="T5" fmla="*/ 2147483647 h 240"/>
                  <a:gd name="T6" fmla="*/ 2147483647 w 216"/>
                  <a:gd name="T7" fmla="*/ 2147483647 h 240"/>
                  <a:gd name="T8" fmla="*/ 2147483647 w 216"/>
                  <a:gd name="T9" fmla="*/ 2147483647 h 240"/>
                  <a:gd name="T10" fmla="*/ 2147483647 w 216"/>
                  <a:gd name="T11" fmla="*/ 2147483647 h 240"/>
                  <a:gd name="T12" fmla="*/ 2147483647 w 216"/>
                  <a:gd name="T13" fmla="*/ 2147483647 h 240"/>
                  <a:gd name="T14" fmla="*/ 2147483647 w 216"/>
                  <a:gd name="T15" fmla="*/ 2147483647 h 240"/>
                  <a:gd name="T16" fmla="*/ 2147483647 w 216"/>
                  <a:gd name="T17" fmla="*/ 2147483647 h 240"/>
                  <a:gd name="T18" fmla="*/ 2147483647 w 216"/>
                  <a:gd name="T19" fmla="*/ 2147483647 h 240"/>
                  <a:gd name="T20" fmla="*/ 2147483647 w 216"/>
                  <a:gd name="T21" fmla="*/ 2147483647 h 240"/>
                  <a:gd name="T22" fmla="*/ 2147483647 w 216"/>
                  <a:gd name="T23" fmla="*/ 2147483647 h 240"/>
                  <a:gd name="T24" fmla="*/ 2147483647 w 216"/>
                  <a:gd name="T25" fmla="*/ 2147483647 h 240"/>
                  <a:gd name="T26" fmla="*/ 2147483647 w 216"/>
                  <a:gd name="T27" fmla="*/ 2147483647 h 240"/>
                  <a:gd name="T28" fmla="*/ 2147483647 w 216"/>
                  <a:gd name="T29" fmla="*/ 2147483647 h 240"/>
                  <a:gd name="T30" fmla="*/ 2147483647 w 216"/>
                  <a:gd name="T31" fmla="*/ 2147483647 h 240"/>
                  <a:gd name="T32" fmla="*/ 2147483647 w 216"/>
                  <a:gd name="T33" fmla="*/ 2147483647 h 240"/>
                  <a:gd name="T34" fmla="*/ 2147483647 w 216"/>
                  <a:gd name="T35" fmla="*/ 2147483647 h 240"/>
                  <a:gd name="T36" fmla="*/ 2147483647 w 216"/>
                  <a:gd name="T37" fmla="*/ 2147483647 h 240"/>
                  <a:gd name="T38" fmla="*/ 2147483647 w 216"/>
                  <a:gd name="T39" fmla="*/ 2147483647 h 240"/>
                  <a:gd name="T40" fmla="*/ 2147483647 w 216"/>
                  <a:gd name="T41" fmla="*/ 2147483647 h 240"/>
                  <a:gd name="T42" fmla="*/ 2147483647 w 216"/>
                  <a:gd name="T43" fmla="*/ 2147483647 h 240"/>
                  <a:gd name="T44" fmla="*/ 2147483647 w 216"/>
                  <a:gd name="T45" fmla="*/ 2147483647 h 240"/>
                  <a:gd name="T46" fmla="*/ 2147483647 w 216"/>
                  <a:gd name="T47" fmla="*/ 2147483647 h 240"/>
                  <a:gd name="T48" fmla="*/ 2147483647 w 216"/>
                  <a:gd name="T49" fmla="*/ 2147483647 h 240"/>
                  <a:gd name="T50" fmla="*/ 2147483647 w 216"/>
                  <a:gd name="T51" fmla="*/ 2147483647 h 240"/>
                  <a:gd name="T52" fmla="*/ 2147483647 w 216"/>
                  <a:gd name="T53" fmla="*/ 2147483647 h 240"/>
                  <a:gd name="T54" fmla="*/ 2147483647 w 216"/>
                  <a:gd name="T55" fmla="*/ 2147483647 h 240"/>
                  <a:gd name="T56" fmla="*/ 2147483647 w 216"/>
                  <a:gd name="T57" fmla="*/ 2147483647 h 240"/>
                  <a:gd name="T58" fmla="*/ 2147483647 w 216"/>
                  <a:gd name="T59" fmla="*/ 2147483647 h 240"/>
                  <a:gd name="T60" fmla="*/ 2147483647 w 216"/>
                  <a:gd name="T61" fmla="*/ 0 h 240"/>
                  <a:gd name="T62" fmla="*/ 2147483647 w 216"/>
                  <a:gd name="T63" fmla="*/ 2147483647 h 240"/>
                  <a:gd name="T64" fmla="*/ 2147483647 w 216"/>
                  <a:gd name="T65" fmla="*/ 2147483647 h 240"/>
                  <a:gd name="T66" fmla="*/ 2147483647 w 216"/>
                  <a:gd name="T67" fmla="*/ 2147483647 h 24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6"/>
                  <a:gd name="T103" fmla="*/ 0 h 240"/>
                  <a:gd name="T104" fmla="*/ 216 w 216"/>
                  <a:gd name="T105" fmla="*/ 240 h 24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6" h="240">
                    <a:moveTo>
                      <a:pt x="0" y="18"/>
                    </a:moveTo>
                    <a:lnTo>
                      <a:pt x="18" y="24"/>
                    </a:lnTo>
                    <a:lnTo>
                      <a:pt x="24" y="30"/>
                    </a:lnTo>
                    <a:lnTo>
                      <a:pt x="30" y="42"/>
                    </a:lnTo>
                    <a:lnTo>
                      <a:pt x="36" y="48"/>
                    </a:lnTo>
                    <a:lnTo>
                      <a:pt x="36" y="60"/>
                    </a:lnTo>
                    <a:lnTo>
                      <a:pt x="60" y="72"/>
                    </a:lnTo>
                    <a:lnTo>
                      <a:pt x="66" y="96"/>
                    </a:lnTo>
                    <a:lnTo>
                      <a:pt x="78" y="96"/>
                    </a:lnTo>
                    <a:lnTo>
                      <a:pt x="84" y="114"/>
                    </a:lnTo>
                    <a:lnTo>
                      <a:pt x="102" y="114"/>
                    </a:lnTo>
                    <a:lnTo>
                      <a:pt x="108" y="120"/>
                    </a:lnTo>
                    <a:lnTo>
                      <a:pt x="108" y="162"/>
                    </a:lnTo>
                    <a:lnTo>
                      <a:pt x="114" y="162"/>
                    </a:lnTo>
                    <a:lnTo>
                      <a:pt x="108" y="168"/>
                    </a:lnTo>
                    <a:lnTo>
                      <a:pt x="108" y="180"/>
                    </a:lnTo>
                    <a:lnTo>
                      <a:pt x="102" y="186"/>
                    </a:lnTo>
                    <a:lnTo>
                      <a:pt x="102" y="198"/>
                    </a:lnTo>
                    <a:lnTo>
                      <a:pt x="108" y="210"/>
                    </a:lnTo>
                    <a:lnTo>
                      <a:pt x="114" y="216"/>
                    </a:lnTo>
                    <a:lnTo>
                      <a:pt x="114" y="240"/>
                    </a:lnTo>
                    <a:lnTo>
                      <a:pt x="138" y="234"/>
                    </a:lnTo>
                    <a:lnTo>
                      <a:pt x="138" y="222"/>
                    </a:lnTo>
                    <a:lnTo>
                      <a:pt x="132" y="216"/>
                    </a:lnTo>
                    <a:lnTo>
                      <a:pt x="132" y="204"/>
                    </a:lnTo>
                    <a:lnTo>
                      <a:pt x="138" y="204"/>
                    </a:lnTo>
                    <a:lnTo>
                      <a:pt x="150" y="198"/>
                    </a:lnTo>
                    <a:lnTo>
                      <a:pt x="156" y="192"/>
                    </a:lnTo>
                    <a:lnTo>
                      <a:pt x="174" y="180"/>
                    </a:lnTo>
                    <a:lnTo>
                      <a:pt x="168" y="174"/>
                    </a:lnTo>
                    <a:lnTo>
                      <a:pt x="156" y="168"/>
                    </a:lnTo>
                    <a:lnTo>
                      <a:pt x="150" y="168"/>
                    </a:lnTo>
                    <a:lnTo>
                      <a:pt x="150" y="162"/>
                    </a:lnTo>
                    <a:lnTo>
                      <a:pt x="156" y="156"/>
                    </a:lnTo>
                    <a:lnTo>
                      <a:pt x="174" y="156"/>
                    </a:lnTo>
                    <a:lnTo>
                      <a:pt x="180" y="162"/>
                    </a:lnTo>
                    <a:lnTo>
                      <a:pt x="198" y="162"/>
                    </a:lnTo>
                    <a:lnTo>
                      <a:pt x="210" y="156"/>
                    </a:lnTo>
                    <a:lnTo>
                      <a:pt x="216" y="156"/>
                    </a:lnTo>
                    <a:lnTo>
                      <a:pt x="216" y="126"/>
                    </a:lnTo>
                    <a:lnTo>
                      <a:pt x="210" y="120"/>
                    </a:lnTo>
                    <a:lnTo>
                      <a:pt x="198" y="120"/>
                    </a:lnTo>
                    <a:lnTo>
                      <a:pt x="192" y="114"/>
                    </a:lnTo>
                    <a:lnTo>
                      <a:pt x="180" y="114"/>
                    </a:lnTo>
                    <a:lnTo>
                      <a:pt x="180" y="96"/>
                    </a:lnTo>
                    <a:lnTo>
                      <a:pt x="186" y="90"/>
                    </a:lnTo>
                    <a:lnTo>
                      <a:pt x="180" y="84"/>
                    </a:lnTo>
                    <a:lnTo>
                      <a:pt x="174" y="84"/>
                    </a:lnTo>
                    <a:lnTo>
                      <a:pt x="162" y="90"/>
                    </a:lnTo>
                    <a:lnTo>
                      <a:pt x="162" y="66"/>
                    </a:lnTo>
                    <a:lnTo>
                      <a:pt x="168" y="60"/>
                    </a:lnTo>
                    <a:lnTo>
                      <a:pt x="162" y="48"/>
                    </a:lnTo>
                    <a:lnTo>
                      <a:pt x="156" y="42"/>
                    </a:lnTo>
                    <a:lnTo>
                      <a:pt x="144" y="36"/>
                    </a:lnTo>
                    <a:lnTo>
                      <a:pt x="126" y="36"/>
                    </a:lnTo>
                    <a:lnTo>
                      <a:pt x="126" y="24"/>
                    </a:lnTo>
                    <a:lnTo>
                      <a:pt x="120" y="18"/>
                    </a:lnTo>
                    <a:lnTo>
                      <a:pt x="78" y="18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6" y="12"/>
                    </a:lnTo>
                    <a:lnTo>
                      <a:pt x="24" y="12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3" name="Malt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A9B8DE5-2053-4593-B5B4-F6B46FA94E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86239" y="3210332"/>
                <a:ext cx="13977" cy="12402"/>
              </a:xfrm>
              <a:custGeom>
                <a:avLst/>
                <a:gdLst>
                  <a:gd name="T0" fmla="*/ 2147483647 w 30"/>
                  <a:gd name="T1" fmla="*/ 2147483647 h 30"/>
                  <a:gd name="T2" fmla="*/ 2147483647 w 30"/>
                  <a:gd name="T3" fmla="*/ 2147483647 h 30"/>
                  <a:gd name="T4" fmla="*/ 2147483647 w 30"/>
                  <a:gd name="T5" fmla="*/ 2147483647 h 30"/>
                  <a:gd name="T6" fmla="*/ 2147483647 w 30"/>
                  <a:gd name="T7" fmla="*/ 0 h 30"/>
                  <a:gd name="T8" fmla="*/ 2147483647 w 30"/>
                  <a:gd name="T9" fmla="*/ 0 h 30"/>
                  <a:gd name="T10" fmla="*/ 0 w 30"/>
                  <a:gd name="T11" fmla="*/ 2147483647 h 30"/>
                  <a:gd name="T12" fmla="*/ 0 w 30"/>
                  <a:gd name="T13" fmla="*/ 2147483647 h 30"/>
                  <a:gd name="T14" fmla="*/ 2147483647 w 30"/>
                  <a:gd name="T15" fmla="*/ 2147483647 h 30"/>
                  <a:gd name="T16" fmla="*/ 2147483647 w 30"/>
                  <a:gd name="T17" fmla="*/ 2147483647 h 30"/>
                  <a:gd name="T18" fmla="*/ 2147483647 w 30"/>
                  <a:gd name="T19" fmla="*/ 2147483647 h 3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"/>
                  <a:gd name="T31" fmla="*/ 0 h 30"/>
                  <a:gd name="T32" fmla="*/ 30 w 30"/>
                  <a:gd name="T33" fmla="*/ 30 h 3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" h="30">
                    <a:moveTo>
                      <a:pt x="24" y="30"/>
                    </a:moveTo>
                    <a:lnTo>
                      <a:pt x="30" y="24"/>
                    </a:lnTo>
                    <a:lnTo>
                      <a:pt x="30" y="12"/>
                    </a:lnTo>
                    <a:lnTo>
                      <a:pt x="18" y="0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0" y="18"/>
                    </a:lnTo>
                    <a:lnTo>
                      <a:pt x="6" y="24"/>
                    </a:lnTo>
                    <a:lnTo>
                      <a:pt x="18" y="30"/>
                    </a:lnTo>
                    <a:lnTo>
                      <a:pt x="24" y="30"/>
                    </a:lnTo>
                    <a:close/>
                  </a:path>
                </a:pathLst>
              </a:custGeom>
              <a:grpFill/>
              <a:ln w="9525">
                <a:solidFill>
                  <a:srgbClr val="555555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4" name="Maced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2B58C76-BC6A-4C74-9A64-5CB4C03A461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66197" y="2987136"/>
                <a:ext cx="73381" cy="56685"/>
              </a:xfrm>
              <a:custGeom>
                <a:avLst/>
                <a:gdLst>
                  <a:gd name="T0" fmla="*/ 2147483647 w 162"/>
                  <a:gd name="T1" fmla="*/ 2147483647 h 126"/>
                  <a:gd name="T2" fmla="*/ 2147483647 w 162"/>
                  <a:gd name="T3" fmla="*/ 2147483647 h 126"/>
                  <a:gd name="T4" fmla="*/ 2147483647 w 162"/>
                  <a:gd name="T5" fmla="*/ 2147483647 h 126"/>
                  <a:gd name="T6" fmla="*/ 2147483647 w 162"/>
                  <a:gd name="T7" fmla="*/ 2147483647 h 126"/>
                  <a:gd name="T8" fmla="*/ 2147483647 w 162"/>
                  <a:gd name="T9" fmla="*/ 0 h 126"/>
                  <a:gd name="T10" fmla="*/ 2147483647 w 162"/>
                  <a:gd name="T11" fmla="*/ 2147483647 h 126"/>
                  <a:gd name="T12" fmla="*/ 2147483647 w 162"/>
                  <a:gd name="T13" fmla="*/ 2147483647 h 126"/>
                  <a:gd name="T14" fmla="*/ 2147483647 w 162"/>
                  <a:gd name="T15" fmla="*/ 2147483647 h 126"/>
                  <a:gd name="T16" fmla="*/ 2147483647 w 162"/>
                  <a:gd name="T17" fmla="*/ 2147483647 h 126"/>
                  <a:gd name="T18" fmla="*/ 2147483647 w 162"/>
                  <a:gd name="T19" fmla="*/ 2147483647 h 126"/>
                  <a:gd name="T20" fmla="*/ 2147483647 w 162"/>
                  <a:gd name="T21" fmla="*/ 2147483647 h 126"/>
                  <a:gd name="T22" fmla="*/ 0 w 162"/>
                  <a:gd name="T23" fmla="*/ 2147483647 h 126"/>
                  <a:gd name="T24" fmla="*/ 0 w 162"/>
                  <a:gd name="T25" fmla="*/ 2147483647 h 126"/>
                  <a:gd name="T26" fmla="*/ 2147483647 w 162"/>
                  <a:gd name="T27" fmla="*/ 2147483647 h 126"/>
                  <a:gd name="T28" fmla="*/ 2147483647 w 162"/>
                  <a:gd name="T29" fmla="*/ 2147483647 h 126"/>
                  <a:gd name="T30" fmla="*/ 2147483647 w 162"/>
                  <a:gd name="T31" fmla="*/ 2147483647 h 126"/>
                  <a:gd name="T32" fmla="*/ 2147483647 w 162"/>
                  <a:gd name="T33" fmla="*/ 2147483647 h 126"/>
                  <a:gd name="T34" fmla="*/ 2147483647 w 162"/>
                  <a:gd name="T35" fmla="*/ 2147483647 h 126"/>
                  <a:gd name="T36" fmla="*/ 2147483647 w 162"/>
                  <a:gd name="T37" fmla="*/ 2147483647 h 126"/>
                  <a:gd name="T38" fmla="*/ 2147483647 w 162"/>
                  <a:gd name="T39" fmla="*/ 2147483647 h 126"/>
                  <a:gd name="T40" fmla="*/ 2147483647 w 162"/>
                  <a:gd name="T41" fmla="*/ 2147483647 h 126"/>
                  <a:gd name="T42" fmla="*/ 2147483647 w 162"/>
                  <a:gd name="T43" fmla="*/ 2147483647 h 126"/>
                  <a:gd name="T44" fmla="*/ 2147483647 w 162"/>
                  <a:gd name="T45" fmla="*/ 2147483647 h 126"/>
                  <a:gd name="T46" fmla="*/ 2147483647 w 162"/>
                  <a:gd name="T47" fmla="*/ 2147483647 h 126"/>
                  <a:gd name="T48" fmla="*/ 2147483647 w 162"/>
                  <a:gd name="T49" fmla="*/ 2147483647 h 126"/>
                  <a:gd name="T50" fmla="*/ 2147483647 w 162"/>
                  <a:gd name="T51" fmla="*/ 2147483647 h 126"/>
                  <a:gd name="T52" fmla="*/ 2147483647 w 162"/>
                  <a:gd name="T53" fmla="*/ 2147483647 h 126"/>
                  <a:gd name="T54" fmla="*/ 2147483647 w 162"/>
                  <a:gd name="T55" fmla="*/ 2147483647 h 126"/>
                  <a:gd name="T56" fmla="*/ 2147483647 w 162"/>
                  <a:gd name="T57" fmla="*/ 2147483647 h 126"/>
                  <a:gd name="T58" fmla="*/ 2147483647 w 162"/>
                  <a:gd name="T59" fmla="*/ 2147483647 h 126"/>
                  <a:gd name="T60" fmla="*/ 2147483647 w 162"/>
                  <a:gd name="T61" fmla="*/ 2147483647 h 126"/>
                  <a:gd name="T62" fmla="*/ 2147483647 w 162"/>
                  <a:gd name="T63" fmla="*/ 2147483647 h 126"/>
                  <a:gd name="T64" fmla="*/ 2147483647 w 162"/>
                  <a:gd name="T65" fmla="*/ 2147483647 h 1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62"/>
                  <a:gd name="T100" fmla="*/ 0 h 126"/>
                  <a:gd name="T101" fmla="*/ 162 w 162"/>
                  <a:gd name="T102" fmla="*/ 126 h 1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62" h="126">
                    <a:moveTo>
                      <a:pt x="150" y="42"/>
                    </a:moveTo>
                    <a:lnTo>
                      <a:pt x="132" y="30"/>
                    </a:lnTo>
                    <a:lnTo>
                      <a:pt x="132" y="18"/>
                    </a:lnTo>
                    <a:lnTo>
                      <a:pt x="126" y="18"/>
                    </a:lnTo>
                    <a:lnTo>
                      <a:pt x="114" y="0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48" y="12"/>
                    </a:lnTo>
                    <a:lnTo>
                      <a:pt x="48" y="24"/>
                    </a:lnTo>
                    <a:lnTo>
                      <a:pt x="24" y="24"/>
                    </a:lnTo>
                    <a:lnTo>
                      <a:pt x="18" y="36"/>
                    </a:lnTo>
                    <a:lnTo>
                      <a:pt x="0" y="42"/>
                    </a:lnTo>
                    <a:lnTo>
                      <a:pt x="0" y="66"/>
                    </a:lnTo>
                    <a:lnTo>
                      <a:pt x="6" y="78"/>
                    </a:lnTo>
                    <a:lnTo>
                      <a:pt x="6" y="102"/>
                    </a:lnTo>
                    <a:lnTo>
                      <a:pt x="12" y="108"/>
                    </a:lnTo>
                    <a:lnTo>
                      <a:pt x="18" y="108"/>
                    </a:lnTo>
                    <a:lnTo>
                      <a:pt x="18" y="126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54" y="120"/>
                    </a:lnTo>
                    <a:lnTo>
                      <a:pt x="60" y="120"/>
                    </a:lnTo>
                    <a:lnTo>
                      <a:pt x="66" y="126"/>
                    </a:lnTo>
                    <a:lnTo>
                      <a:pt x="90" y="126"/>
                    </a:lnTo>
                    <a:lnTo>
                      <a:pt x="96" y="114"/>
                    </a:lnTo>
                    <a:lnTo>
                      <a:pt x="96" y="108"/>
                    </a:lnTo>
                    <a:lnTo>
                      <a:pt x="120" y="108"/>
                    </a:lnTo>
                    <a:lnTo>
                      <a:pt x="132" y="102"/>
                    </a:lnTo>
                    <a:lnTo>
                      <a:pt x="156" y="78"/>
                    </a:lnTo>
                    <a:lnTo>
                      <a:pt x="162" y="66"/>
                    </a:lnTo>
                    <a:lnTo>
                      <a:pt x="162" y="60"/>
                    </a:lnTo>
                    <a:lnTo>
                      <a:pt x="156" y="48"/>
                    </a:lnTo>
                    <a:lnTo>
                      <a:pt x="150" y="4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85" name="Liechtenste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EF71BB6-D2AE-4142-995A-A39AC5BDA85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44718" y="2811766"/>
                <a:ext cx="6989" cy="10629"/>
              </a:xfrm>
              <a:custGeom>
                <a:avLst/>
                <a:gdLst>
                  <a:gd name="T0" fmla="*/ 2147483647 w 18"/>
                  <a:gd name="T1" fmla="*/ 0 h 24"/>
                  <a:gd name="T2" fmla="*/ 2147483647 w 18"/>
                  <a:gd name="T3" fmla="*/ 2147483647 h 24"/>
                  <a:gd name="T4" fmla="*/ 0 w 18"/>
                  <a:gd name="T5" fmla="*/ 2147483647 h 24"/>
                  <a:gd name="T6" fmla="*/ 0 w 18"/>
                  <a:gd name="T7" fmla="*/ 2147483647 h 24"/>
                  <a:gd name="T8" fmla="*/ 2147483647 w 18"/>
                  <a:gd name="T9" fmla="*/ 2147483647 h 24"/>
                  <a:gd name="T10" fmla="*/ 2147483647 w 18"/>
                  <a:gd name="T11" fmla="*/ 0 h 24"/>
                  <a:gd name="T12" fmla="*/ 2147483647 w 18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8"/>
                  <a:gd name="T22" fmla="*/ 0 h 24"/>
                  <a:gd name="T23" fmla="*/ 18 w 18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8" h="24">
                    <a:moveTo>
                      <a:pt x="12" y="0"/>
                    </a:moveTo>
                    <a:lnTo>
                      <a:pt x="6" y="6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18" y="24"/>
                    </a:lnTo>
                    <a:lnTo>
                      <a:pt x="1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6" name="Lebano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45056AC-21E2-4A57-8F99-C9952F1C2B0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08231" y="3267022"/>
                <a:ext cx="47174" cy="70857"/>
              </a:xfrm>
              <a:custGeom>
                <a:avLst/>
                <a:gdLst>
                  <a:gd name="T0" fmla="*/ 2147483647 w 108"/>
                  <a:gd name="T1" fmla="*/ 2147483647 h 156"/>
                  <a:gd name="T2" fmla="*/ 2147483647 w 108"/>
                  <a:gd name="T3" fmla="*/ 2147483647 h 156"/>
                  <a:gd name="T4" fmla="*/ 2147483647 w 108"/>
                  <a:gd name="T5" fmla="*/ 2147483647 h 156"/>
                  <a:gd name="T6" fmla="*/ 2147483647 w 108"/>
                  <a:gd name="T7" fmla="*/ 2147483647 h 156"/>
                  <a:gd name="T8" fmla="*/ 2147483647 w 108"/>
                  <a:gd name="T9" fmla="*/ 2147483647 h 156"/>
                  <a:gd name="T10" fmla="*/ 2147483647 w 108"/>
                  <a:gd name="T11" fmla="*/ 2147483647 h 156"/>
                  <a:gd name="T12" fmla="*/ 2147483647 w 108"/>
                  <a:gd name="T13" fmla="*/ 2147483647 h 156"/>
                  <a:gd name="T14" fmla="*/ 2147483647 w 108"/>
                  <a:gd name="T15" fmla="*/ 2147483647 h 156"/>
                  <a:gd name="T16" fmla="*/ 2147483647 w 108"/>
                  <a:gd name="T17" fmla="*/ 2147483647 h 156"/>
                  <a:gd name="T18" fmla="*/ 2147483647 w 108"/>
                  <a:gd name="T19" fmla="*/ 2147483647 h 156"/>
                  <a:gd name="T20" fmla="*/ 2147483647 w 108"/>
                  <a:gd name="T21" fmla="*/ 0 h 156"/>
                  <a:gd name="T22" fmla="*/ 2147483647 w 108"/>
                  <a:gd name="T23" fmla="*/ 0 h 156"/>
                  <a:gd name="T24" fmla="*/ 2147483647 w 108"/>
                  <a:gd name="T25" fmla="*/ 0 h 156"/>
                  <a:gd name="T26" fmla="*/ 2147483647 w 108"/>
                  <a:gd name="T27" fmla="*/ 2147483647 h 156"/>
                  <a:gd name="T28" fmla="*/ 2147483647 w 108"/>
                  <a:gd name="T29" fmla="*/ 2147483647 h 156"/>
                  <a:gd name="T30" fmla="*/ 2147483647 w 108"/>
                  <a:gd name="T31" fmla="*/ 2147483647 h 156"/>
                  <a:gd name="T32" fmla="*/ 2147483647 w 108"/>
                  <a:gd name="T33" fmla="*/ 2147483647 h 156"/>
                  <a:gd name="T34" fmla="*/ 2147483647 w 108"/>
                  <a:gd name="T35" fmla="*/ 2147483647 h 156"/>
                  <a:gd name="T36" fmla="*/ 2147483647 w 108"/>
                  <a:gd name="T37" fmla="*/ 2147483647 h 156"/>
                  <a:gd name="T38" fmla="*/ 2147483647 w 108"/>
                  <a:gd name="T39" fmla="*/ 2147483647 h 156"/>
                  <a:gd name="T40" fmla="*/ 2147483647 w 108"/>
                  <a:gd name="T41" fmla="*/ 2147483647 h 156"/>
                  <a:gd name="T42" fmla="*/ 0 w 108"/>
                  <a:gd name="T43" fmla="*/ 2147483647 h 156"/>
                  <a:gd name="T44" fmla="*/ 0 w 108"/>
                  <a:gd name="T45" fmla="*/ 2147483647 h 156"/>
                  <a:gd name="T46" fmla="*/ 2147483647 w 108"/>
                  <a:gd name="T47" fmla="*/ 2147483647 h 156"/>
                  <a:gd name="T48" fmla="*/ 2147483647 w 108"/>
                  <a:gd name="T49" fmla="*/ 2147483647 h 156"/>
                  <a:gd name="T50" fmla="*/ 2147483647 w 108"/>
                  <a:gd name="T51" fmla="*/ 2147483647 h 156"/>
                  <a:gd name="T52" fmla="*/ 2147483647 w 108"/>
                  <a:gd name="T53" fmla="*/ 2147483647 h 156"/>
                  <a:gd name="T54" fmla="*/ 2147483647 w 108"/>
                  <a:gd name="T55" fmla="*/ 2147483647 h 156"/>
                  <a:gd name="T56" fmla="*/ 2147483647 w 108"/>
                  <a:gd name="T57" fmla="*/ 2147483647 h 156"/>
                  <a:gd name="T58" fmla="*/ 2147483647 w 108"/>
                  <a:gd name="T59" fmla="*/ 2147483647 h 156"/>
                  <a:gd name="T60" fmla="*/ 2147483647 w 108"/>
                  <a:gd name="T61" fmla="*/ 2147483647 h 15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08"/>
                  <a:gd name="T94" fmla="*/ 0 h 156"/>
                  <a:gd name="T95" fmla="*/ 108 w 108"/>
                  <a:gd name="T96" fmla="*/ 156 h 15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08" h="156">
                    <a:moveTo>
                      <a:pt x="72" y="96"/>
                    </a:moveTo>
                    <a:lnTo>
                      <a:pt x="72" y="72"/>
                    </a:lnTo>
                    <a:lnTo>
                      <a:pt x="78" y="66"/>
                    </a:lnTo>
                    <a:lnTo>
                      <a:pt x="84" y="66"/>
                    </a:lnTo>
                    <a:lnTo>
                      <a:pt x="96" y="60"/>
                    </a:lnTo>
                    <a:lnTo>
                      <a:pt x="102" y="60"/>
                    </a:lnTo>
                    <a:lnTo>
                      <a:pt x="108" y="48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96" y="12"/>
                    </a:lnTo>
                    <a:lnTo>
                      <a:pt x="102" y="0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54" y="6"/>
                    </a:lnTo>
                    <a:lnTo>
                      <a:pt x="48" y="18"/>
                    </a:lnTo>
                    <a:lnTo>
                      <a:pt x="36" y="24"/>
                    </a:lnTo>
                    <a:lnTo>
                      <a:pt x="30" y="30"/>
                    </a:lnTo>
                    <a:lnTo>
                      <a:pt x="18" y="66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0" y="114"/>
                    </a:lnTo>
                    <a:lnTo>
                      <a:pt x="0" y="156"/>
                    </a:lnTo>
                    <a:lnTo>
                      <a:pt x="12" y="150"/>
                    </a:lnTo>
                    <a:lnTo>
                      <a:pt x="24" y="126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42" y="126"/>
                    </a:lnTo>
                    <a:lnTo>
                      <a:pt x="48" y="114"/>
                    </a:lnTo>
                    <a:lnTo>
                      <a:pt x="48" y="102"/>
                    </a:lnTo>
                    <a:lnTo>
                      <a:pt x="72" y="96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7" name="Kuwait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FF32FA6-07D5-4278-BED0-2E8724D529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75139" y="3433531"/>
                <a:ext cx="61150" cy="54915"/>
              </a:xfrm>
              <a:custGeom>
                <a:avLst/>
                <a:gdLst>
                  <a:gd name="T0" fmla="*/ 2147483647 w 138"/>
                  <a:gd name="T1" fmla="*/ 0 h 120"/>
                  <a:gd name="T2" fmla="*/ 2147483647 w 138"/>
                  <a:gd name="T3" fmla="*/ 0 h 120"/>
                  <a:gd name="T4" fmla="*/ 2147483647 w 138"/>
                  <a:gd name="T5" fmla="*/ 2147483647 h 120"/>
                  <a:gd name="T6" fmla="*/ 2147483647 w 138"/>
                  <a:gd name="T7" fmla="*/ 2147483647 h 120"/>
                  <a:gd name="T8" fmla="*/ 2147483647 w 138"/>
                  <a:gd name="T9" fmla="*/ 2147483647 h 120"/>
                  <a:gd name="T10" fmla="*/ 2147483647 w 138"/>
                  <a:gd name="T11" fmla="*/ 2147483647 h 120"/>
                  <a:gd name="T12" fmla="*/ 0 w 138"/>
                  <a:gd name="T13" fmla="*/ 2147483647 h 120"/>
                  <a:gd name="T14" fmla="*/ 2147483647 w 138"/>
                  <a:gd name="T15" fmla="*/ 2147483647 h 120"/>
                  <a:gd name="T16" fmla="*/ 2147483647 w 138"/>
                  <a:gd name="T17" fmla="*/ 2147483647 h 120"/>
                  <a:gd name="T18" fmla="*/ 2147483647 w 138"/>
                  <a:gd name="T19" fmla="*/ 2147483647 h 120"/>
                  <a:gd name="T20" fmla="*/ 2147483647 w 138"/>
                  <a:gd name="T21" fmla="*/ 2147483647 h 120"/>
                  <a:gd name="T22" fmla="*/ 2147483647 w 138"/>
                  <a:gd name="T23" fmla="*/ 2147483647 h 120"/>
                  <a:gd name="T24" fmla="*/ 2147483647 w 138"/>
                  <a:gd name="T25" fmla="*/ 2147483647 h 120"/>
                  <a:gd name="T26" fmla="*/ 2147483647 w 138"/>
                  <a:gd name="T27" fmla="*/ 2147483647 h 120"/>
                  <a:gd name="T28" fmla="*/ 2147483647 w 138"/>
                  <a:gd name="T29" fmla="*/ 2147483647 h 120"/>
                  <a:gd name="T30" fmla="*/ 2147483647 w 138"/>
                  <a:gd name="T31" fmla="*/ 2147483647 h 120"/>
                  <a:gd name="T32" fmla="*/ 2147483647 w 138"/>
                  <a:gd name="T33" fmla="*/ 2147483647 h 120"/>
                  <a:gd name="T34" fmla="*/ 2147483647 w 138"/>
                  <a:gd name="T35" fmla="*/ 2147483647 h 120"/>
                  <a:gd name="T36" fmla="*/ 2147483647 w 138"/>
                  <a:gd name="T37" fmla="*/ 2147483647 h 120"/>
                  <a:gd name="T38" fmla="*/ 2147483647 w 138"/>
                  <a:gd name="T39" fmla="*/ 2147483647 h 120"/>
                  <a:gd name="T40" fmla="*/ 2147483647 w 138"/>
                  <a:gd name="T41" fmla="*/ 2147483647 h 120"/>
                  <a:gd name="T42" fmla="*/ 2147483647 w 138"/>
                  <a:gd name="T43" fmla="*/ 2147483647 h 120"/>
                  <a:gd name="T44" fmla="*/ 2147483647 w 138"/>
                  <a:gd name="T45" fmla="*/ 2147483647 h 120"/>
                  <a:gd name="T46" fmla="*/ 2147483647 w 138"/>
                  <a:gd name="T47" fmla="*/ 2147483647 h 120"/>
                  <a:gd name="T48" fmla="*/ 2147483647 w 138"/>
                  <a:gd name="T49" fmla="*/ 0 h 120"/>
                  <a:gd name="T50" fmla="*/ 2147483647 w 138"/>
                  <a:gd name="T51" fmla="*/ 0 h 12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38"/>
                  <a:gd name="T79" fmla="*/ 0 h 120"/>
                  <a:gd name="T80" fmla="*/ 138 w 138"/>
                  <a:gd name="T81" fmla="*/ 120 h 12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38" h="120">
                    <a:moveTo>
                      <a:pt x="54" y="0"/>
                    </a:moveTo>
                    <a:lnTo>
                      <a:pt x="36" y="0"/>
                    </a:lnTo>
                    <a:lnTo>
                      <a:pt x="30" y="12"/>
                    </a:lnTo>
                    <a:lnTo>
                      <a:pt x="24" y="18"/>
                    </a:lnTo>
                    <a:lnTo>
                      <a:pt x="24" y="30"/>
                    </a:lnTo>
                    <a:lnTo>
                      <a:pt x="6" y="66"/>
                    </a:lnTo>
                    <a:lnTo>
                      <a:pt x="0" y="72"/>
                    </a:lnTo>
                    <a:lnTo>
                      <a:pt x="42" y="72"/>
                    </a:lnTo>
                    <a:lnTo>
                      <a:pt x="60" y="78"/>
                    </a:lnTo>
                    <a:lnTo>
                      <a:pt x="66" y="78"/>
                    </a:lnTo>
                    <a:lnTo>
                      <a:pt x="66" y="114"/>
                    </a:lnTo>
                    <a:lnTo>
                      <a:pt x="72" y="120"/>
                    </a:lnTo>
                    <a:lnTo>
                      <a:pt x="138" y="120"/>
                    </a:lnTo>
                    <a:lnTo>
                      <a:pt x="126" y="114"/>
                    </a:lnTo>
                    <a:lnTo>
                      <a:pt x="114" y="102"/>
                    </a:lnTo>
                    <a:lnTo>
                      <a:pt x="102" y="78"/>
                    </a:lnTo>
                    <a:lnTo>
                      <a:pt x="102" y="66"/>
                    </a:lnTo>
                    <a:lnTo>
                      <a:pt x="90" y="60"/>
                    </a:lnTo>
                    <a:lnTo>
                      <a:pt x="84" y="36"/>
                    </a:lnTo>
                    <a:lnTo>
                      <a:pt x="120" y="36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90" y="12"/>
                    </a:lnTo>
                    <a:lnTo>
                      <a:pt x="90" y="18"/>
                    </a:lnTo>
                    <a:lnTo>
                      <a:pt x="84" y="0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88" name="Ital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0E6EA96-6F8D-49D4-A07F-7246E3EEDF5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66095" y="2818853"/>
                <a:ext cx="344193" cy="373768"/>
              </a:xfrm>
              <a:custGeom>
                <a:avLst/>
                <a:gdLst>
                  <a:gd name="T0" fmla="*/ 2147483647 w 780"/>
                  <a:gd name="T1" fmla="*/ 2147483647 h 828"/>
                  <a:gd name="T2" fmla="*/ 2147483647 w 780"/>
                  <a:gd name="T3" fmla="*/ 2147483647 h 828"/>
                  <a:gd name="T4" fmla="*/ 2147483647 w 780"/>
                  <a:gd name="T5" fmla="*/ 2147483647 h 828"/>
                  <a:gd name="T6" fmla="*/ 2147483647 w 780"/>
                  <a:gd name="T7" fmla="*/ 2147483647 h 828"/>
                  <a:gd name="T8" fmla="*/ 2147483647 w 780"/>
                  <a:gd name="T9" fmla="*/ 2147483647 h 828"/>
                  <a:gd name="T10" fmla="*/ 2147483647 w 780"/>
                  <a:gd name="T11" fmla="*/ 2147483647 h 828"/>
                  <a:gd name="T12" fmla="*/ 2147483647 w 780"/>
                  <a:gd name="T13" fmla="*/ 2147483647 h 828"/>
                  <a:gd name="T14" fmla="*/ 2147483647 w 780"/>
                  <a:gd name="T15" fmla="*/ 2147483647 h 828"/>
                  <a:gd name="T16" fmla="*/ 2147483647 w 780"/>
                  <a:gd name="T17" fmla="*/ 2147483647 h 828"/>
                  <a:gd name="T18" fmla="*/ 2147483647 w 780"/>
                  <a:gd name="T19" fmla="*/ 2147483647 h 828"/>
                  <a:gd name="T20" fmla="*/ 2147483647 w 780"/>
                  <a:gd name="T21" fmla="*/ 2147483647 h 828"/>
                  <a:gd name="T22" fmla="*/ 2147483647 w 780"/>
                  <a:gd name="T23" fmla="*/ 2147483647 h 828"/>
                  <a:gd name="T24" fmla="*/ 2147483647 w 780"/>
                  <a:gd name="T25" fmla="*/ 2147483647 h 828"/>
                  <a:gd name="T26" fmla="*/ 2147483647 w 780"/>
                  <a:gd name="T27" fmla="*/ 2147483647 h 828"/>
                  <a:gd name="T28" fmla="*/ 2147483647 w 780"/>
                  <a:gd name="T29" fmla="*/ 2147483647 h 828"/>
                  <a:gd name="T30" fmla="*/ 2147483647 w 780"/>
                  <a:gd name="T31" fmla="*/ 2147483647 h 828"/>
                  <a:gd name="T32" fmla="*/ 2147483647 w 780"/>
                  <a:gd name="T33" fmla="*/ 2147483647 h 828"/>
                  <a:gd name="T34" fmla="*/ 2147483647 w 780"/>
                  <a:gd name="T35" fmla="*/ 2147483647 h 828"/>
                  <a:gd name="T36" fmla="*/ 2147483647 w 780"/>
                  <a:gd name="T37" fmla="*/ 2147483647 h 828"/>
                  <a:gd name="T38" fmla="*/ 2147483647 w 780"/>
                  <a:gd name="T39" fmla="*/ 2147483647 h 828"/>
                  <a:gd name="T40" fmla="*/ 2147483647 w 780"/>
                  <a:gd name="T41" fmla="*/ 2147483647 h 828"/>
                  <a:gd name="T42" fmla="*/ 2147483647 w 780"/>
                  <a:gd name="T43" fmla="*/ 2147483647 h 828"/>
                  <a:gd name="T44" fmla="*/ 2147483647 w 780"/>
                  <a:gd name="T45" fmla="*/ 2147483647 h 828"/>
                  <a:gd name="T46" fmla="*/ 2147483647 w 780"/>
                  <a:gd name="T47" fmla="*/ 2147483647 h 828"/>
                  <a:gd name="T48" fmla="*/ 2147483647 w 780"/>
                  <a:gd name="T49" fmla="*/ 2147483647 h 828"/>
                  <a:gd name="T50" fmla="*/ 2147483647 w 780"/>
                  <a:gd name="T51" fmla="*/ 2147483647 h 828"/>
                  <a:gd name="T52" fmla="*/ 2147483647 w 780"/>
                  <a:gd name="T53" fmla="*/ 2147483647 h 828"/>
                  <a:gd name="T54" fmla="*/ 2147483647 w 780"/>
                  <a:gd name="T55" fmla="*/ 2147483647 h 828"/>
                  <a:gd name="T56" fmla="*/ 2147483647 w 780"/>
                  <a:gd name="T57" fmla="*/ 2147483647 h 828"/>
                  <a:gd name="T58" fmla="*/ 2147483647 w 780"/>
                  <a:gd name="T59" fmla="*/ 2147483647 h 828"/>
                  <a:gd name="T60" fmla="*/ 2147483647 w 780"/>
                  <a:gd name="T61" fmla="*/ 2147483647 h 828"/>
                  <a:gd name="T62" fmla="*/ 2147483647 w 780"/>
                  <a:gd name="T63" fmla="*/ 2147483647 h 828"/>
                  <a:gd name="T64" fmla="*/ 2147483647 w 780"/>
                  <a:gd name="T65" fmla="*/ 2147483647 h 828"/>
                  <a:gd name="T66" fmla="*/ 2147483647 w 780"/>
                  <a:gd name="T67" fmla="*/ 2147483647 h 828"/>
                  <a:gd name="T68" fmla="*/ 2147483647 w 780"/>
                  <a:gd name="T69" fmla="*/ 2147483647 h 828"/>
                  <a:gd name="T70" fmla="*/ 2147483647 w 780"/>
                  <a:gd name="T71" fmla="*/ 2147483647 h 828"/>
                  <a:gd name="T72" fmla="*/ 2147483647 w 780"/>
                  <a:gd name="T73" fmla="*/ 2147483647 h 828"/>
                  <a:gd name="T74" fmla="*/ 2147483647 w 780"/>
                  <a:gd name="T75" fmla="*/ 2147483647 h 828"/>
                  <a:gd name="T76" fmla="*/ 2147483647 w 780"/>
                  <a:gd name="T77" fmla="*/ 2147483647 h 828"/>
                  <a:gd name="T78" fmla="*/ 2147483647 w 780"/>
                  <a:gd name="T79" fmla="*/ 2147483647 h 828"/>
                  <a:gd name="T80" fmla="*/ 2147483647 w 780"/>
                  <a:gd name="T81" fmla="*/ 2147483647 h 828"/>
                  <a:gd name="T82" fmla="*/ 2147483647 w 780"/>
                  <a:gd name="T83" fmla="*/ 2147483647 h 828"/>
                  <a:gd name="T84" fmla="*/ 2147483647 w 780"/>
                  <a:gd name="T85" fmla="*/ 2147483647 h 828"/>
                  <a:gd name="T86" fmla="*/ 2147483647 w 780"/>
                  <a:gd name="T87" fmla="*/ 2147483647 h 828"/>
                  <a:gd name="T88" fmla="*/ 2147483647 w 780"/>
                  <a:gd name="T89" fmla="*/ 2147483647 h 828"/>
                  <a:gd name="T90" fmla="*/ 2147483647 w 780"/>
                  <a:gd name="T91" fmla="*/ 2147483647 h 828"/>
                  <a:gd name="T92" fmla="*/ 2147483647 w 780"/>
                  <a:gd name="T93" fmla="*/ 2147483647 h 828"/>
                  <a:gd name="T94" fmla="*/ 2147483647 w 780"/>
                  <a:gd name="T95" fmla="*/ 2147483647 h 828"/>
                  <a:gd name="T96" fmla="*/ 2147483647 w 780"/>
                  <a:gd name="T97" fmla="*/ 2147483647 h 828"/>
                  <a:gd name="T98" fmla="*/ 2147483647 w 780"/>
                  <a:gd name="T99" fmla="*/ 2147483647 h 828"/>
                  <a:gd name="T100" fmla="*/ 2147483647 w 780"/>
                  <a:gd name="T101" fmla="*/ 2147483647 h 828"/>
                  <a:gd name="T102" fmla="*/ 2147483647 w 780"/>
                  <a:gd name="T103" fmla="*/ 2147483647 h 828"/>
                  <a:gd name="T104" fmla="*/ 2147483647 w 780"/>
                  <a:gd name="T105" fmla="*/ 2147483647 h 828"/>
                  <a:gd name="T106" fmla="*/ 2147483647 w 780"/>
                  <a:gd name="T107" fmla="*/ 2147483647 h 828"/>
                  <a:gd name="T108" fmla="*/ 2147483647 w 780"/>
                  <a:gd name="T109" fmla="*/ 2147483647 h 828"/>
                  <a:gd name="T110" fmla="*/ 2147483647 w 780"/>
                  <a:gd name="T111" fmla="*/ 2147483647 h 828"/>
                  <a:gd name="T112" fmla="*/ 2147483647 w 780"/>
                  <a:gd name="T113" fmla="*/ 2147483647 h 82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80"/>
                  <a:gd name="T172" fmla="*/ 0 h 828"/>
                  <a:gd name="T173" fmla="*/ 780 w 780"/>
                  <a:gd name="T174" fmla="*/ 828 h 82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80" h="828">
                    <a:moveTo>
                      <a:pt x="570" y="720"/>
                    </a:moveTo>
                    <a:lnTo>
                      <a:pt x="558" y="714"/>
                    </a:lnTo>
                    <a:lnTo>
                      <a:pt x="552" y="708"/>
                    </a:lnTo>
                    <a:lnTo>
                      <a:pt x="540" y="708"/>
                    </a:lnTo>
                    <a:lnTo>
                      <a:pt x="534" y="714"/>
                    </a:lnTo>
                    <a:lnTo>
                      <a:pt x="522" y="720"/>
                    </a:lnTo>
                    <a:lnTo>
                      <a:pt x="516" y="726"/>
                    </a:lnTo>
                    <a:lnTo>
                      <a:pt x="468" y="726"/>
                    </a:lnTo>
                    <a:lnTo>
                      <a:pt x="456" y="720"/>
                    </a:lnTo>
                    <a:lnTo>
                      <a:pt x="444" y="708"/>
                    </a:lnTo>
                    <a:lnTo>
                      <a:pt x="438" y="708"/>
                    </a:lnTo>
                    <a:lnTo>
                      <a:pt x="420" y="726"/>
                    </a:lnTo>
                    <a:lnTo>
                      <a:pt x="402" y="714"/>
                    </a:lnTo>
                    <a:lnTo>
                      <a:pt x="396" y="714"/>
                    </a:lnTo>
                    <a:lnTo>
                      <a:pt x="384" y="726"/>
                    </a:lnTo>
                    <a:lnTo>
                      <a:pt x="384" y="738"/>
                    </a:lnTo>
                    <a:lnTo>
                      <a:pt x="396" y="750"/>
                    </a:lnTo>
                    <a:lnTo>
                      <a:pt x="420" y="762"/>
                    </a:lnTo>
                    <a:lnTo>
                      <a:pt x="426" y="762"/>
                    </a:lnTo>
                    <a:lnTo>
                      <a:pt x="444" y="780"/>
                    </a:lnTo>
                    <a:lnTo>
                      <a:pt x="444" y="786"/>
                    </a:lnTo>
                    <a:lnTo>
                      <a:pt x="456" y="786"/>
                    </a:lnTo>
                    <a:lnTo>
                      <a:pt x="468" y="798"/>
                    </a:lnTo>
                    <a:lnTo>
                      <a:pt x="480" y="804"/>
                    </a:lnTo>
                    <a:lnTo>
                      <a:pt x="498" y="798"/>
                    </a:lnTo>
                    <a:lnTo>
                      <a:pt x="504" y="804"/>
                    </a:lnTo>
                    <a:lnTo>
                      <a:pt x="516" y="810"/>
                    </a:lnTo>
                    <a:lnTo>
                      <a:pt x="522" y="822"/>
                    </a:lnTo>
                    <a:lnTo>
                      <a:pt x="534" y="828"/>
                    </a:lnTo>
                    <a:lnTo>
                      <a:pt x="558" y="828"/>
                    </a:lnTo>
                    <a:lnTo>
                      <a:pt x="570" y="816"/>
                    </a:lnTo>
                    <a:lnTo>
                      <a:pt x="570" y="792"/>
                    </a:lnTo>
                    <a:lnTo>
                      <a:pt x="564" y="780"/>
                    </a:lnTo>
                    <a:lnTo>
                      <a:pt x="564" y="768"/>
                    </a:lnTo>
                    <a:lnTo>
                      <a:pt x="570" y="750"/>
                    </a:lnTo>
                    <a:lnTo>
                      <a:pt x="576" y="738"/>
                    </a:lnTo>
                    <a:lnTo>
                      <a:pt x="582" y="732"/>
                    </a:lnTo>
                    <a:lnTo>
                      <a:pt x="582" y="714"/>
                    </a:lnTo>
                    <a:lnTo>
                      <a:pt x="576" y="702"/>
                    </a:lnTo>
                    <a:lnTo>
                      <a:pt x="570" y="720"/>
                    </a:lnTo>
                    <a:close/>
                    <a:moveTo>
                      <a:pt x="180" y="468"/>
                    </a:moveTo>
                    <a:lnTo>
                      <a:pt x="156" y="480"/>
                    </a:lnTo>
                    <a:lnTo>
                      <a:pt x="150" y="486"/>
                    </a:lnTo>
                    <a:lnTo>
                      <a:pt x="138" y="492"/>
                    </a:lnTo>
                    <a:lnTo>
                      <a:pt x="132" y="498"/>
                    </a:lnTo>
                    <a:lnTo>
                      <a:pt x="126" y="498"/>
                    </a:lnTo>
                    <a:lnTo>
                      <a:pt x="114" y="492"/>
                    </a:lnTo>
                    <a:lnTo>
                      <a:pt x="102" y="480"/>
                    </a:lnTo>
                    <a:lnTo>
                      <a:pt x="96" y="498"/>
                    </a:lnTo>
                    <a:lnTo>
                      <a:pt x="102" y="504"/>
                    </a:lnTo>
                    <a:lnTo>
                      <a:pt x="114" y="510"/>
                    </a:lnTo>
                    <a:lnTo>
                      <a:pt x="120" y="522"/>
                    </a:lnTo>
                    <a:lnTo>
                      <a:pt x="120" y="540"/>
                    </a:lnTo>
                    <a:lnTo>
                      <a:pt x="114" y="558"/>
                    </a:lnTo>
                    <a:lnTo>
                      <a:pt x="114" y="570"/>
                    </a:lnTo>
                    <a:lnTo>
                      <a:pt x="126" y="582"/>
                    </a:lnTo>
                    <a:lnTo>
                      <a:pt x="114" y="588"/>
                    </a:lnTo>
                    <a:lnTo>
                      <a:pt x="120" y="636"/>
                    </a:lnTo>
                    <a:lnTo>
                      <a:pt x="108" y="636"/>
                    </a:lnTo>
                    <a:lnTo>
                      <a:pt x="126" y="654"/>
                    </a:lnTo>
                    <a:lnTo>
                      <a:pt x="138" y="654"/>
                    </a:lnTo>
                    <a:lnTo>
                      <a:pt x="144" y="642"/>
                    </a:lnTo>
                    <a:lnTo>
                      <a:pt x="156" y="630"/>
                    </a:lnTo>
                    <a:lnTo>
                      <a:pt x="156" y="618"/>
                    </a:lnTo>
                    <a:lnTo>
                      <a:pt x="168" y="630"/>
                    </a:lnTo>
                    <a:lnTo>
                      <a:pt x="180" y="636"/>
                    </a:lnTo>
                    <a:lnTo>
                      <a:pt x="186" y="636"/>
                    </a:lnTo>
                    <a:lnTo>
                      <a:pt x="192" y="630"/>
                    </a:lnTo>
                    <a:lnTo>
                      <a:pt x="198" y="618"/>
                    </a:lnTo>
                    <a:lnTo>
                      <a:pt x="198" y="594"/>
                    </a:lnTo>
                    <a:lnTo>
                      <a:pt x="204" y="582"/>
                    </a:lnTo>
                    <a:lnTo>
                      <a:pt x="204" y="558"/>
                    </a:lnTo>
                    <a:lnTo>
                      <a:pt x="198" y="552"/>
                    </a:lnTo>
                    <a:lnTo>
                      <a:pt x="192" y="552"/>
                    </a:lnTo>
                    <a:lnTo>
                      <a:pt x="192" y="546"/>
                    </a:lnTo>
                    <a:lnTo>
                      <a:pt x="198" y="540"/>
                    </a:lnTo>
                    <a:lnTo>
                      <a:pt x="204" y="540"/>
                    </a:lnTo>
                    <a:lnTo>
                      <a:pt x="210" y="534"/>
                    </a:lnTo>
                    <a:lnTo>
                      <a:pt x="210" y="522"/>
                    </a:lnTo>
                    <a:lnTo>
                      <a:pt x="204" y="510"/>
                    </a:lnTo>
                    <a:lnTo>
                      <a:pt x="204" y="492"/>
                    </a:lnTo>
                    <a:lnTo>
                      <a:pt x="198" y="480"/>
                    </a:lnTo>
                    <a:lnTo>
                      <a:pt x="186" y="474"/>
                    </a:lnTo>
                    <a:lnTo>
                      <a:pt x="180" y="468"/>
                    </a:lnTo>
                    <a:close/>
                    <a:moveTo>
                      <a:pt x="774" y="546"/>
                    </a:moveTo>
                    <a:lnTo>
                      <a:pt x="768" y="534"/>
                    </a:lnTo>
                    <a:lnTo>
                      <a:pt x="756" y="528"/>
                    </a:lnTo>
                    <a:lnTo>
                      <a:pt x="738" y="510"/>
                    </a:lnTo>
                    <a:lnTo>
                      <a:pt x="678" y="480"/>
                    </a:lnTo>
                    <a:lnTo>
                      <a:pt x="672" y="480"/>
                    </a:lnTo>
                    <a:lnTo>
                      <a:pt x="660" y="474"/>
                    </a:lnTo>
                    <a:lnTo>
                      <a:pt x="648" y="474"/>
                    </a:lnTo>
                    <a:lnTo>
                      <a:pt x="630" y="468"/>
                    </a:lnTo>
                    <a:lnTo>
                      <a:pt x="606" y="456"/>
                    </a:lnTo>
                    <a:lnTo>
                      <a:pt x="606" y="450"/>
                    </a:lnTo>
                    <a:lnTo>
                      <a:pt x="612" y="438"/>
                    </a:lnTo>
                    <a:lnTo>
                      <a:pt x="624" y="426"/>
                    </a:lnTo>
                    <a:lnTo>
                      <a:pt x="624" y="420"/>
                    </a:lnTo>
                    <a:lnTo>
                      <a:pt x="618" y="414"/>
                    </a:lnTo>
                    <a:lnTo>
                      <a:pt x="612" y="414"/>
                    </a:lnTo>
                    <a:lnTo>
                      <a:pt x="594" y="408"/>
                    </a:lnTo>
                    <a:lnTo>
                      <a:pt x="552" y="408"/>
                    </a:lnTo>
                    <a:lnTo>
                      <a:pt x="540" y="402"/>
                    </a:lnTo>
                    <a:lnTo>
                      <a:pt x="534" y="396"/>
                    </a:lnTo>
                    <a:lnTo>
                      <a:pt x="516" y="384"/>
                    </a:lnTo>
                    <a:lnTo>
                      <a:pt x="492" y="360"/>
                    </a:lnTo>
                    <a:lnTo>
                      <a:pt x="480" y="342"/>
                    </a:lnTo>
                    <a:lnTo>
                      <a:pt x="474" y="336"/>
                    </a:lnTo>
                    <a:lnTo>
                      <a:pt x="468" y="324"/>
                    </a:lnTo>
                    <a:lnTo>
                      <a:pt x="468" y="312"/>
                    </a:lnTo>
                    <a:lnTo>
                      <a:pt x="450" y="276"/>
                    </a:lnTo>
                    <a:lnTo>
                      <a:pt x="438" y="270"/>
                    </a:lnTo>
                    <a:lnTo>
                      <a:pt x="432" y="264"/>
                    </a:lnTo>
                    <a:lnTo>
                      <a:pt x="420" y="258"/>
                    </a:lnTo>
                    <a:lnTo>
                      <a:pt x="414" y="252"/>
                    </a:lnTo>
                    <a:lnTo>
                      <a:pt x="378" y="222"/>
                    </a:lnTo>
                    <a:lnTo>
                      <a:pt x="372" y="210"/>
                    </a:lnTo>
                    <a:lnTo>
                      <a:pt x="360" y="198"/>
                    </a:lnTo>
                    <a:lnTo>
                      <a:pt x="360" y="186"/>
                    </a:lnTo>
                    <a:lnTo>
                      <a:pt x="366" y="180"/>
                    </a:lnTo>
                    <a:lnTo>
                      <a:pt x="384" y="180"/>
                    </a:lnTo>
                    <a:lnTo>
                      <a:pt x="384" y="174"/>
                    </a:lnTo>
                    <a:lnTo>
                      <a:pt x="372" y="162"/>
                    </a:lnTo>
                    <a:lnTo>
                      <a:pt x="366" y="150"/>
                    </a:lnTo>
                    <a:lnTo>
                      <a:pt x="366" y="138"/>
                    </a:lnTo>
                    <a:lnTo>
                      <a:pt x="402" y="120"/>
                    </a:lnTo>
                    <a:lnTo>
                      <a:pt x="408" y="114"/>
                    </a:lnTo>
                    <a:lnTo>
                      <a:pt x="414" y="114"/>
                    </a:lnTo>
                    <a:lnTo>
                      <a:pt x="438" y="108"/>
                    </a:lnTo>
                    <a:lnTo>
                      <a:pt x="444" y="72"/>
                    </a:lnTo>
                    <a:lnTo>
                      <a:pt x="432" y="66"/>
                    </a:lnTo>
                    <a:lnTo>
                      <a:pt x="438" y="60"/>
                    </a:lnTo>
                    <a:lnTo>
                      <a:pt x="438" y="42"/>
                    </a:lnTo>
                    <a:lnTo>
                      <a:pt x="384" y="42"/>
                    </a:lnTo>
                    <a:lnTo>
                      <a:pt x="378" y="24"/>
                    </a:lnTo>
                    <a:lnTo>
                      <a:pt x="366" y="24"/>
                    </a:lnTo>
                    <a:lnTo>
                      <a:pt x="366" y="6"/>
                    </a:lnTo>
                    <a:lnTo>
                      <a:pt x="360" y="0"/>
                    </a:lnTo>
                    <a:lnTo>
                      <a:pt x="342" y="0"/>
                    </a:lnTo>
                    <a:lnTo>
                      <a:pt x="336" y="6"/>
                    </a:lnTo>
                    <a:lnTo>
                      <a:pt x="336" y="12"/>
                    </a:lnTo>
                    <a:lnTo>
                      <a:pt x="294" y="12"/>
                    </a:lnTo>
                    <a:lnTo>
                      <a:pt x="282" y="30"/>
                    </a:lnTo>
                    <a:lnTo>
                      <a:pt x="270" y="24"/>
                    </a:lnTo>
                    <a:lnTo>
                      <a:pt x="252" y="24"/>
                    </a:lnTo>
                    <a:lnTo>
                      <a:pt x="246" y="42"/>
                    </a:lnTo>
                    <a:lnTo>
                      <a:pt x="222" y="42"/>
                    </a:lnTo>
                    <a:lnTo>
                      <a:pt x="222" y="48"/>
                    </a:lnTo>
                    <a:lnTo>
                      <a:pt x="234" y="60"/>
                    </a:lnTo>
                    <a:lnTo>
                      <a:pt x="228" y="72"/>
                    </a:lnTo>
                    <a:lnTo>
                      <a:pt x="210" y="60"/>
                    </a:lnTo>
                    <a:lnTo>
                      <a:pt x="192" y="66"/>
                    </a:lnTo>
                    <a:lnTo>
                      <a:pt x="180" y="48"/>
                    </a:lnTo>
                    <a:lnTo>
                      <a:pt x="174" y="72"/>
                    </a:lnTo>
                    <a:lnTo>
                      <a:pt x="162" y="84"/>
                    </a:lnTo>
                    <a:lnTo>
                      <a:pt x="162" y="102"/>
                    </a:lnTo>
                    <a:lnTo>
                      <a:pt x="138" y="78"/>
                    </a:lnTo>
                    <a:lnTo>
                      <a:pt x="132" y="78"/>
                    </a:lnTo>
                    <a:lnTo>
                      <a:pt x="132" y="72"/>
                    </a:lnTo>
                    <a:lnTo>
                      <a:pt x="126" y="66"/>
                    </a:lnTo>
                    <a:lnTo>
                      <a:pt x="126" y="60"/>
                    </a:lnTo>
                    <a:lnTo>
                      <a:pt x="120" y="54"/>
                    </a:lnTo>
                    <a:lnTo>
                      <a:pt x="108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84" y="96"/>
                    </a:lnTo>
                    <a:lnTo>
                      <a:pt x="78" y="96"/>
                    </a:lnTo>
                    <a:lnTo>
                      <a:pt x="66" y="84"/>
                    </a:lnTo>
                    <a:lnTo>
                      <a:pt x="54" y="84"/>
                    </a:lnTo>
                    <a:lnTo>
                      <a:pt x="42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18" y="108"/>
                    </a:lnTo>
                    <a:lnTo>
                      <a:pt x="42" y="132"/>
                    </a:lnTo>
                    <a:lnTo>
                      <a:pt x="42" y="138"/>
                    </a:lnTo>
                    <a:lnTo>
                      <a:pt x="24" y="156"/>
                    </a:lnTo>
                    <a:lnTo>
                      <a:pt x="0" y="156"/>
                    </a:lnTo>
                    <a:lnTo>
                      <a:pt x="12" y="174"/>
                    </a:lnTo>
                    <a:lnTo>
                      <a:pt x="24" y="174"/>
                    </a:lnTo>
                    <a:lnTo>
                      <a:pt x="30" y="180"/>
                    </a:lnTo>
                    <a:lnTo>
                      <a:pt x="30" y="192"/>
                    </a:lnTo>
                    <a:lnTo>
                      <a:pt x="24" y="198"/>
                    </a:lnTo>
                    <a:lnTo>
                      <a:pt x="24" y="204"/>
                    </a:lnTo>
                    <a:lnTo>
                      <a:pt x="18" y="210"/>
                    </a:lnTo>
                    <a:lnTo>
                      <a:pt x="18" y="216"/>
                    </a:lnTo>
                    <a:lnTo>
                      <a:pt x="24" y="222"/>
                    </a:lnTo>
                    <a:lnTo>
                      <a:pt x="36" y="228"/>
                    </a:lnTo>
                    <a:lnTo>
                      <a:pt x="42" y="228"/>
                    </a:lnTo>
                    <a:lnTo>
                      <a:pt x="42" y="234"/>
                    </a:lnTo>
                    <a:lnTo>
                      <a:pt x="66" y="234"/>
                    </a:lnTo>
                    <a:lnTo>
                      <a:pt x="72" y="240"/>
                    </a:lnTo>
                    <a:lnTo>
                      <a:pt x="72" y="246"/>
                    </a:lnTo>
                    <a:lnTo>
                      <a:pt x="54" y="264"/>
                    </a:lnTo>
                    <a:lnTo>
                      <a:pt x="54" y="270"/>
                    </a:lnTo>
                    <a:lnTo>
                      <a:pt x="66" y="270"/>
                    </a:lnTo>
                    <a:lnTo>
                      <a:pt x="90" y="258"/>
                    </a:lnTo>
                    <a:lnTo>
                      <a:pt x="120" y="228"/>
                    </a:lnTo>
                    <a:lnTo>
                      <a:pt x="144" y="216"/>
                    </a:lnTo>
                    <a:lnTo>
                      <a:pt x="156" y="216"/>
                    </a:lnTo>
                    <a:lnTo>
                      <a:pt x="168" y="222"/>
                    </a:lnTo>
                    <a:lnTo>
                      <a:pt x="204" y="234"/>
                    </a:lnTo>
                    <a:lnTo>
                      <a:pt x="216" y="240"/>
                    </a:lnTo>
                    <a:lnTo>
                      <a:pt x="228" y="252"/>
                    </a:lnTo>
                    <a:lnTo>
                      <a:pt x="234" y="264"/>
                    </a:lnTo>
                    <a:lnTo>
                      <a:pt x="234" y="276"/>
                    </a:lnTo>
                    <a:lnTo>
                      <a:pt x="240" y="282"/>
                    </a:lnTo>
                    <a:lnTo>
                      <a:pt x="240" y="288"/>
                    </a:lnTo>
                    <a:lnTo>
                      <a:pt x="252" y="300"/>
                    </a:lnTo>
                    <a:lnTo>
                      <a:pt x="252" y="306"/>
                    </a:lnTo>
                    <a:lnTo>
                      <a:pt x="246" y="318"/>
                    </a:lnTo>
                    <a:lnTo>
                      <a:pt x="246" y="324"/>
                    </a:lnTo>
                    <a:lnTo>
                      <a:pt x="258" y="336"/>
                    </a:lnTo>
                    <a:lnTo>
                      <a:pt x="282" y="348"/>
                    </a:lnTo>
                    <a:lnTo>
                      <a:pt x="288" y="354"/>
                    </a:lnTo>
                    <a:lnTo>
                      <a:pt x="294" y="354"/>
                    </a:lnTo>
                    <a:lnTo>
                      <a:pt x="300" y="372"/>
                    </a:lnTo>
                    <a:lnTo>
                      <a:pt x="330" y="372"/>
                    </a:lnTo>
                    <a:lnTo>
                      <a:pt x="348" y="390"/>
                    </a:lnTo>
                    <a:lnTo>
                      <a:pt x="354" y="402"/>
                    </a:lnTo>
                    <a:lnTo>
                      <a:pt x="366" y="414"/>
                    </a:lnTo>
                    <a:lnTo>
                      <a:pt x="378" y="420"/>
                    </a:lnTo>
                    <a:lnTo>
                      <a:pt x="384" y="432"/>
                    </a:lnTo>
                    <a:lnTo>
                      <a:pt x="420" y="468"/>
                    </a:lnTo>
                    <a:lnTo>
                      <a:pt x="456" y="468"/>
                    </a:lnTo>
                    <a:lnTo>
                      <a:pt x="462" y="474"/>
                    </a:lnTo>
                    <a:lnTo>
                      <a:pt x="468" y="486"/>
                    </a:lnTo>
                    <a:lnTo>
                      <a:pt x="492" y="498"/>
                    </a:lnTo>
                    <a:lnTo>
                      <a:pt x="510" y="504"/>
                    </a:lnTo>
                    <a:lnTo>
                      <a:pt x="528" y="504"/>
                    </a:lnTo>
                    <a:lnTo>
                      <a:pt x="540" y="510"/>
                    </a:lnTo>
                    <a:lnTo>
                      <a:pt x="546" y="510"/>
                    </a:lnTo>
                    <a:lnTo>
                      <a:pt x="552" y="522"/>
                    </a:lnTo>
                    <a:lnTo>
                      <a:pt x="552" y="534"/>
                    </a:lnTo>
                    <a:lnTo>
                      <a:pt x="564" y="558"/>
                    </a:lnTo>
                    <a:lnTo>
                      <a:pt x="570" y="564"/>
                    </a:lnTo>
                    <a:lnTo>
                      <a:pt x="582" y="564"/>
                    </a:lnTo>
                    <a:lnTo>
                      <a:pt x="594" y="558"/>
                    </a:lnTo>
                    <a:lnTo>
                      <a:pt x="600" y="558"/>
                    </a:lnTo>
                    <a:lnTo>
                      <a:pt x="600" y="570"/>
                    </a:lnTo>
                    <a:lnTo>
                      <a:pt x="606" y="582"/>
                    </a:lnTo>
                    <a:lnTo>
                      <a:pt x="606" y="606"/>
                    </a:lnTo>
                    <a:lnTo>
                      <a:pt x="612" y="618"/>
                    </a:lnTo>
                    <a:lnTo>
                      <a:pt x="630" y="636"/>
                    </a:lnTo>
                    <a:lnTo>
                      <a:pt x="630" y="666"/>
                    </a:lnTo>
                    <a:lnTo>
                      <a:pt x="612" y="666"/>
                    </a:lnTo>
                    <a:lnTo>
                      <a:pt x="612" y="690"/>
                    </a:lnTo>
                    <a:lnTo>
                      <a:pt x="606" y="696"/>
                    </a:lnTo>
                    <a:lnTo>
                      <a:pt x="600" y="708"/>
                    </a:lnTo>
                    <a:lnTo>
                      <a:pt x="594" y="714"/>
                    </a:lnTo>
                    <a:lnTo>
                      <a:pt x="594" y="732"/>
                    </a:lnTo>
                    <a:lnTo>
                      <a:pt x="606" y="732"/>
                    </a:lnTo>
                    <a:lnTo>
                      <a:pt x="618" y="726"/>
                    </a:lnTo>
                    <a:lnTo>
                      <a:pt x="624" y="726"/>
                    </a:lnTo>
                    <a:lnTo>
                      <a:pt x="636" y="702"/>
                    </a:lnTo>
                    <a:lnTo>
                      <a:pt x="654" y="696"/>
                    </a:lnTo>
                    <a:lnTo>
                      <a:pt x="654" y="666"/>
                    </a:lnTo>
                    <a:lnTo>
                      <a:pt x="666" y="654"/>
                    </a:lnTo>
                    <a:lnTo>
                      <a:pt x="678" y="654"/>
                    </a:lnTo>
                    <a:lnTo>
                      <a:pt x="684" y="648"/>
                    </a:lnTo>
                    <a:lnTo>
                      <a:pt x="696" y="648"/>
                    </a:lnTo>
                    <a:lnTo>
                      <a:pt x="696" y="636"/>
                    </a:lnTo>
                    <a:lnTo>
                      <a:pt x="690" y="630"/>
                    </a:lnTo>
                    <a:lnTo>
                      <a:pt x="690" y="618"/>
                    </a:lnTo>
                    <a:lnTo>
                      <a:pt x="678" y="606"/>
                    </a:lnTo>
                    <a:lnTo>
                      <a:pt x="666" y="606"/>
                    </a:lnTo>
                    <a:lnTo>
                      <a:pt x="648" y="588"/>
                    </a:lnTo>
                    <a:lnTo>
                      <a:pt x="654" y="582"/>
                    </a:lnTo>
                    <a:lnTo>
                      <a:pt x="660" y="570"/>
                    </a:lnTo>
                    <a:lnTo>
                      <a:pt x="666" y="552"/>
                    </a:lnTo>
                    <a:lnTo>
                      <a:pt x="672" y="540"/>
                    </a:lnTo>
                    <a:lnTo>
                      <a:pt x="684" y="528"/>
                    </a:lnTo>
                    <a:lnTo>
                      <a:pt x="690" y="534"/>
                    </a:lnTo>
                    <a:lnTo>
                      <a:pt x="702" y="534"/>
                    </a:lnTo>
                    <a:lnTo>
                      <a:pt x="708" y="540"/>
                    </a:lnTo>
                    <a:lnTo>
                      <a:pt x="738" y="540"/>
                    </a:lnTo>
                    <a:lnTo>
                      <a:pt x="738" y="552"/>
                    </a:lnTo>
                    <a:lnTo>
                      <a:pt x="744" y="558"/>
                    </a:lnTo>
                    <a:lnTo>
                      <a:pt x="744" y="564"/>
                    </a:lnTo>
                    <a:lnTo>
                      <a:pt x="750" y="576"/>
                    </a:lnTo>
                    <a:lnTo>
                      <a:pt x="762" y="576"/>
                    </a:lnTo>
                    <a:lnTo>
                      <a:pt x="774" y="570"/>
                    </a:lnTo>
                    <a:lnTo>
                      <a:pt x="780" y="564"/>
                    </a:lnTo>
                    <a:lnTo>
                      <a:pt x="780" y="558"/>
                    </a:lnTo>
                    <a:lnTo>
                      <a:pt x="774" y="546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89" name="Israe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7F0C075-B992-49B1-84B3-D513BA2106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96001" y="3311305"/>
                <a:ext cx="45426" cy="143484"/>
              </a:xfrm>
              <a:custGeom>
                <a:avLst/>
                <a:gdLst>
                  <a:gd name="T0" fmla="*/ 0 w 102"/>
                  <a:gd name="T1" fmla="*/ 2147483647 h 324"/>
                  <a:gd name="T2" fmla="*/ 2147483647 w 102"/>
                  <a:gd name="T3" fmla="*/ 2147483647 h 324"/>
                  <a:gd name="T4" fmla="*/ 2147483647 w 102"/>
                  <a:gd name="T5" fmla="*/ 2147483647 h 324"/>
                  <a:gd name="T6" fmla="*/ 2147483647 w 102"/>
                  <a:gd name="T7" fmla="*/ 2147483647 h 324"/>
                  <a:gd name="T8" fmla="*/ 2147483647 w 102"/>
                  <a:gd name="T9" fmla="*/ 2147483647 h 324"/>
                  <a:gd name="T10" fmla="*/ 2147483647 w 102"/>
                  <a:gd name="T11" fmla="*/ 2147483647 h 324"/>
                  <a:gd name="T12" fmla="*/ 2147483647 w 102"/>
                  <a:gd name="T13" fmla="*/ 2147483647 h 324"/>
                  <a:gd name="T14" fmla="*/ 2147483647 w 102"/>
                  <a:gd name="T15" fmla="*/ 2147483647 h 324"/>
                  <a:gd name="T16" fmla="*/ 2147483647 w 102"/>
                  <a:gd name="T17" fmla="*/ 2147483647 h 324"/>
                  <a:gd name="T18" fmla="*/ 2147483647 w 102"/>
                  <a:gd name="T19" fmla="*/ 2147483647 h 324"/>
                  <a:gd name="T20" fmla="*/ 2147483647 w 102"/>
                  <a:gd name="T21" fmla="*/ 2147483647 h 324"/>
                  <a:gd name="T22" fmla="*/ 2147483647 w 102"/>
                  <a:gd name="T23" fmla="*/ 2147483647 h 324"/>
                  <a:gd name="T24" fmla="*/ 2147483647 w 102"/>
                  <a:gd name="T25" fmla="*/ 2147483647 h 324"/>
                  <a:gd name="T26" fmla="*/ 2147483647 w 102"/>
                  <a:gd name="T27" fmla="*/ 2147483647 h 324"/>
                  <a:gd name="T28" fmla="*/ 2147483647 w 102"/>
                  <a:gd name="T29" fmla="*/ 2147483647 h 324"/>
                  <a:gd name="T30" fmla="*/ 2147483647 w 102"/>
                  <a:gd name="T31" fmla="*/ 2147483647 h 324"/>
                  <a:gd name="T32" fmla="*/ 2147483647 w 102"/>
                  <a:gd name="T33" fmla="*/ 2147483647 h 324"/>
                  <a:gd name="T34" fmla="*/ 2147483647 w 102"/>
                  <a:gd name="T35" fmla="*/ 2147483647 h 324"/>
                  <a:gd name="T36" fmla="*/ 2147483647 w 102"/>
                  <a:gd name="T37" fmla="*/ 2147483647 h 324"/>
                  <a:gd name="T38" fmla="*/ 2147483647 w 102"/>
                  <a:gd name="T39" fmla="*/ 2147483647 h 324"/>
                  <a:gd name="T40" fmla="*/ 2147483647 w 102"/>
                  <a:gd name="T41" fmla="*/ 2147483647 h 324"/>
                  <a:gd name="T42" fmla="*/ 2147483647 w 102"/>
                  <a:gd name="T43" fmla="*/ 2147483647 h 324"/>
                  <a:gd name="T44" fmla="*/ 2147483647 w 102"/>
                  <a:gd name="T45" fmla="*/ 2147483647 h 324"/>
                  <a:gd name="T46" fmla="*/ 2147483647 w 102"/>
                  <a:gd name="T47" fmla="*/ 2147483647 h 324"/>
                  <a:gd name="T48" fmla="*/ 2147483647 w 102"/>
                  <a:gd name="T49" fmla="*/ 0 h 324"/>
                  <a:gd name="T50" fmla="*/ 2147483647 w 102"/>
                  <a:gd name="T51" fmla="*/ 2147483647 h 324"/>
                  <a:gd name="T52" fmla="*/ 2147483647 w 102"/>
                  <a:gd name="T53" fmla="*/ 2147483647 h 324"/>
                  <a:gd name="T54" fmla="*/ 2147483647 w 102"/>
                  <a:gd name="T55" fmla="*/ 2147483647 h 324"/>
                  <a:gd name="T56" fmla="*/ 2147483647 w 102"/>
                  <a:gd name="T57" fmla="*/ 2147483647 h 324"/>
                  <a:gd name="T58" fmla="*/ 2147483647 w 102"/>
                  <a:gd name="T59" fmla="*/ 2147483647 h 324"/>
                  <a:gd name="T60" fmla="*/ 2147483647 w 102"/>
                  <a:gd name="T61" fmla="*/ 2147483647 h 324"/>
                  <a:gd name="T62" fmla="*/ 2147483647 w 102"/>
                  <a:gd name="T63" fmla="*/ 2147483647 h 324"/>
                  <a:gd name="T64" fmla="*/ 2147483647 w 102"/>
                  <a:gd name="T65" fmla="*/ 2147483647 h 324"/>
                  <a:gd name="T66" fmla="*/ 2147483647 w 102"/>
                  <a:gd name="T67" fmla="*/ 2147483647 h 324"/>
                  <a:gd name="T68" fmla="*/ 2147483647 w 102"/>
                  <a:gd name="T69" fmla="*/ 2147483647 h 324"/>
                  <a:gd name="T70" fmla="*/ 2147483647 w 102"/>
                  <a:gd name="T71" fmla="*/ 2147483647 h 324"/>
                  <a:gd name="T72" fmla="*/ 2147483647 w 102"/>
                  <a:gd name="T73" fmla="*/ 2147483647 h 324"/>
                  <a:gd name="T74" fmla="*/ 2147483647 w 102"/>
                  <a:gd name="T75" fmla="*/ 2147483647 h 324"/>
                  <a:gd name="T76" fmla="*/ 2147483647 w 102"/>
                  <a:gd name="T77" fmla="*/ 2147483647 h 324"/>
                  <a:gd name="T78" fmla="*/ 0 w 102"/>
                  <a:gd name="T79" fmla="*/ 2147483647 h 32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02"/>
                  <a:gd name="T121" fmla="*/ 0 h 324"/>
                  <a:gd name="T122" fmla="*/ 102 w 102"/>
                  <a:gd name="T123" fmla="*/ 324 h 32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02" h="324">
                    <a:moveTo>
                      <a:pt x="0" y="168"/>
                    </a:moveTo>
                    <a:lnTo>
                      <a:pt x="54" y="312"/>
                    </a:lnTo>
                    <a:lnTo>
                      <a:pt x="60" y="324"/>
                    </a:lnTo>
                    <a:lnTo>
                      <a:pt x="60" y="306"/>
                    </a:lnTo>
                    <a:lnTo>
                      <a:pt x="66" y="294"/>
                    </a:lnTo>
                    <a:lnTo>
                      <a:pt x="66" y="234"/>
                    </a:lnTo>
                    <a:lnTo>
                      <a:pt x="72" y="228"/>
                    </a:lnTo>
                    <a:lnTo>
                      <a:pt x="78" y="216"/>
                    </a:lnTo>
                    <a:lnTo>
                      <a:pt x="84" y="210"/>
                    </a:lnTo>
                    <a:lnTo>
                      <a:pt x="90" y="198"/>
                    </a:lnTo>
                    <a:lnTo>
                      <a:pt x="90" y="186"/>
                    </a:lnTo>
                    <a:lnTo>
                      <a:pt x="78" y="174"/>
                    </a:lnTo>
                    <a:lnTo>
                      <a:pt x="78" y="162"/>
                    </a:lnTo>
                    <a:lnTo>
                      <a:pt x="72" y="156"/>
                    </a:lnTo>
                    <a:lnTo>
                      <a:pt x="66" y="162"/>
                    </a:lnTo>
                    <a:lnTo>
                      <a:pt x="66" y="168"/>
                    </a:lnTo>
                    <a:lnTo>
                      <a:pt x="60" y="168"/>
                    </a:lnTo>
                    <a:lnTo>
                      <a:pt x="54" y="174"/>
                    </a:lnTo>
                    <a:lnTo>
                      <a:pt x="48" y="168"/>
                    </a:lnTo>
                    <a:lnTo>
                      <a:pt x="48" y="96"/>
                    </a:lnTo>
                    <a:lnTo>
                      <a:pt x="66" y="78"/>
                    </a:lnTo>
                    <a:lnTo>
                      <a:pt x="84" y="78"/>
                    </a:lnTo>
                    <a:lnTo>
                      <a:pt x="90" y="60"/>
                    </a:lnTo>
                    <a:lnTo>
                      <a:pt x="84" y="18"/>
                    </a:lnTo>
                    <a:lnTo>
                      <a:pt x="102" y="0"/>
                    </a:lnTo>
                    <a:lnTo>
                      <a:pt x="78" y="6"/>
                    </a:lnTo>
                    <a:lnTo>
                      <a:pt x="78" y="18"/>
                    </a:lnTo>
                    <a:lnTo>
                      <a:pt x="72" y="30"/>
                    </a:lnTo>
                    <a:lnTo>
                      <a:pt x="66" y="36"/>
                    </a:lnTo>
                    <a:lnTo>
                      <a:pt x="60" y="36"/>
                    </a:lnTo>
                    <a:lnTo>
                      <a:pt x="54" y="30"/>
                    </a:lnTo>
                    <a:lnTo>
                      <a:pt x="42" y="54"/>
                    </a:lnTo>
                    <a:lnTo>
                      <a:pt x="30" y="60"/>
                    </a:lnTo>
                    <a:lnTo>
                      <a:pt x="36" y="72"/>
                    </a:lnTo>
                    <a:lnTo>
                      <a:pt x="36" y="84"/>
                    </a:lnTo>
                    <a:lnTo>
                      <a:pt x="42" y="90"/>
                    </a:lnTo>
                    <a:lnTo>
                      <a:pt x="42" y="96"/>
                    </a:lnTo>
                    <a:lnTo>
                      <a:pt x="18" y="138"/>
                    </a:lnTo>
                    <a:lnTo>
                      <a:pt x="18" y="156"/>
                    </a:lnTo>
                    <a:lnTo>
                      <a:pt x="0" y="168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0" name="Ir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398CF85-2508-441C-8C8E-B2735358CA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54585" y="3081022"/>
                <a:ext cx="637719" cy="529652"/>
              </a:xfrm>
              <a:custGeom>
                <a:avLst/>
                <a:gdLst>
                  <a:gd name="T0" fmla="*/ 2147483647 w 1440"/>
                  <a:gd name="T1" fmla="*/ 2147483647 h 1182"/>
                  <a:gd name="T2" fmla="*/ 2147483647 w 1440"/>
                  <a:gd name="T3" fmla="*/ 2147483647 h 1182"/>
                  <a:gd name="T4" fmla="*/ 2147483647 w 1440"/>
                  <a:gd name="T5" fmla="*/ 2147483647 h 1182"/>
                  <a:gd name="T6" fmla="*/ 2147483647 w 1440"/>
                  <a:gd name="T7" fmla="*/ 2147483647 h 1182"/>
                  <a:gd name="T8" fmla="*/ 2147483647 w 1440"/>
                  <a:gd name="T9" fmla="*/ 2147483647 h 1182"/>
                  <a:gd name="T10" fmla="*/ 2147483647 w 1440"/>
                  <a:gd name="T11" fmla="*/ 2147483647 h 1182"/>
                  <a:gd name="T12" fmla="*/ 2147483647 w 1440"/>
                  <a:gd name="T13" fmla="*/ 2147483647 h 1182"/>
                  <a:gd name="T14" fmla="*/ 2147483647 w 1440"/>
                  <a:gd name="T15" fmla="*/ 2147483647 h 1182"/>
                  <a:gd name="T16" fmla="*/ 2147483647 w 1440"/>
                  <a:gd name="T17" fmla="*/ 2147483647 h 1182"/>
                  <a:gd name="T18" fmla="*/ 2147483647 w 1440"/>
                  <a:gd name="T19" fmla="*/ 2147483647 h 1182"/>
                  <a:gd name="T20" fmla="*/ 2147483647 w 1440"/>
                  <a:gd name="T21" fmla="*/ 2147483647 h 1182"/>
                  <a:gd name="T22" fmla="*/ 2147483647 w 1440"/>
                  <a:gd name="T23" fmla="*/ 2147483647 h 1182"/>
                  <a:gd name="T24" fmla="*/ 2147483647 w 1440"/>
                  <a:gd name="T25" fmla="*/ 2147483647 h 1182"/>
                  <a:gd name="T26" fmla="*/ 2147483647 w 1440"/>
                  <a:gd name="T27" fmla="*/ 2147483647 h 1182"/>
                  <a:gd name="T28" fmla="*/ 2147483647 w 1440"/>
                  <a:gd name="T29" fmla="*/ 2147483647 h 1182"/>
                  <a:gd name="T30" fmla="*/ 2147483647 w 1440"/>
                  <a:gd name="T31" fmla="*/ 2147483647 h 1182"/>
                  <a:gd name="T32" fmla="*/ 2147483647 w 1440"/>
                  <a:gd name="T33" fmla="*/ 2147483647 h 1182"/>
                  <a:gd name="T34" fmla="*/ 2147483647 w 1440"/>
                  <a:gd name="T35" fmla="*/ 2147483647 h 1182"/>
                  <a:gd name="T36" fmla="*/ 2147483647 w 1440"/>
                  <a:gd name="T37" fmla="*/ 2147483647 h 1182"/>
                  <a:gd name="T38" fmla="*/ 2147483647 w 1440"/>
                  <a:gd name="T39" fmla="*/ 2147483647 h 1182"/>
                  <a:gd name="T40" fmla="*/ 2147483647 w 1440"/>
                  <a:gd name="T41" fmla="*/ 2147483647 h 1182"/>
                  <a:gd name="T42" fmla="*/ 2147483647 w 1440"/>
                  <a:gd name="T43" fmla="*/ 2147483647 h 1182"/>
                  <a:gd name="T44" fmla="*/ 2147483647 w 1440"/>
                  <a:gd name="T45" fmla="*/ 2147483647 h 1182"/>
                  <a:gd name="T46" fmla="*/ 2147483647 w 1440"/>
                  <a:gd name="T47" fmla="*/ 2147483647 h 1182"/>
                  <a:gd name="T48" fmla="*/ 2147483647 w 1440"/>
                  <a:gd name="T49" fmla="*/ 2147483647 h 1182"/>
                  <a:gd name="T50" fmla="*/ 2147483647 w 1440"/>
                  <a:gd name="T51" fmla="*/ 2147483647 h 1182"/>
                  <a:gd name="T52" fmla="*/ 2147483647 w 1440"/>
                  <a:gd name="T53" fmla="*/ 2147483647 h 1182"/>
                  <a:gd name="T54" fmla="*/ 2147483647 w 1440"/>
                  <a:gd name="T55" fmla="*/ 2147483647 h 1182"/>
                  <a:gd name="T56" fmla="*/ 2147483647 w 1440"/>
                  <a:gd name="T57" fmla="*/ 2147483647 h 1182"/>
                  <a:gd name="T58" fmla="*/ 2147483647 w 1440"/>
                  <a:gd name="T59" fmla="*/ 2147483647 h 1182"/>
                  <a:gd name="T60" fmla="*/ 2147483647 w 1440"/>
                  <a:gd name="T61" fmla="*/ 0 h 1182"/>
                  <a:gd name="T62" fmla="*/ 2147483647 w 1440"/>
                  <a:gd name="T63" fmla="*/ 2147483647 h 1182"/>
                  <a:gd name="T64" fmla="*/ 2147483647 w 1440"/>
                  <a:gd name="T65" fmla="*/ 2147483647 h 1182"/>
                  <a:gd name="T66" fmla="*/ 2147483647 w 1440"/>
                  <a:gd name="T67" fmla="*/ 2147483647 h 1182"/>
                  <a:gd name="T68" fmla="*/ 2147483647 w 1440"/>
                  <a:gd name="T69" fmla="*/ 2147483647 h 1182"/>
                  <a:gd name="T70" fmla="*/ 2147483647 w 1440"/>
                  <a:gd name="T71" fmla="*/ 2147483647 h 1182"/>
                  <a:gd name="T72" fmla="*/ 2147483647 w 1440"/>
                  <a:gd name="T73" fmla="*/ 2147483647 h 1182"/>
                  <a:gd name="T74" fmla="*/ 2147483647 w 1440"/>
                  <a:gd name="T75" fmla="*/ 2147483647 h 1182"/>
                  <a:gd name="T76" fmla="*/ 2147483647 w 1440"/>
                  <a:gd name="T77" fmla="*/ 2147483647 h 1182"/>
                  <a:gd name="T78" fmla="*/ 2147483647 w 1440"/>
                  <a:gd name="T79" fmla="*/ 2147483647 h 1182"/>
                  <a:gd name="T80" fmla="*/ 2147483647 w 1440"/>
                  <a:gd name="T81" fmla="*/ 2147483647 h 1182"/>
                  <a:gd name="T82" fmla="*/ 2147483647 w 1440"/>
                  <a:gd name="T83" fmla="*/ 2147483647 h 1182"/>
                  <a:gd name="T84" fmla="*/ 2147483647 w 1440"/>
                  <a:gd name="T85" fmla="*/ 2147483647 h 1182"/>
                  <a:gd name="T86" fmla="*/ 2147483647 w 1440"/>
                  <a:gd name="T87" fmla="*/ 2147483647 h 1182"/>
                  <a:gd name="T88" fmla="*/ 2147483647 w 1440"/>
                  <a:gd name="T89" fmla="*/ 2147483647 h 1182"/>
                  <a:gd name="T90" fmla="*/ 2147483647 w 1440"/>
                  <a:gd name="T91" fmla="*/ 2147483647 h 1182"/>
                  <a:gd name="T92" fmla="*/ 2147483647 w 1440"/>
                  <a:gd name="T93" fmla="*/ 2147483647 h 1182"/>
                  <a:gd name="T94" fmla="*/ 2147483647 w 1440"/>
                  <a:gd name="T95" fmla="*/ 2147483647 h 1182"/>
                  <a:gd name="T96" fmla="*/ 2147483647 w 1440"/>
                  <a:gd name="T97" fmla="*/ 2147483647 h 1182"/>
                  <a:gd name="T98" fmla="*/ 2147483647 w 1440"/>
                  <a:gd name="T99" fmla="*/ 2147483647 h 1182"/>
                  <a:gd name="T100" fmla="*/ 2147483647 w 1440"/>
                  <a:gd name="T101" fmla="*/ 2147483647 h 1182"/>
                  <a:gd name="T102" fmla="*/ 2147483647 w 1440"/>
                  <a:gd name="T103" fmla="*/ 2147483647 h 1182"/>
                  <a:gd name="T104" fmla="*/ 2147483647 w 1440"/>
                  <a:gd name="T105" fmla="*/ 2147483647 h 1182"/>
                  <a:gd name="T106" fmla="*/ 2147483647 w 1440"/>
                  <a:gd name="T107" fmla="*/ 2147483647 h 1182"/>
                  <a:gd name="T108" fmla="*/ 2147483647 w 1440"/>
                  <a:gd name="T109" fmla="*/ 2147483647 h 1182"/>
                  <a:gd name="T110" fmla="*/ 2147483647 w 1440"/>
                  <a:gd name="T111" fmla="*/ 2147483647 h 118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440"/>
                  <a:gd name="T169" fmla="*/ 0 h 1182"/>
                  <a:gd name="T170" fmla="*/ 1440 w 1440"/>
                  <a:gd name="T171" fmla="*/ 1182 h 118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440" h="1182">
                    <a:moveTo>
                      <a:pt x="1338" y="1176"/>
                    </a:moveTo>
                    <a:lnTo>
                      <a:pt x="1338" y="1170"/>
                    </a:lnTo>
                    <a:lnTo>
                      <a:pt x="1332" y="1158"/>
                    </a:lnTo>
                    <a:lnTo>
                      <a:pt x="1332" y="1128"/>
                    </a:lnTo>
                    <a:lnTo>
                      <a:pt x="1344" y="1116"/>
                    </a:lnTo>
                    <a:lnTo>
                      <a:pt x="1344" y="1110"/>
                    </a:lnTo>
                    <a:lnTo>
                      <a:pt x="1350" y="1104"/>
                    </a:lnTo>
                    <a:lnTo>
                      <a:pt x="1356" y="1086"/>
                    </a:lnTo>
                    <a:lnTo>
                      <a:pt x="1368" y="1086"/>
                    </a:lnTo>
                    <a:lnTo>
                      <a:pt x="1374" y="1080"/>
                    </a:lnTo>
                    <a:lnTo>
                      <a:pt x="1374" y="1074"/>
                    </a:lnTo>
                    <a:lnTo>
                      <a:pt x="1380" y="1074"/>
                    </a:lnTo>
                    <a:lnTo>
                      <a:pt x="1380" y="1068"/>
                    </a:lnTo>
                    <a:lnTo>
                      <a:pt x="1386" y="1062"/>
                    </a:lnTo>
                    <a:lnTo>
                      <a:pt x="1398" y="1056"/>
                    </a:lnTo>
                    <a:lnTo>
                      <a:pt x="1428" y="1056"/>
                    </a:lnTo>
                    <a:lnTo>
                      <a:pt x="1428" y="1062"/>
                    </a:lnTo>
                    <a:lnTo>
                      <a:pt x="1434" y="1062"/>
                    </a:lnTo>
                    <a:lnTo>
                      <a:pt x="1440" y="1056"/>
                    </a:lnTo>
                    <a:lnTo>
                      <a:pt x="1440" y="1044"/>
                    </a:lnTo>
                    <a:lnTo>
                      <a:pt x="1434" y="1026"/>
                    </a:lnTo>
                    <a:lnTo>
                      <a:pt x="1428" y="1014"/>
                    </a:lnTo>
                    <a:lnTo>
                      <a:pt x="1422" y="1008"/>
                    </a:lnTo>
                    <a:lnTo>
                      <a:pt x="1404" y="1008"/>
                    </a:lnTo>
                    <a:lnTo>
                      <a:pt x="1404" y="996"/>
                    </a:lnTo>
                    <a:lnTo>
                      <a:pt x="1398" y="984"/>
                    </a:lnTo>
                    <a:lnTo>
                      <a:pt x="1398" y="960"/>
                    </a:lnTo>
                    <a:lnTo>
                      <a:pt x="1392" y="960"/>
                    </a:lnTo>
                    <a:lnTo>
                      <a:pt x="1398" y="930"/>
                    </a:lnTo>
                    <a:lnTo>
                      <a:pt x="1374" y="930"/>
                    </a:lnTo>
                    <a:lnTo>
                      <a:pt x="1362" y="912"/>
                    </a:lnTo>
                    <a:lnTo>
                      <a:pt x="1350" y="918"/>
                    </a:lnTo>
                    <a:lnTo>
                      <a:pt x="1332" y="918"/>
                    </a:lnTo>
                    <a:lnTo>
                      <a:pt x="1326" y="912"/>
                    </a:lnTo>
                    <a:lnTo>
                      <a:pt x="1314" y="894"/>
                    </a:lnTo>
                    <a:lnTo>
                      <a:pt x="1308" y="876"/>
                    </a:lnTo>
                    <a:lnTo>
                      <a:pt x="1296" y="864"/>
                    </a:lnTo>
                    <a:lnTo>
                      <a:pt x="1284" y="846"/>
                    </a:lnTo>
                    <a:lnTo>
                      <a:pt x="1278" y="840"/>
                    </a:lnTo>
                    <a:lnTo>
                      <a:pt x="1272" y="828"/>
                    </a:lnTo>
                    <a:lnTo>
                      <a:pt x="1248" y="804"/>
                    </a:lnTo>
                    <a:lnTo>
                      <a:pt x="1242" y="804"/>
                    </a:lnTo>
                    <a:lnTo>
                      <a:pt x="1242" y="792"/>
                    </a:lnTo>
                    <a:lnTo>
                      <a:pt x="1260" y="774"/>
                    </a:lnTo>
                    <a:lnTo>
                      <a:pt x="1266" y="762"/>
                    </a:lnTo>
                    <a:lnTo>
                      <a:pt x="1272" y="756"/>
                    </a:lnTo>
                    <a:lnTo>
                      <a:pt x="1296" y="708"/>
                    </a:lnTo>
                    <a:lnTo>
                      <a:pt x="1284" y="684"/>
                    </a:lnTo>
                    <a:lnTo>
                      <a:pt x="1278" y="678"/>
                    </a:lnTo>
                    <a:lnTo>
                      <a:pt x="1242" y="678"/>
                    </a:lnTo>
                    <a:lnTo>
                      <a:pt x="1230" y="672"/>
                    </a:lnTo>
                    <a:lnTo>
                      <a:pt x="1224" y="672"/>
                    </a:lnTo>
                    <a:lnTo>
                      <a:pt x="1218" y="666"/>
                    </a:lnTo>
                    <a:lnTo>
                      <a:pt x="1218" y="612"/>
                    </a:lnTo>
                    <a:lnTo>
                      <a:pt x="1212" y="606"/>
                    </a:lnTo>
                    <a:lnTo>
                      <a:pt x="1200" y="582"/>
                    </a:lnTo>
                    <a:lnTo>
                      <a:pt x="1188" y="564"/>
                    </a:lnTo>
                    <a:lnTo>
                      <a:pt x="1176" y="540"/>
                    </a:lnTo>
                    <a:lnTo>
                      <a:pt x="1182" y="528"/>
                    </a:lnTo>
                    <a:lnTo>
                      <a:pt x="1200" y="510"/>
                    </a:lnTo>
                    <a:lnTo>
                      <a:pt x="1200" y="504"/>
                    </a:lnTo>
                    <a:lnTo>
                      <a:pt x="1194" y="498"/>
                    </a:lnTo>
                    <a:lnTo>
                      <a:pt x="1170" y="498"/>
                    </a:lnTo>
                    <a:lnTo>
                      <a:pt x="1170" y="468"/>
                    </a:lnTo>
                    <a:lnTo>
                      <a:pt x="1158" y="456"/>
                    </a:lnTo>
                    <a:lnTo>
                      <a:pt x="1158" y="450"/>
                    </a:lnTo>
                    <a:lnTo>
                      <a:pt x="1164" y="444"/>
                    </a:lnTo>
                    <a:lnTo>
                      <a:pt x="1176" y="438"/>
                    </a:lnTo>
                    <a:lnTo>
                      <a:pt x="1182" y="432"/>
                    </a:lnTo>
                    <a:lnTo>
                      <a:pt x="1188" y="432"/>
                    </a:lnTo>
                    <a:lnTo>
                      <a:pt x="1176" y="414"/>
                    </a:lnTo>
                    <a:lnTo>
                      <a:pt x="1200" y="408"/>
                    </a:lnTo>
                    <a:lnTo>
                      <a:pt x="1200" y="402"/>
                    </a:lnTo>
                    <a:lnTo>
                      <a:pt x="1194" y="396"/>
                    </a:lnTo>
                    <a:lnTo>
                      <a:pt x="1194" y="372"/>
                    </a:lnTo>
                    <a:lnTo>
                      <a:pt x="1188" y="360"/>
                    </a:lnTo>
                    <a:lnTo>
                      <a:pt x="1188" y="354"/>
                    </a:lnTo>
                    <a:lnTo>
                      <a:pt x="1194" y="342"/>
                    </a:lnTo>
                    <a:lnTo>
                      <a:pt x="1200" y="336"/>
                    </a:lnTo>
                    <a:lnTo>
                      <a:pt x="1188" y="306"/>
                    </a:lnTo>
                    <a:lnTo>
                      <a:pt x="1194" y="282"/>
                    </a:lnTo>
                    <a:lnTo>
                      <a:pt x="1182" y="282"/>
                    </a:lnTo>
                    <a:lnTo>
                      <a:pt x="1182" y="246"/>
                    </a:lnTo>
                    <a:lnTo>
                      <a:pt x="1116" y="252"/>
                    </a:lnTo>
                    <a:lnTo>
                      <a:pt x="1110" y="246"/>
                    </a:lnTo>
                    <a:lnTo>
                      <a:pt x="1104" y="234"/>
                    </a:lnTo>
                    <a:lnTo>
                      <a:pt x="1092" y="228"/>
                    </a:lnTo>
                    <a:lnTo>
                      <a:pt x="1080" y="216"/>
                    </a:lnTo>
                    <a:lnTo>
                      <a:pt x="1068" y="216"/>
                    </a:lnTo>
                    <a:lnTo>
                      <a:pt x="1062" y="210"/>
                    </a:lnTo>
                    <a:lnTo>
                      <a:pt x="1056" y="210"/>
                    </a:lnTo>
                    <a:lnTo>
                      <a:pt x="1050" y="204"/>
                    </a:lnTo>
                    <a:lnTo>
                      <a:pt x="1044" y="192"/>
                    </a:lnTo>
                    <a:lnTo>
                      <a:pt x="1044" y="186"/>
                    </a:lnTo>
                    <a:lnTo>
                      <a:pt x="1038" y="180"/>
                    </a:lnTo>
                    <a:lnTo>
                      <a:pt x="1032" y="180"/>
                    </a:lnTo>
                    <a:lnTo>
                      <a:pt x="1020" y="174"/>
                    </a:lnTo>
                    <a:lnTo>
                      <a:pt x="1002" y="174"/>
                    </a:lnTo>
                    <a:lnTo>
                      <a:pt x="990" y="168"/>
                    </a:lnTo>
                    <a:lnTo>
                      <a:pt x="972" y="168"/>
                    </a:lnTo>
                    <a:lnTo>
                      <a:pt x="972" y="174"/>
                    </a:lnTo>
                    <a:lnTo>
                      <a:pt x="960" y="168"/>
                    </a:lnTo>
                    <a:lnTo>
                      <a:pt x="954" y="162"/>
                    </a:lnTo>
                    <a:lnTo>
                      <a:pt x="942" y="156"/>
                    </a:lnTo>
                    <a:lnTo>
                      <a:pt x="936" y="150"/>
                    </a:lnTo>
                    <a:lnTo>
                      <a:pt x="906" y="150"/>
                    </a:lnTo>
                    <a:lnTo>
                      <a:pt x="906" y="138"/>
                    </a:lnTo>
                    <a:lnTo>
                      <a:pt x="894" y="126"/>
                    </a:lnTo>
                    <a:lnTo>
                      <a:pt x="834" y="126"/>
                    </a:lnTo>
                    <a:lnTo>
                      <a:pt x="834" y="132"/>
                    </a:lnTo>
                    <a:lnTo>
                      <a:pt x="828" y="138"/>
                    </a:lnTo>
                    <a:lnTo>
                      <a:pt x="816" y="132"/>
                    </a:lnTo>
                    <a:lnTo>
                      <a:pt x="780" y="132"/>
                    </a:lnTo>
                    <a:lnTo>
                      <a:pt x="768" y="138"/>
                    </a:lnTo>
                    <a:lnTo>
                      <a:pt x="750" y="156"/>
                    </a:lnTo>
                    <a:lnTo>
                      <a:pt x="738" y="162"/>
                    </a:lnTo>
                    <a:lnTo>
                      <a:pt x="732" y="168"/>
                    </a:lnTo>
                    <a:lnTo>
                      <a:pt x="732" y="180"/>
                    </a:lnTo>
                    <a:lnTo>
                      <a:pt x="720" y="186"/>
                    </a:lnTo>
                    <a:lnTo>
                      <a:pt x="708" y="198"/>
                    </a:lnTo>
                    <a:lnTo>
                      <a:pt x="678" y="198"/>
                    </a:lnTo>
                    <a:lnTo>
                      <a:pt x="690" y="210"/>
                    </a:lnTo>
                    <a:lnTo>
                      <a:pt x="690" y="222"/>
                    </a:lnTo>
                    <a:lnTo>
                      <a:pt x="696" y="228"/>
                    </a:lnTo>
                    <a:lnTo>
                      <a:pt x="696" y="234"/>
                    </a:lnTo>
                    <a:lnTo>
                      <a:pt x="690" y="240"/>
                    </a:lnTo>
                    <a:lnTo>
                      <a:pt x="678" y="240"/>
                    </a:lnTo>
                    <a:lnTo>
                      <a:pt x="666" y="234"/>
                    </a:lnTo>
                    <a:lnTo>
                      <a:pt x="660" y="228"/>
                    </a:lnTo>
                    <a:lnTo>
                      <a:pt x="654" y="228"/>
                    </a:lnTo>
                    <a:lnTo>
                      <a:pt x="648" y="234"/>
                    </a:lnTo>
                    <a:lnTo>
                      <a:pt x="624" y="234"/>
                    </a:lnTo>
                    <a:lnTo>
                      <a:pt x="612" y="240"/>
                    </a:lnTo>
                    <a:lnTo>
                      <a:pt x="600" y="240"/>
                    </a:lnTo>
                    <a:lnTo>
                      <a:pt x="582" y="246"/>
                    </a:lnTo>
                    <a:lnTo>
                      <a:pt x="558" y="258"/>
                    </a:lnTo>
                    <a:lnTo>
                      <a:pt x="546" y="252"/>
                    </a:lnTo>
                    <a:lnTo>
                      <a:pt x="534" y="252"/>
                    </a:lnTo>
                    <a:lnTo>
                      <a:pt x="522" y="246"/>
                    </a:lnTo>
                    <a:lnTo>
                      <a:pt x="498" y="246"/>
                    </a:lnTo>
                    <a:lnTo>
                      <a:pt x="480" y="240"/>
                    </a:lnTo>
                    <a:lnTo>
                      <a:pt x="468" y="228"/>
                    </a:lnTo>
                    <a:lnTo>
                      <a:pt x="456" y="222"/>
                    </a:lnTo>
                    <a:lnTo>
                      <a:pt x="444" y="210"/>
                    </a:lnTo>
                    <a:lnTo>
                      <a:pt x="438" y="198"/>
                    </a:lnTo>
                    <a:lnTo>
                      <a:pt x="432" y="192"/>
                    </a:lnTo>
                    <a:lnTo>
                      <a:pt x="432" y="186"/>
                    </a:lnTo>
                    <a:lnTo>
                      <a:pt x="378" y="186"/>
                    </a:lnTo>
                    <a:lnTo>
                      <a:pt x="354" y="162"/>
                    </a:lnTo>
                    <a:lnTo>
                      <a:pt x="336" y="126"/>
                    </a:lnTo>
                    <a:lnTo>
                      <a:pt x="330" y="120"/>
                    </a:lnTo>
                    <a:lnTo>
                      <a:pt x="330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06" y="102"/>
                    </a:lnTo>
                    <a:lnTo>
                      <a:pt x="300" y="102"/>
                    </a:lnTo>
                    <a:lnTo>
                      <a:pt x="294" y="96"/>
                    </a:lnTo>
                    <a:lnTo>
                      <a:pt x="282" y="90"/>
                    </a:lnTo>
                    <a:lnTo>
                      <a:pt x="270" y="78"/>
                    </a:lnTo>
                    <a:lnTo>
                      <a:pt x="270" y="72"/>
                    </a:lnTo>
                    <a:lnTo>
                      <a:pt x="282" y="72"/>
                    </a:lnTo>
                    <a:lnTo>
                      <a:pt x="288" y="66"/>
                    </a:lnTo>
                    <a:lnTo>
                      <a:pt x="288" y="60"/>
                    </a:lnTo>
                    <a:lnTo>
                      <a:pt x="282" y="54"/>
                    </a:lnTo>
                    <a:lnTo>
                      <a:pt x="276" y="54"/>
                    </a:lnTo>
                    <a:lnTo>
                      <a:pt x="276" y="42"/>
                    </a:lnTo>
                    <a:lnTo>
                      <a:pt x="282" y="36"/>
                    </a:lnTo>
                    <a:lnTo>
                      <a:pt x="282" y="18"/>
                    </a:lnTo>
                    <a:lnTo>
                      <a:pt x="276" y="12"/>
                    </a:lnTo>
                    <a:lnTo>
                      <a:pt x="270" y="0"/>
                    </a:lnTo>
                    <a:lnTo>
                      <a:pt x="258" y="0"/>
                    </a:lnTo>
                    <a:lnTo>
                      <a:pt x="246" y="6"/>
                    </a:lnTo>
                    <a:lnTo>
                      <a:pt x="234" y="18"/>
                    </a:lnTo>
                    <a:lnTo>
                      <a:pt x="222" y="24"/>
                    </a:lnTo>
                    <a:lnTo>
                      <a:pt x="204" y="36"/>
                    </a:lnTo>
                    <a:lnTo>
                      <a:pt x="192" y="48"/>
                    </a:lnTo>
                    <a:lnTo>
                      <a:pt x="192" y="54"/>
                    </a:lnTo>
                    <a:lnTo>
                      <a:pt x="186" y="60"/>
                    </a:lnTo>
                    <a:lnTo>
                      <a:pt x="180" y="72"/>
                    </a:lnTo>
                    <a:lnTo>
                      <a:pt x="132" y="72"/>
                    </a:lnTo>
                    <a:lnTo>
                      <a:pt x="96" y="60"/>
                    </a:lnTo>
                    <a:lnTo>
                      <a:pt x="84" y="54"/>
                    </a:lnTo>
                    <a:lnTo>
                      <a:pt x="66" y="36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48" y="0"/>
                    </a:lnTo>
                    <a:lnTo>
                      <a:pt x="42" y="0"/>
                    </a:lnTo>
                    <a:lnTo>
                      <a:pt x="24" y="18"/>
                    </a:lnTo>
                    <a:lnTo>
                      <a:pt x="24" y="30"/>
                    </a:lnTo>
                    <a:lnTo>
                      <a:pt x="0" y="30"/>
                    </a:lnTo>
                    <a:lnTo>
                      <a:pt x="18" y="54"/>
                    </a:lnTo>
                    <a:lnTo>
                      <a:pt x="18" y="84"/>
                    </a:lnTo>
                    <a:lnTo>
                      <a:pt x="30" y="96"/>
                    </a:lnTo>
                    <a:lnTo>
                      <a:pt x="30" y="108"/>
                    </a:lnTo>
                    <a:lnTo>
                      <a:pt x="36" y="114"/>
                    </a:lnTo>
                    <a:lnTo>
                      <a:pt x="42" y="114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30" y="138"/>
                    </a:lnTo>
                    <a:lnTo>
                      <a:pt x="24" y="144"/>
                    </a:lnTo>
                    <a:lnTo>
                      <a:pt x="60" y="162"/>
                    </a:lnTo>
                    <a:lnTo>
                      <a:pt x="60" y="192"/>
                    </a:lnTo>
                    <a:lnTo>
                      <a:pt x="84" y="198"/>
                    </a:lnTo>
                    <a:lnTo>
                      <a:pt x="84" y="210"/>
                    </a:lnTo>
                    <a:lnTo>
                      <a:pt x="96" y="246"/>
                    </a:lnTo>
                    <a:lnTo>
                      <a:pt x="108" y="270"/>
                    </a:lnTo>
                    <a:lnTo>
                      <a:pt x="120" y="282"/>
                    </a:lnTo>
                    <a:lnTo>
                      <a:pt x="120" y="300"/>
                    </a:lnTo>
                    <a:lnTo>
                      <a:pt x="144" y="306"/>
                    </a:lnTo>
                    <a:lnTo>
                      <a:pt x="156" y="324"/>
                    </a:lnTo>
                    <a:lnTo>
                      <a:pt x="162" y="318"/>
                    </a:lnTo>
                    <a:lnTo>
                      <a:pt x="174" y="312"/>
                    </a:lnTo>
                    <a:lnTo>
                      <a:pt x="186" y="312"/>
                    </a:lnTo>
                    <a:lnTo>
                      <a:pt x="186" y="318"/>
                    </a:lnTo>
                    <a:lnTo>
                      <a:pt x="168" y="336"/>
                    </a:lnTo>
                    <a:lnTo>
                      <a:pt x="168" y="342"/>
                    </a:lnTo>
                    <a:lnTo>
                      <a:pt x="180" y="354"/>
                    </a:lnTo>
                    <a:lnTo>
                      <a:pt x="186" y="366"/>
                    </a:lnTo>
                    <a:lnTo>
                      <a:pt x="186" y="372"/>
                    </a:lnTo>
                    <a:lnTo>
                      <a:pt x="174" y="384"/>
                    </a:lnTo>
                    <a:lnTo>
                      <a:pt x="168" y="384"/>
                    </a:lnTo>
                    <a:lnTo>
                      <a:pt x="168" y="414"/>
                    </a:lnTo>
                    <a:lnTo>
                      <a:pt x="156" y="414"/>
                    </a:lnTo>
                    <a:lnTo>
                      <a:pt x="144" y="426"/>
                    </a:lnTo>
                    <a:lnTo>
                      <a:pt x="144" y="432"/>
                    </a:lnTo>
                    <a:lnTo>
                      <a:pt x="156" y="444"/>
                    </a:lnTo>
                    <a:lnTo>
                      <a:pt x="150" y="450"/>
                    </a:lnTo>
                    <a:lnTo>
                      <a:pt x="144" y="462"/>
                    </a:lnTo>
                    <a:lnTo>
                      <a:pt x="144" y="468"/>
                    </a:lnTo>
                    <a:lnTo>
                      <a:pt x="150" y="474"/>
                    </a:lnTo>
                    <a:lnTo>
                      <a:pt x="162" y="480"/>
                    </a:lnTo>
                    <a:lnTo>
                      <a:pt x="174" y="492"/>
                    </a:lnTo>
                    <a:lnTo>
                      <a:pt x="198" y="504"/>
                    </a:lnTo>
                    <a:lnTo>
                      <a:pt x="204" y="510"/>
                    </a:lnTo>
                    <a:lnTo>
                      <a:pt x="210" y="510"/>
                    </a:lnTo>
                    <a:lnTo>
                      <a:pt x="210" y="552"/>
                    </a:lnTo>
                    <a:lnTo>
                      <a:pt x="234" y="552"/>
                    </a:lnTo>
                    <a:lnTo>
                      <a:pt x="240" y="558"/>
                    </a:lnTo>
                    <a:lnTo>
                      <a:pt x="252" y="564"/>
                    </a:lnTo>
                    <a:lnTo>
                      <a:pt x="270" y="582"/>
                    </a:lnTo>
                    <a:lnTo>
                      <a:pt x="288" y="582"/>
                    </a:lnTo>
                    <a:lnTo>
                      <a:pt x="294" y="588"/>
                    </a:lnTo>
                    <a:lnTo>
                      <a:pt x="300" y="600"/>
                    </a:lnTo>
                    <a:lnTo>
                      <a:pt x="330" y="636"/>
                    </a:lnTo>
                    <a:lnTo>
                      <a:pt x="330" y="648"/>
                    </a:lnTo>
                    <a:lnTo>
                      <a:pt x="324" y="660"/>
                    </a:lnTo>
                    <a:lnTo>
                      <a:pt x="324" y="696"/>
                    </a:lnTo>
                    <a:lnTo>
                      <a:pt x="330" y="702"/>
                    </a:lnTo>
                    <a:lnTo>
                      <a:pt x="342" y="708"/>
                    </a:lnTo>
                    <a:lnTo>
                      <a:pt x="348" y="714"/>
                    </a:lnTo>
                    <a:lnTo>
                      <a:pt x="354" y="714"/>
                    </a:lnTo>
                    <a:lnTo>
                      <a:pt x="360" y="744"/>
                    </a:lnTo>
                    <a:lnTo>
                      <a:pt x="372" y="750"/>
                    </a:lnTo>
                    <a:lnTo>
                      <a:pt x="384" y="762"/>
                    </a:lnTo>
                    <a:lnTo>
                      <a:pt x="384" y="768"/>
                    </a:lnTo>
                    <a:lnTo>
                      <a:pt x="390" y="774"/>
                    </a:lnTo>
                    <a:lnTo>
                      <a:pt x="402" y="780"/>
                    </a:lnTo>
                    <a:lnTo>
                      <a:pt x="408" y="786"/>
                    </a:lnTo>
                    <a:lnTo>
                      <a:pt x="420" y="792"/>
                    </a:lnTo>
                    <a:lnTo>
                      <a:pt x="426" y="786"/>
                    </a:lnTo>
                    <a:lnTo>
                      <a:pt x="426" y="774"/>
                    </a:lnTo>
                    <a:lnTo>
                      <a:pt x="420" y="768"/>
                    </a:lnTo>
                    <a:lnTo>
                      <a:pt x="420" y="762"/>
                    </a:lnTo>
                    <a:lnTo>
                      <a:pt x="426" y="756"/>
                    </a:lnTo>
                    <a:lnTo>
                      <a:pt x="438" y="750"/>
                    </a:lnTo>
                    <a:lnTo>
                      <a:pt x="444" y="756"/>
                    </a:lnTo>
                    <a:lnTo>
                      <a:pt x="450" y="756"/>
                    </a:lnTo>
                    <a:lnTo>
                      <a:pt x="450" y="768"/>
                    </a:lnTo>
                    <a:lnTo>
                      <a:pt x="456" y="780"/>
                    </a:lnTo>
                    <a:lnTo>
                      <a:pt x="474" y="780"/>
                    </a:lnTo>
                    <a:lnTo>
                      <a:pt x="474" y="786"/>
                    </a:lnTo>
                    <a:lnTo>
                      <a:pt x="474" y="780"/>
                    </a:lnTo>
                    <a:lnTo>
                      <a:pt x="480" y="780"/>
                    </a:lnTo>
                    <a:lnTo>
                      <a:pt x="480" y="768"/>
                    </a:lnTo>
                    <a:lnTo>
                      <a:pt x="504" y="768"/>
                    </a:lnTo>
                    <a:lnTo>
                      <a:pt x="504" y="804"/>
                    </a:lnTo>
                    <a:lnTo>
                      <a:pt x="510" y="810"/>
                    </a:lnTo>
                    <a:lnTo>
                      <a:pt x="516" y="810"/>
                    </a:lnTo>
                    <a:lnTo>
                      <a:pt x="528" y="816"/>
                    </a:lnTo>
                    <a:lnTo>
                      <a:pt x="540" y="828"/>
                    </a:lnTo>
                    <a:lnTo>
                      <a:pt x="540" y="846"/>
                    </a:lnTo>
                    <a:lnTo>
                      <a:pt x="552" y="858"/>
                    </a:lnTo>
                    <a:lnTo>
                      <a:pt x="558" y="870"/>
                    </a:lnTo>
                    <a:lnTo>
                      <a:pt x="564" y="876"/>
                    </a:lnTo>
                    <a:lnTo>
                      <a:pt x="570" y="876"/>
                    </a:lnTo>
                    <a:lnTo>
                      <a:pt x="582" y="894"/>
                    </a:lnTo>
                    <a:lnTo>
                      <a:pt x="582" y="906"/>
                    </a:lnTo>
                    <a:lnTo>
                      <a:pt x="594" y="930"/>
                    </a:lnTo>
                    <a:lnTo>
                      <a:pt x="600" y="936"/>
                    </a:lnTo>
                    <a:lnTo>
                      <a:pt x="606" y="936"/>
                    </a:lnTo>
                    <a:lnTo>
                      <a:pt x="612" y="942"/>
                    </a:lnTo>
                    <a:lnTo>
                      <a:pt x="618" y="954"/>
                    </a:lnTo>
                    <a:lnTo>
                      <a:pt x="618" y="960"/>
                    </a:lnTo>
                    <a:lnTo>
                      <a:pt x="648" y="960"/>
                    </a:lnTo>
                    <a:lnTo>
                      <a:pt x="666" y="984"/>
                    </a:lnTo>
                    <a:lnTo>
                      <a:pt x="684" y="978"/>
                    </a:lnTo>
                    <a:lnTo>
                      <a:pt x="702" y="978"/>
                    </a:lnTo>
                    <a:lnTo>
                      <a:pt x="720" y="996"/>
                    </a:lnTo>
                    <a:lnTo>
                      <a:pt x="738" y="1008"/>
                    </a:lnTo>
                    <a:lnTo>
                      <a:pt x="756" y="1026"/>
                    </a:lnTo>
                    <a:lnTo>
                      <a:pt x="792" y="1050"/>
                    </a:lnTo>
                    <a:lnTo>
                      <a:pt x="810" y="1050"/>
                    </a:lnTo>
                    <a:lnTo>
                      <a:pt x="822" y="1056"/>
                    </a:lnTo>
                    <a:lnTo>
                      <a:pt x="834" y="1068"/>
                    </a:lnTo>
                    <a:lnTo>
                      <a:pt x="852" y="1068"/>
                    </a:lnTo>
                    <a:lnTo>
                      <a:pt x="876" y="1056"/>
                    </a:lnTo>
                    <a:lnTo>
                      <a:pt x="876" y="1050"/>
                    </a:lnTo>
                    <a:lnTo>
                      <a:pt x="900" y="1056"/>
                    </a:lnTo>
                    <a:lnTo>
                      <a:pt x="912" y="1032"/>
                    </a:lnTo>
                    <a:lnTo>
                      <a:pt x="930" y="1032"/>
                    </a:lnTo>
                    <a:lnTo>
                      <a:pt x="954" y="1008"/>
                    </a:lnTo>
                    <a:lnTo>
                      <a:pt x="966" y="1020"/>
                    </a:lnTo>
                    <a:lnTo>
                      <a:pt x="972" y="1014"/>
                    </a:lnTo>
                    <a:lnTo>
                      <a:pt x="984" y="1014"/>
                    </a:lnTo>
                    <a:lnTo>
                      <a:pt x="1002" y="1032"/>
                    </a:lnTo>
                    <a:lnTo>
                      <a:pt x="1014" y="1050"/>
                    </a:lnTo>
                    <a:lnTo>
                      <a:pt x="1020" y="1068"/>
                    </a:lnTo>
                    <a:lnTo>
                      <a:pt x="1032" y="1080"/>
                    </a:lnTo>
                    <a:lnTo>
                      <a:pt x="1032" y="1098"/>
                    </a:lnTo>
                    <a:lnTo>
                      <a:pt x="1038" y="1110"/>
                    </a:lnTo>
                    <a:lnTo>
                      <a:pt x="1044" y="1116"/>
                    </a:lnTo>
                    <a:lnTo>
                      <a:pt x="1056" y="1122"/>
                    </a:lnTo>
                    <a:lnTo>
                      <a:pt x="1080" y="1122"/>
                    </a:lnTo>
                    <a:lnTo>
                      <a:pt x="1080" y="1128"/>
                    </a:lnTo>
                    <a:lnTo>
                      <a:pt x="1086" y="1134"/>
                    </a:lnTo>
                    <a:lnTo>
                      <a:pt x="1098" y="1140"/>
                    </a:lnTo>
                    <a:lnTo>
                      <a:pt x="1164" y="1140"/>
                    </a:lnTo>
                    <a:lnTo>
                      <a:pt x="1176" y="1146"/>
                    </a:lnTo>
                    <a:lnTo>
                      <a:pt x="1200" y="1170"/>
                    </a:lnTo>
                    <a:lnTo>
                      <a:pt x="1212" y="1170"/>
                    </a:lnTo>
                    <a:lnTo>
                      <a:pt x="1224" y="1164"/>
                    </a:lnTo>
                    <a:lnTo>
                      <a:pt x="1230" y="1164"/>
                    </a:lnTo>
                    <a:lnTo>
                      <a:pt x="1242" y="1158"/>
                    </a:lnTo>
                    <a:lnTo>
                      <a:pt x="1248" y="1158"/>
                    </a:lnTo>
                    <a:lnTo>
                      <a:pt x="1254" y="1164"/>
                    </a:lnTo>
                    <a:lnTo>
                      <a:pt x="1278" y="1176"/>
                    </a:lnTo>
                    <a:lnTo>
                      <a:pt x="1296" y="1182"/>
                    </a:lnTo>
                    <a:lnTo>
                      <a:pt x="1326" y="1182"/>
                    </a:lnTo>
                    <a:lnTo>
                      <a:pt x="1338" y="117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91" name="Hungar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AD80A8E-1324-4DB5-8D22-0A6545B7B9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36907" y="2769254"/>
                <a:ext cx="188695" cy="99198"/>
              </a:xfrm>
              <a:custGeom>
                <a:avLst/>
                <a:gdLst>
                  <a:gd name="T0" fmla="*/ 2147483647 w 426"/>
                  <a:gd name="T1" fmla="*/ 2147483647 h 222"/>
                  <a:gd name="T2" fmla="*/ 2147483647 w 426"/>
                  <a:gd name="T3" fmla="*/ 2147483647 h 222"/>
                  <a:gd name="T4" fmla="*/ 2147483647 w 426"/>
                  <a:gd name="T5" fmla="*/ 2147483647 h 222"/>
                  <a:gd name="T6" fmla="*/ 0 w 426"/>
                  <a:gd name="T7" fmla="*/ 2147483647 h 222"/>
                  <a:gd name="T8" fmla="*/ 2147483647 w 426"/>
                  <a:gd name="T9" fmla="*/ 2147483647 h 222"/>
                  <a:gd name="T10" fmla="*/ 2147483647 w 426"/>
                  <a:gd name="T11" fmla="*/ 2147483647 h 222"/>
                  <a:gd name="T12" fmla="*/ 2147483647 w 426"/>
                  <a:gd name="T13" fmla="*/ 2147483647 h 222"/>
                  <a:gd name="T14" fmla="*/ 2147483647 w 426"/>
                  <a:gd name="T15" fmla="*/ 2147483647 h 222"/>
                  <a:gd name="T16" fmla="*/ 2147483647 w 426"/>
                  <a:gd name="T17" fmla="*/ 2147483647 h 222"/>
                  <a:gd name="T18" fmla="*/ 2147483647 w 426"/>
                  <a:gd name="T19" fmla="*/ 2147483647 h 222"/>
                  <a:gd name="T20" fmla="*/ 2147483647 w 426"/>
                  <a:gd name="T21" fmla="*/ 2147483647 h 222"/>
                  <a:gd name="T22" fmla="*/ 2147483647 w 426"/>
                  <a:gd name="T23" fmla="*/ 2147483647 h 222"/>
                  <a:gd name="T24" fmla="*/ 2147483647 w 426"/>
                  <a:gd name="T25" fmla="*/ 2147483647 h 222"/>
                  <a:gd name="T26" fmla="*/ 2147483647 w 426"/>
                  <a:gd name="T27" fmla="*/ 2147483647 h 222"/>
                  <a:gd name="T28" fmla="*/ 2147483647 w 426"/>
                  <a:gd name="T29" fmla="*/ 2147483647 h 222"/>
                  <a:gd name="T30" fmla="*/ 2147483647 w 426"/>
                  <a:gd name="T31" fmla="*/ 2147483647 h 222"/>
                  <a:gd name="T32" fmla="*/ 2147483647 w 426"/>
                  <a:gd name="T33" fmla="*/ 2147483647 h 222"/>
                  <a:gd name="T34" fmla="*/ 2147483647 w 426"/>
                  <a:gd name="T35" fmla="*/ 2147483647 h 222"/>
                  <a:gd name="T36" fmla="*/ 2147483647 w 426"/>
                  <a:gd name="T37" fmla="*/ 2147483647 h 222"/>
                  <a:gd name="T38" fmla="*/ 2147483647 w 426"/>
                  <a:gd name="T39" fmla="*/ 2147483647 h 222"/>
                  <a:gd name="T40" fmla="*/ 2147483647 w 426"/>
                  <a:gd name="T41" fmla="*/ 2147483647 h 222"/>
                  <a:gd name="T42" fmla="*/ 2147483647 w 426"/>
                  <a:gd name="T43" fmla="*/ 2147483647 h 222"/>
                  <a:gd name="T44" fmla="*/ 2147483647 w 426"/>
                  <a:gd name="T45" fmla="*/ 2147483647 h 222"/>
                  <a:gd name="T46" fmla="*/ 2147483647 w 426"/>
                  <a:gd name="T47" fmla="*/ 2147483647 h 222"/>
                  <a:gd name="T48" fmla="*/ 2147483647 w 426"/>
                  <a:gd name="T49" fmla="*/ 0 h 222"/>
                  <a:gd name="T50" fmla="*/ 2147483647 w 426"/>
                  <a:gd name="T51" fmla="*/ 2147483647 h 222"/>
                  <a:gd name="T52" fmla="*/ 2147483647 w 426"/>
                  <a:gd name="T53" fmla="*/ 0 h 222"/>
                  <a:gd name="T54" fmla="*/ 2147483647 w 426"/>
                  <a:gd name="T55" fmla="*/ 2147483647 h 222"/>
                  <a:gd name="T56" fmla="*/ 2147483647 w 426"/>
                  <a:gd name="T57" fmla="*/ 2147483647 h 222"/>
                  <a:gd name="T58" fmla="*/ 2147483647 w 426"/>
                  <a:gd name="T59" fmla="*/ 2147483647 h 222"/>
                  <a:gd name="T60" fmla="*/ 2147483647 w 426"/>
                  <a:gd name="T61" fmla="*/ 2147483647 h 222"/>
                  <a:gd name="T62" fmla="*/ 2147483647 w 426"/>
                  <a:gd name="T63" fmla="*/ 2147483647 h 222"/>
                  <a:gd name="T64" fmla="*/ 2147483647 w 426"/>
                  <a:gd name="T65" fmla="*/ 2147483647 h 222"/>
                  <a:gd name="T66" fmla="*/ 2147483647 w 426"/>
                  <a:gd name="T67" fmla="*/ 2147483647 h 222"/>
                  <a:gd name="T68" fmla="*/ 2147483647 w 426"/>
                  <a:gd name="T69" fmla="*/ 2147483647 h 222"/>
                  <a:gd name="T70" fmla="*/ 2147483647 w 426"/>
                  <a:gd name="T71" fmla="*/ 2147483647 h 22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26"/>
                  <a:gd name="T109" fmla="*/ 0 h 222"/>
                  <a:gd name="T110" fmla="*/ 426 w 426"/>
                  <a:gd name="T111" fmla="*/ 222 h 222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26" h="222">
                    <a:moveTo>
                      <a:pt x="42" y="66"/>
                    </a:moveTo>
                    <a:lnTo>
                      <a:pt x="24" y="66"/>
                    </a:lnTo>
                    <a:lnTo>
                      <a:pt x="18" y="78"/>
                    </a:lnTo>
                    <a:lnTo>
                      <a:pt x="30" y="78"/>
                    </a:lnTo>
                    <a:lnTo>
                      <a:pt x="18" y="96"/>
                    </a:lnTo>
                    <a:lnTo>
                      <a:pt x="18" y="120"/>
                    </a:lnTo>
                    <a:lnTo>
                      <a:pt x="0" y="120"/>
                    </a:lnTo>
                    <a:lnTo>
                      <a:pt x="0" y="126"/>
                    </a:lnTo>
                    <a:lnTo>
                      <a:pt x="6" y="132"/>
                    </a:lnTo>
                    <a:lnTo>
                      <a:pt x="12" y="150"/>
                    </a:lnTo>
                    <a:lnTo>
                      <a:pt x="30" y="162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48" y="180"/>
                    </a:lnTo>
                    <a:lnTo>
                      <a:pt x="60" y="192"/>
                    </a:lnTo>
                    <a:lnTo>
                      <a:pt x="72" y="198"/>
                    </a:lnTo>
                    <a:lnTo>
                      <a:pt x="78" y="204"/>
                    </a:lnTo>
                    <a:lnTo>
                      <a:pt x="90" y="210"/>
                    </a:lnTo>
                    <a:lnTo>
                      <a:pt x="108" y="210"/>
                    </a:lnTo>
                    <a:lnTo>
                      <a:pt x="114" y="222"/>
                    </a:lnTo>
                    <a:lnTo>
                      <a:pt x="156" y="216"/>
                    </a:lnTo>
                    <a:lnTo>
                      <a:pt x="168" y="210"/>
                    </a:lnTo>
                    <a:lnTo>
                      <a:pt x="174" y="204"/>
                    </a:lnTo>
                    <a:lnTo>
                      <a:pt x="198" y="204"/>
                    </a:lnTo>
                    <a:lnTo>
                      <a:pt x="216" y="186"/>
                    </a:lnTo>
                    <a:lnTo>
                      <a:pt x="240" y="186"/>
                    </a:lnTo>
                    <a:lnTo>
                      <a:pt x="258" y="198"/>
                    </a:lnTo>
                    <a:lnTo>
                      <a:pt x="288" y="192"/>
                    </a:lnTo>
                    <a:lnTo>
                      <a:pt x="288" y="174"/>
                    </a:lnTo>
                    <a:lnTo>
                      <a:pt x="306" y="180"/>
                    </a:lnTo>
                    <a:lnTo>
                      <a:pt x="312" y="174"/>
                    </a:lnTo>
                    <a:lnTo>
                      <a:pt x="324" y="168"/>
                    </a:lnTo>
                    <a:lnTo>
                      <a:pt x="330" y="162"/>
                    </a:lnTo>
                    <a:lnTo>
                      <a:pt x="330" y="144"/>
                    </a:lnTo>
                    <a:lnTo>
                      <a:pt x="336" y="138"/>
                    </a:lnTo>
                    <a:lnTo>
                      <a:pt x="348" y="132"/>
                    </a:lnTo>
                    <a:lnTo>
                      <a:pt x="366" y="114"/>
                    </a:lnTo>
                    <a:lnTo>
                      <a:pt x="366" y="72"/>
                    </a:lnTo>
                    <a:lnTo>
                      <a:pt x="378" y="60"/>
                    </a:lnTo>
                    <a:lnTo>
                      <a:pt x="408" y="60"/>
                    </a:lnTo>
                    <a:lnTo>
                      <a:pt x="426" y="42"/>
                    </a:lnTo>
                    <a:lnTo>
                      <a:pt x="420" y="36"/>
                    </a:lnTo>
                    <a:lnTo>
                      <a:pt x="408" y="36"/>
                    </a:lnTo>
                    <a:lnTo>
                      <a:pt x="402" y="30"/>
                    </a:lnTo>
                    <a:lnTo>
                      <a:pt x="396" y="30"/>
                    </a:lnTo>
                    <a:lnTo>
                      <a:pt x="372" y="6"/>
                    </a:lnTo>
                    <a:lnTo>
                      <a:pt x="348" y="6"/>
                    </a:lnTo>
                    <a:lnTo>
                      <a:pt x="336" y="12"/>
                    </a:lnTo>
                    <a:lnTo>
                      <a:pt x="324" y="12"/>
                    </a:lnTo>
                    <a:lnTo>
                      <a:pt x="324" y="0"/>
                    </a:lnTo>
                    <a:lnTo>
                      <a:pt x="312" y="0"/>
                    </a:lnTo>
                    <a:lnTo>
                      <a:pt x="312" y="18"/>
                    </a:lnTo>
                    <a:lnTo>
                      <a:pt x="294" y="12"/>
                    </a:lnTo>
                    <a:lnTo>
                      <a:pt x="294" y="0"/>
                    </a:lnTo>
                    <a:lnTo>
                      <a:pt x="270" y="0"/>
                    </a:lnTo>
                    <a:lnTo>
                      <a:pt x="264" y="12"/>
                    </a:lnTo>
                    <a:lnTo>
                      <a:pt x="252" y="24"/>
                    </a:lnTo>
                    <a:lnTo>
                      <a:pt x="246" y="24"/>
                    </a:lnTo>
                    <a:lnTo>
                      <a:pt x="234" y="30"/>
                    </a:lnTo>
                    <a:lnTo>
                      <a:pt x="210" y="30"/>
                    </a:lnTo>
                    <a:lnTo>
                      <a:pt x="204" y="42"/>
                    </a:lnTo>
                    <a:lnTo>
                      <a:pt x="168" y="36"/>
                    </a:lnTo>
                    <a:lnTo>
                      <a:pt x="156" y="60"/>
                    </a:lnTo>
                    <a:lnTo>
                      <a:pt x="144" y="60"/>
                    </a:lnTo>
                    <a:lnTo>
                      <a:pt x="126" y="66"/>
                    </a:lnTo>
                    <a:lnTo>
                      <a:pt x="84" y="66"/>
                    </a:lnTo>
                    <a:lnTo>
                      <a:pt x="78" y="60"/>
                    </a:lnTo>
                    <a:lnTo>
                      <a:pt x="72" y="48"/>
                    </a:lnTo>
                    <a:lnTo>
                      <a:pt x="66" y="42"/>
                    </a:lnTo>
                    <a:lnTo>
                      <a:pt x="54" y="60"/>
                    </a:lnTo>
                    <a:lnTo>
                      <a:pt x="42" y="54"/>
                    </a:lnTo>
                    <a:lnTo>
                      <a:pt x="42" y="6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2" name="Greec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48B08C8-C0FB-4F69-967E-354C65145B3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164449" y="3010164"/>
                <a:ext cx="235868" cy="247997"/>
              </a:xfrm>
              <a:custGeom>
                <a:avLst/>
                <a:gdLst>
                  <a:gd name="T0" fmla="*/ 0 w 534"/>
                  <a:gd name="T1" fmla="*/ 2147483647 h 552"/>
                  <a:gd name="T2" fmla="*/ 2147483647 w 534"/>
                  <a:gd name="T3" fmla="*/ 2147483647 h 552"/>
                  <a:gd name="T4" fmla="*/ 2147483647 w 534"/>
                  <a:gd name="T5" fmla="*/ 2147483647 h 552"/>
                  <a:gd name="T6" fmla="*/ 2147483647 w 534"/>
                  <a:gd name="T7" fmla="*/ 2147483647 h 552"/>
                  <a:gd name="T8" fmla="*/ 2147483647 w 534"/>
                  <a:gd name="T9" fmla="*/ 2147483647 h 552"/>
                  <a:gd name="T10" fmla="*/ 2147483647 w 534"/>
                  <a:gd name="T11" fmla="*/ 2147483647 h 552"/>
                  <a:gd name="T12" fmla="*/ 2147483647 w 534"/>
                  <a:gd name="T13" fmla="*/ 2147483647 h 552"/>
                  <a:gd name="T14" fmla="*/ 2147483647 w 534"/>
                  <a:gd name="T15" fmla="*/ 2147483647 h 552"/>
                  <a:gd name="T16" fmla="*/ 2147483647 w 534"/>
                  <a:gd name="T17" fmla="*/ 2147483647 h 552"/>
                  <a:gd name="T18" fmla="*/ 2147483647 w 534"/>
                  <a:gd name="T19" fmla="*/ 2147483647 h 552"/>
                  <a:gd name="T20" fmla="*/ 2147483647 w 534"/>
                  <a:gd name="T21" fmla="*/ 2147483647 h 552"/>
                  <a:gd name="T22" fmla="*/ 2147483647 w 534"/>
                  <a:gd name="T23" fmla="*/ 2147483647 h 552"/>
                  <a:gd name="T24" fmla="*/ 2147483647 w 534"/>
                  <a:gd name="T25" fmla="*/ 2147483647 h 552"/>
                  <a:gd name="T26" fmla="*/ 2147483647 w 534"/>
                  <a:gd name="T27" fmla="*/ 2147483647 h 552"/>
                  <a:gd name="T28" fmla="*/ 2147483647 w 534"/>
                  <a:gd name="T29" fmla="*/ 2147483647 h 552"/>
                  <a:gd name="T30" fmla="*/ 2147483647 w 534"/>
                  <a:gd name="T31" fmla="*/ 2147483647 h 552"/>
                  <a:gd name="T32" fmla="*/ 2147483647 w 534"/>
                  <a:gd name="T33" fmla="*/ 2147483647 h 552"/>
                  <a:gd name="T34" fmla="*/ 2147483647 w 534"/>
                  <a:gd name="T35" fmla="*/ 2147483647 h 552"/>
                  <a:gd name="T36" fmla="*/ 2147483647 w 534"/>
                  <a:gd name="T37" fmla="*/ 2147483647 h 552"/>
                  <a:gd name="T38" fmla="*/ 2147483647 w 534"/>
                  <a:gd name="T39" fmla="*/ 2147483647 h 552"/>
                  <a:gd name="T40" fmla="*/ 2147483647 w 534"/>
                  <a:gd name="T41" fmla="*/ 2147483647 h 552"/>
                  <a:gd name="T42" fmla="*/ 2147483647 w 534"/>
                  <a:gd name="T43" fmla="*/ 2147483647 h 552"/>
                  <a:gd name="T44" fmla="*/ 2147483647 w 534"/>
                  <a:gd name="T45" fmla="*/ 2147483647 h 552"/>
                  <a:gd name="T46" fmla="*/ 2147483647 w 534"/>
                  <a:gd name="T47" fmla="*/ 2147483647 h 552"/>
                  <a:gd name="T48" fmla="*/ 2147483647 w 534"/>
                  <a:gd name="T49" fmla="*/ 2147483647 h 552"/>
                  <a:gd name="T50" fmla="*/ 2147483647 w 534"/>
                  <a:gd name="T51" fmla="*/ 2147483647 h 552"/>
                  <a:gd name="T52" fmla="*/ 2147483647 w 534"/>
                  <a:gd name="T53" fmla="*/ 2147483647 h 552"/>
                  <a:gd name="T54" fmla="*/ 2147483647 w 534"/>
                  <a:gd name="T55" fmla="*/ 2147483647 h 552"/>
                  <a:gd name="T56" fmla="*/ 2147483647 w 534"/>
                  <a:gd name="T57" fmla="*/ 2147483647 h 552"/>
                  <a:gd name="T58" fmla="*/ 2147483647 w 534"/>
                  <a:gd name="T59" fmla="*/ 2147483647 h 552"/>
                  <a:gd name="T60" fmla="*/ 2147483647 w 534"/>
                  <a:gd name="T61" fmla="*/ 2147483647 h 552"/>
                  <a:gd name="T62" fmla="*/ 2147483647 w 534"/>
                  <a:gd name="T63" fmla="*/ 2147483647 h 552"/>
                  <a:gd name="T64" fmla="*/ 2147483647 w 534"/>
                  <a:gd name="T65" fmla="*/ 2147483647 h 552"/>
                  <a:gd name="T66" fmla="*/ 2147483647 w 534"/>
                  <a:gd name="T67" fmla="*/ 2147483647 h 552"/>
                  <a:gd name="T68" fmla="*/ 2147483647 w 534"/>
                  <a:gd name="T69" fmla="*/ 2147483647 h 552"/>
                  <a:gd name="T70" fmla="*/ 2147483647 w 534"/>
                  <a:gd name="T71" fmla="*/ 2147483647 h 552"/>
                  <a:gd name="T72" fmla="*/ 2147483647 w 534"/>
                  <a:gd name="T73" fmla="*/ 2147483647 h 552"/>
                  <a:gd name="T74" fmla="*/ 2147483647 w 534"/>
                  <a:gd name="T75" fmla="*/ 2147483647 h 552"/>
                  <a:gd name="T76" fmla="*/ 2147483647 w 534"/>
                  <a:gd name="T77" fmla="*/ 2147483647 h 552"/>
                  <a:gd name="T78" fmla="*/ 2147483647 w 534"/>
                  <a:gd name="T79" fmla="*/ 2147483647 h 552"/>
                  <a:gd name="T80" fmla="*/ 2147483647 w 534"/>
                  <a:gd name="T81" fmla="*/ 2147483647 h 552"/>
                  <a:gd name="T82" fmla="*/ 2147483647 w 534"/>
                  <a:gd name="T83" fmla="*/ 2147483647 h 552"/>
                  <a:gd name="T84" fmla="*/ 2147483647 w 534"/>
                  <a:gd name="T85" fmla="*/ 2147483647 h 552"/>
                  <a:gd name="T86" fmla="*/ 2147483647 w 534"/>
                  <a:gd name="T87" fmla="*/ 2147483647 h 552"/>
                  <a:gd name="T88" fmla="*/ 2147483647 w 534"/>
                  <a:gd name="T89" fmla="*/ 2147483647 h 552"/>
                  <a:gd name="T90" fmla="*/ 2147483647 w 534"/>
                  <a:gd name="T91" fmla="*/ 2147483647 h 552"/>
                  <a:gd name="T92" fmla="*/ 2147483647 w 534"/>
                  <a:gd name="T93" fmla="*/ 2147483647 h 552"/>
                  <a:gd name="T94" fmla="*/ 2147483647 w 534"/>
                  <a:gd name="T95" fmla="*/ 2147483647 h 552"/>
                  <a:gd name="T96" fmla="*/ 2147483647 w 534"/>
                  <a:gd name="T97" fmla="*/ 2147483647 h 552"/>
                  <a:gd name="T98" fmla="*/ 2147483647 w 534"/>
                  <a:gd name="T99" fmla="*/ 2147483647 h 552"/>
                  <a:gd name="T100" fmla="*/ 2147483647 w 534"/>
                  <a:gd name="T101" fmla="*/ 2147483647 h 552"/>
                  <a:gd name="T102" fmla="*/ 2147483647 w 534"/>
                  <a:gd name="T103" fmla="*/ 2147483647 h 552"/>
                  <a:gd name="T104" fmla="*/ 2147483647 w 534"/>
                  <a:gd name="T105" fmla="*/ 2147483647 h 552"/>
                  <a:gd name="T106" fmla="*/ 2147483647 w 534"/>
                  <a:gd name="T107" fmla="*/ 2147483647 h 5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34"/>
                  <a:gd name="T163" fmla="*/ 0 h 552"/>
                  <a:gd name="T164" fmla="*/ 534 w 534"/>
                  <a:gd name="T165" fmla="*/ 552 h 55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34" h="552">
                    <a:moveTo>
                      <a:pt x="240" y="108"/>
                    </a:moveTo>
                    <a:lnTo>
                      <a:pt x="270" y="126"/>
                    </a:lnTo>
                    <a:lnTo>
                      <a:pt x="282" y="120"/>
                    </a:lnTo>
                    <a:lnTo>
                      <a:pt x="240" y="108"/>
                    </a:lnTo>
                    <a:close/>
                    <a:moveTo>
                      <a:pt x="24" y="258"/>
                    </a:moveTo>
                    <a:lnTo>
                      <a:pt x="0" y="282"/>
                    </a:lnTo>
                    <a:lnTo>
                      <a:pt x="42" y="294"/>
                    </a:lnTo>
                    <a:lnTo>
                      <a:pt x="24" y="258"/>
                    </a:lnTo>
                    <a:close/>
                    <a:moveTo>
                      <a:pt x="312" y="414"/>
                    </a:moveTo>
                    <a:lnTo>
                      <a:pt x="312" y="420"/>
                    </a:lnTo>
                    <a:lnTo>
                      <a:pt x="324" y="420"/>
                    </a:lnTo>
                    <a:lnTo>
                      <a:pt x="324" y="414"/>
                    </a:lnTo>
                    <a:lnTo>
                      <a:pt x="318" y="408"/>
                    </a:lnTo>
                    <a:lnTo>
                      <a:pt x="312" y="408"/>
                    </a:lnTo>
                    <a:lnTo>
                      <a:pt x="312" y="414"/>
                    </a:lnTo>
                    <a:close/>
                    <a:moveTo>
                      <a:pt x="306" y="390"/>
                    </a:moveTo>
                    <a:lnTo>
                      <a:pt x="300" y="378"/>
                    </a:lnTo>
                    <a:lnTo>
                      <a:pt x="294" y="390"/>
                    </a:lnTo>
                    <a:lnTo>
                      <a:pt x="306" y="390"/>
                    </a:lnTo>
                    <a:close/>
                    <a:moveTo>
                      <a:pt x="294" y="294"/>
                    </a:moveTo>
                    <a:lnTo>
                      <a:pt x="318" y="336"/>
                    </a:lnTo>
                    <a:lnTo>
                      <a:pt x="330" y="318"/>
                    </a:lnTo>
                    <a:lnTo>
                      <a:pt x="294" y="294"/>
                    </a:lnTo>
                    <a:close/>
                    <a:moveTo>
                      <a:pt x="108" y="264"/>
                    </a:moveTo>
                    <a:lnTo>
                      <a:pt x="138" y="264"/>
                    </a:lnTo>
                    <a:lnTo>
                      <a:pt x="144" y="270"/>
                    </a:lnTo>
                    <a:lnTo>
                      <a:pt x="156" y="270"/>
                    </a:lnTo>
                    <a:lnTo>
                      <a:pt x="180" y="282"/>
                    </a:lnTo>
                    <a:lnTo>
                      <a:pt x="192" y="282"/>
                    </a:lnTo>
                    <a:lnTo>
                      <a:pt x="198" y="288"/>
                    </a:lnTo>
                    <a:lnTo>
                      <a:pt x="204" y="288"/>
                    </a:lnTo>
                    <a:lnTo>
                      <a:pt x="216" y="300"/>
                    </a:lnTo>
                    <a:lnTo>
                      <a:pt x="228" y="306"/>
                    </a:lnTo>
                    <a:lnTo>
                      <a:pt x="234" y="312"/>
                    </a:lnTo>
                    <a:lnTo>
                      <a:pt x="246" y="312"/>
                    </a:lnTo>
                    <a:lnTo>
                      <a:pt x="252" y="306"/>
                    </a:lnTo>
                    <a:lnTo>
                      <a:pt x="252" y="288"/>
                    </a:lnTo>
                    <a:lnTo>
                      <a:pt x="228" y="264"/>
                    </a:lnTo>
                    <a:lnTo>
                      <a:pt x="216" y="258"/>
                    </a:lnTo>
                    <a:lnTo>
                      <a:pt x="210" y="252"/>
                    </a:lnTo>
                    <a:lnTo>
                      <a:pt x="204" y="252"/>
                    </a:lnTo>
                    <a:lnTo>
                      <a:pt x="198" y="246"/>
                    </a:lnTo>
                    <a:lnTo>
                      <a:pt x="186" y="246"/>
                    </a:lnTo>
                    <a:lnTo>
                      <a:pt x="174" y="234"/>
                    </a:lnTo>
                    <a:lnTo>
                      <a:pt x="168" y="234"/>
                    </a:lnTo>
                    <a:lnTo>
                      <a:pt x="174" y="228"/>
                    </a:lnTo>
                    <a:lnTo>
                      <a:pt x="192" y="228"/>
                    </a:lnTo>
                    <a:lnTo>
                      <a:pt x="198" y="240"/>
                    </a:lnTo>
                    <a:lnTo>
                      <a:pt x="222" y="252"/>
                    </a:lnTo>
                    <a:lnTo>
                      <a:pt x="234" y="264"/>
                    </a:lnTo>
                    <a:lnTo>
                      <a:pt x="258" y="264"/>
                    </a:lnTo>
                    <a:lnTo>
                      <a:pt x="270" y="252"/>
                    </a:lnTo>
                    <a:lnTo>
                      <a:pt x="258" y="240"/>
                    </a:lnTo>
                    <a:lnTo>
                      <a:pt x="246" y="240"/>
                    </a:lnTo>
                    <a:lnTo>
                      <a:pt x="234" y="234"/>
                    </a:lnTo>
                    <a:lnTo>
                      <a:pt x="222" y="234"/>
                    </a:lnTo>
                    <a:lnTo>
                      <a:pt x="210" y="228"/>
                    </a:lnTo>
                    <a:lnTo>
                      <a:pt x="204" y="216"/>
                    </a:lnTo>
                    <a:lnTo>
                      <a:pt x="198" y="210"/>
                    </a:lnTo>
                    <a:lnTo>
                      <a:pt x="198" y="204"/>
                    </a:lnTo>
                    <a:lnTo>
                      <a:pt x="192" y="192"/>
                    </a:lnTo>
                    <a:lnTo>
                      <a:pt x="186" y="186"/>
                    </a:lnTo>
                    <a:lnTo>
                      <a:pt x="174" y="162"/>
                    </a:lnTo>
                    <a:lnTo>
                      <a:pt x="168" y="156"/>
                    </a:lnTo>
                    <a:lnTo>
                      <a:pt x="162" y="144"/>
                    </a:lnTo>
                    <a:lnTo>
                      <a:pt x="150" y="132"/>
                    </a:lnTo>
                    <a:lnTo>
                      <a:pt x="150" y="120"/>
                    </a:lnTo>
                    <a:lnTo>
                      <a:pt x="144" y="114"/>
                    </a:lnTo>
                    <a:lnTo>
                      <a:pt x="144" y="102"/>
                    </a:lnTo>
                    <a:lnTo>
                      <a:pt x="150" y="96"/>
                    </a:lnTo>
                    <a:lnTo>
                      <a:pt x="156" y="96"/>
                    </a:lnTo>
                    <a:lnTo>
                      <a:pt x="162" y="102"/>
                    </a:lnTo>
                    <a:lnTo>
                      <a:pt x="162" y="108"/>
                    </a:lnTo>
                    <a:lnTo>
                      <a:pt x="168" y="114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86" y="120"/>
                    </a:lnTo>
                    <a:lnTo>
                      <a:pt x="198" y="132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210" y="138"/>
                    </a:lnTo>
                    <a:lnTo>
                      <a:pt x="216" y="138"/>
                    </a:lnTo>
                    <a:lnTo>
                      <a:pt x="204" y="120"/>
                    </a:lnTo>
                    <a:lnTo>
                      <a:pt x="210" y="120"/>
                    </a:lnTo>
                    <a:lnTo>
                      <a:pt x="234" y="132"/>
                    </a:lnTo>
                    <a:lnTo>
                      <a:pt x="222" y="114"/>
                    </a:lnTo>
                    <a:lnTo>
                      <a:pt x="228" y="108"/>
                    </a:lnTo>
                    <a:lnTo>
                      <a:pt x="228" y="84"/>
                    </a:lnTo>
                    <a:lnTo>
                      <a:pt x="240" y="72"/>
                    </a:lnTo>
                    <a:lnTo>
                      <a:pt x="270" y="72"/>
                    </a:lnTo>
                    <a:lnTo>
                      <a:pt x="276" y="78"/>
                    </a:lnTo>
                    <a:lnTo>
                      <a:pt x="276" y="90"/>
                    </a:lnTo>
                    <a:lnTo>
                      <a:pt x="288" y="90"/>
                    </a:lnTo>
                    <a:lnTo>
                      <a:pt x="294" y="84"/>
                    </a:lnTo>
                    <a:lnTo>
                      <a:pt x="300" y="72"/>
                    </a:lnTo>
                    <a:lnTo>
                      <a:pt x="306" y="66"/>
                    </a:lnTo>
                    <a:lnTo>
                      <a:pt x="342" y="66"/>
                    </a:lnTo>
                    <a:lnTo>
                      <a:pt x="360" y="72"/>
                    </a:lnTo>
                    <a:lnTo>
                      <a:pt x="372" y="72"/>
                    </a:lnTo>
                    <a:lnTo>
                      <a:pt x="378" y="78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90" y="60"/>
                    </a:lnTo>
                    <a:lnTo>
                      <a:pt x="390" y="48"/>
                    </a:lnTo>
                    <a:lnTo>
                      <a:pt x="384" y="42"/>
                    </a:lnTo>
                    <a:lnTo>
                      <a:pt x="384" y="36"/>
                    </a:lnTo>
                    <a:lnTo>
                      <a:pt x="390" y="30"/>
                    </a:lnTo>
                    <a:lnTo>
                      <a:pt x="408" y="30"/>
                    </a:lnTo>
                    <a:lnTo>
                      <a:pt x="408" y="18"/>
                    </a:lnTo>
                    <a:lnTo>
                      <a:pt x="402" y="12"/>
                    </a:lnTo>
                    <a:lnTo>
                      <a:pt x="402" y="6"/>
                    </a:lnTo>
                    <a:lnTo>
                      <a:pt x="390" y="6"/>
                    </a:lnTo>
                    <a:lnTo>
                      <a:pt x="384" y="0"/>
                    </a:lnTo>
                    <a:lnTo>
                      <a:pt x="366" y="6"/>
                    </a:lnTo>
                    <a:lnTo>
                      <a:pt x="372" y="12"/>
                    </a:lnTo>
                    <a:lnTo>
                      <a:pt x="372" y="30"/>
                    </a:lnTo>
                    <a:lnTo>
                      <a:pt x="366" y="36"/>
                    </a:lnTo>
                    <a:lnTo>
                      <a:pt x="348" y="36"/>
                    </a:lnTo>
                    <a:lnTo>
                      <a:pt x="336" y="24"/>
                    </a:lnTo>
                    <a:lnTo>
                      <a:pt x="324" y="36"/>
                    </a:lnTo>
                    <a:lnTo>
                      <a:pt x="312" y="36"/>
                    </a:lnTo>
                    <a:lnTo>
                      <a:pt x="300" y="24"/>
                    </a:lnTo>
                    <a:lnTo>
                      <a:pt x="294" y="30"/>
                    </a:lnTo>
                    <a:lnTo>
                      <a:pt x="282" y="30"/>
                    </a:lnTo>
                    <a:lnTo>
                      <a:pt x="264" y="12"/>
                    </a:lnTo>
                    <a:lnTo>
                      <a:pt x="264" y="6"/>
                    </a:lnTo>
                    <a:lnTo>
                      <a:pt x="234" y="12"/>
                    </a:lnTo>
                    <a:lnTo>
                      <a:pt x="228" y="30"/>
                    </a:lnTo>
                    <a:lnTo>
                      <a:pt x="204" y="24"/>
                    </a:lnTo>
                    <a:lnTo>
                      <a:pt x="198" y="30"/>
                    </a:lnTo>
                    <a:lnTo>
                      <a:pt x="186" y="36"/>
                    </a:lnTo>
                    <a:lnTo>
                      <a:pt x="174" y="36"/>
                    </a:lnTo>
                    <a:lnTo>
                      <a:pt x="168" y="30"/>
                    </a:lnTo>
                    <a:lnTo>
                      <a:pt x="162" y="30"/>
                    </a:lnTo>
                    <a:lnTo>
                      <a:pt x="150" y="36"/>
                    </a:lnTo>
                    <a:lnTo>
                      <a:pt x="138" y="48"/>
                    </a:lnTo>
                    <a:lnTo>
                      <a:pt x="126" y="54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72"/>
                    </a:lnTo>
                    <a:lnTo>
                      <a:pt x="72" y="72"/>
                    </a:lnTo>
                    <a:lnTo>
                      <a:pt x="66" y="66"/>
                    </a:lnTo>
                    <a:lnTo>
                      <a:pt x="60" y="66"/>
                    </a:lnTo>
                    <a:lnTo>
                      <a:pt x="48" y="72"/>
                    </a:lnTo>
                    <a:lnTo>
                      <a:pt x="54" y="84"/>
                    </a:lnTo>
                    <a:lnTo>
                      <a:pt x="54" y="90"/>
                    </a:lnTo>
                    <a:lnTo>
                      <a:pt x="42" y="102"/>
                    </a:lnTo>
                    <a:lnTo>
                      <a:pt x="24" y="102"/>
                    </a:lnTo>
                    <a:lnTo>
                      <a:pt x="24" y="126"/>
                    </a:lnTo>
                    <a:lnTo>
                      <a:pt x="12" y="132"/>
                    </a:lnTo>
                    <a:lnTo>
                      <a:pt x="0" y="132"/>
                    </a:lnTo>
                    <a:lnTo>
                      <a:pt x="0" y="198"/>
                    </a:lnTo>
                    <a:lnTo>
                      <a:pt x="6" y="204"/>
                    </a:lnTo>
                    <a:lnTo>
                      <a:pt x="18" y="210"/>
                    </a:lnTo>
                    <a:lnTo>
                      <a:pt x="24" y="216"/>
                    </a:lnTo>
                    <a:lnTo>
                      <a:pt x="30" y="228"/>
                    </a:lnTo>
                    <a:lnTo>
                      <a:pt x="36" y="234"/>
                    </a:lnTo>
                    <a:lnTo>
                      <a:pt x="42" y="246"/>
                    </a:lnTo>
                    <a:lnTo>
                      <a:pt x="54" y="258"/>
                    </a:lnTo>
                    <a:lnTo>
                      <a:pt x="60" y="270"/>
                    </a:lnTo>
                    <a:lnTo>
                      <a:pt x="84" y="270"/>
                    </a:lnTo>
                    <a:lnTo>
                      <a:pt x="96" y="264"/>
                    </a:lnTo>
                    <a:lnTo>
                      <a:pt x="108" y="264"/>
                    </a:lnTo>
                    <a:close/>
                    <a:moveTo>
                      <a:pt x="396" y="252"/>
                    </a:moveTo>
                    <a:lnTo>
                      <a:pt x="372" y="252"/>
                    </a:lnTo>
                    <a:lnTo>
                      <a:pt x="372" y="270"/>
                    </a:lnTo>
                    <a:lnTo>
                      <a:pt x="384" y="294"/>
                    </a:lnTo>
                    <a:lnTo>
                      <a:pt x="396" y="252"/>
                    </a:lnTo>
                    <a:close/>
                    <a:moveTo>
                      <a:pt x="24" y="312"/>
                    </a:moveTo>
                    <a:lnTo>
                      <a:pt x="18" y="318"/>
                    </a:lnTo>
                    <a:lnTo>
                      <a:pt x="24" y="324"/>
                    </a:lnTo>
                    <a:lnTo>
                      <a:pt x="30" y="324"/>
                    </a:lnTo>
                    <a:lnTo>
                      <a:pt x="36" y="330"/>
                    </a:lnTo>
                    <a:lnTo>
                      <a:pt x="42" y="324"/>
                    </a:lnTo>
                    <a:lnTo>
                      <a:pt x="42" y="318"/>
                    </a:lnTo>
                    <a:lnTo>
                      <a:pt x="30" y="306"/>
                    </a:lnTo>
                    <a:lnTo>
                      <a:pt x="24" y="312"/>
                    </a:lnTo>
                    <a:close/>
                    <a:moveTo>
                      <a:pt x="378" y="390"/>
                    </a:moveTo>
                    <a:lnTo>
                      <a:pt x="378" y="408"/>
                    </a:lnTo>
                    <a:lnTo>
                      <a:pt x="390" y="390"/>
                    </a:lnTo>
                    <a:lnTo>
                      <a:pt x="378" y="390"/>
                    </a:lnTo>
                    <a:close/>
                    <a:moveTo>
                      <a:pt x="408" y="330"/>
                    </a:moveTo>
                    <a:lnTo>
                      <a:pt x="396" y="330"/>
                    </a:lnTo>
                    <a:lnTo>
                      <a:pt x="384" y="336"/>
                    </a:lnTo>
                    <a:lnTo>
                      <a:pt x="384" y="342"/>
                    </a:lnTo>
                    <a:lnTo>
                      <a:pt x="396" y="342"/>
                    </a:lnTo>
                    <a:lnTo>
                      <a:pt x="402" y="336"/>
                    </a:lnTo>
                    <a:lnTo>
                      <a:pt x="408" y="336"/>
                    </a:lnTo>
                    <a:lnTo>
                      <a:pt x="408" y="330"/>
                    </a:lnTo>
                    <a:close/>
                    <a:moveTo>
                      <a:pt x="396" y="192"/>
                    </a:moveTo>
                    <a:lnTo>
                      <a:pt x="372" y="198"/>
                    </a:lnTo>
                    <a:lnTo>
                      <a:pt x="372" y="210"/>
                    </a:lnTo>
                    <a:lnTo>
                      <a:pt x="390" y="210"/>
                    </a:lnTo>
                    <a:lnTo>
                      <a:pt x="396" y="216"/>
                    </a:lnTo>
                    <a:lnTo>
                      <a:pt x="396" y="222"/>
                    </a:lnTo>
                    <a:lnTo>
                      <a:pt x="414" y="222"/>
                    </a:lnTo>
                    <a:lnTo>
                      <a:pt x="414" y="210"/>
                    </a:lnTo>
                    <a:lnTo>
                      <a:pt x="396" y="192"/>
                    </a:lnTo>
                    <a:close/>
                    <a:moveTo>
                      <a:pt x="342" y="372"/>
                    </a:moveTo>
                    <a:lnTo>
                      <a:pt x="342" y="378"/>
                    </a:lnTo>
                    <a:lnTo>
                      <a:pt x="348" y="384"/>
                    </a:lnTo>
                    <a:lnTo>
                      <a:pt x="360" y="384"/>
                    </a:lnTo>
                    <a:lnTo>
                      <a:pt x="366" y="378"/>
                    </a:lnTo>
                    <a:lnTo>
                      <a:pt x="366" y="372"/>
                    </a:lnTo>
                    <a:lnTo>
                      <a:pt x="360" y="366"/>
                    </a:lnTo>
                    <a:lnTo>
                      <a:pt x="342" y="366"/>
                    </a:lnTo>
                    <a:lnTo>
                      <a:pt x="342" y="372"/>
                    </a:lnTo>
                    <a:close/>
                    <a:moveTo>
                      <a:pt x="444" y="312"/>
                    </a:moveTo>
                    <a:lnTo>
                      <a:pt x="432" y="312"/>
                    </a:lnTo>
                    <a:lnTo>
                      <a:pt x="432" y="330"/>
                    </a:lnTo>
                    <a:lnTo>
                      <a:pt x="444" y="336"/>
                    </a:lnTo>
                    <a:lnTo>
                      <a:pt x="450" y="330"/>
                    </a:lnTo>
                    <a:lnTo>
                      <a:pt x="450" y="318"/>
                    </a:lnTo>
                    <a:lnTo>
                      <a:pt x="444" y="312"/>
                    </a:lnTo>
                    <a:close/>
                    <a:moveTo>
                      <a:pt x="444" y="372"/>
                    </a:moveTo>
                    <a:lnTo>
                      <a:pt x="456" y="354"/>
                    </a:lnTo>
                    <a:lnTo>
                      <a:pt x="438" y="354"/>
                    </a:lnTo>
                    <a:lnTo>
                      <a:pt x="444" y="372"/>
                    </a:lnTo>
                    <a:close/>
                    <a:moveTo>
                      <a:pt x="276" y="222"/>
                    </a:moveTo>
                    <a:lnTo>
                      <a:pt x="276" y="240"/>
                    </a:lnTo>
                    <a:lnTo>
                      <a:pt x="288" y="240"/>
                    </a:lnTo>
                    <a:lnTo>
                      <a:pt x="276" y="222"/>
                    </a:lnTo>
                    <a:close/>
                    <a:moveTo>
                      <a:pt x="534" y="420"/>
                    </a:moveTo>
                    <a:lnTo>
                      <a:pt x="522" y="420"/>
                    </a:lnTo>
                    <a:lnTo>
                      <a:pt x="516" y="426"/>
                    </a:lnTo>
                    <a:lnTo>
                      <a:pt x="510" y="438"/>
                    </a:lnTo>
                    <a:lnTo>
                      <a:pt x="510" y="468"/>
                    </a:lnTo>
                    <a:lnTo>
                      <a:pt x="516" y="468"/>
                    </a:lnTo>
                    <a:lnTo>
                      <a:pt x="522" y="456"/>
                    </a:lnTo>
                    <a:lnTo>
                      <a:pt x="528" y="450"/>
                    </a:lnTo>
                    <a:lnTo>
                      <a:pt x="534" y="438"/>
                    </a:lnTo>
                    <a:lnTo>
                      <a:pt x="534" y="420"/>
                    </a:lnTo>
                    <a:close/>
                    <a:moveTo>
                      <a:pt x="462" y="384"/>
                    </a:moveTo>
                    <a:lnTo>
                      <a:pt x="456" y="408"/>
                    </a:lnTo>
                    <a:lnTo>
                      <a:pt x="498" y="378"/>
                    </a:lnTo>
                    <a:lnTo>
                      <a:pt x="486" y="372"/>
                    </a:lnTo>
                    <a:lnTo>
                      <a:pt x="462" y="384"/>
                    </a:lnTo>
                    <a:close/>
                    <a:moveTo>
                      <a:pt x="462" y="510"/>
                    </a:moveTo>
                    <a:lnTo>
                      <a:pt x="480" y="510"/>
                    </a:lnTo>
                    <a:lnTo>
                      <a:pt x="468" y="468"/>
                    </a:lnTo>
                    <a:lnTo>
                      <a:pt x="462" y="510"/>
                    </a:lnTo>
                    <a:close/>
                    <a:moveTo>
                      <a:pt x="276" y="330"/>
                    </a:moveTo>
                    <a:lnTo>
                      <a:pt x="270" y="336"/>
                    </a:lnTo>
                    <a:lnTo>
                      <a:pt x="270" y="348"/>
                    </a:lnTo>
                    <a:lnTo>
                      <a:pt x="276" y="348"/>
                    </a:lnTo>
                    <a:lnTo>
                      <a:pt x="288" y="336"/>
                    </a:lnTo>
                    <a:lnTo>
                      <a:pt x="282" y="330"/>
                    </a:lnTo>
                    <a:lnTo>
                      <a:pt x="276" y="330"/>
                    </a:lnTo>
                    <a:close/>
                    <a:moveTo>
                      <a:pt x="186" y="432"/>
                    </a:move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198" y="444"/>
                    </a:lnTo>
                    <a:lnTo>
                      <a:pt x="198" y="438"/>
                    </a:lnTo>
                    <a:lnTo>
                      <a:pt x="192" y="432"/>
                    </a:lnTo>
                    <a:lnTo>
                      <a:pt x="186" y="432"/>
                    </a:lnTo>
                    <a:close/>
                    <a:moveTo>
                      <a:pt x="384" y="528"/>
                    </a:moveTo>
                    <a:lnTo>
                      <a:pt x="378" y="528"/>
                    </a:lnTo>
                    <a:lnTo>
                      <a:pt x="378" y="516"/>
                    </a:lnTo>
                    <a:lnTo>
                      <a:pt x="372" y="510"/>
                    </a:lnTo>
                    <a:lnTo>
                      <a:pt x="342" y="510"/>
                    </a:lnTo>
                    <a:lnTo>
                      <a:pt x="306" y="504"/>
                    </a:lnTo>
                    <a:lnTo>
                      <a:pt x="276" y="504"/>
                    </a:lnTo>
                    <a:lnTo>
                      <a:pt x="246" y="486"/>
                    </a:lnTo>
                    <a:lnTo>
                      <a:pt x="228" y="504"/>
                    </a:lnTo>
                    <a:lnTo>
                      <a:pt x="234" y="510"/>
                    </a:lnTo>
                    <a:lnTo>
                      <a:pt x="246" y="516"/>
                    </a:lnTo>
                    <a:lnTo>
                      <a:pt x="252" y="522"/>
                    </a:lnTo>
                    <a:lnTo>
                      <a:pt x="258" y="516"/>
                    </a:lnTo>
                    <a:lnTo>
                      <a:pt x="264" y="528"/>
                    </a:lnTo>
                    <a:lnTo>
                      <a:pt x="300" y="528"/>
                    </a:lnTo>
                    <a:lnTo>
                      <a:pt x="312" y="552"/>
                    </a:lnTo>
                    <a:lnTo>
                      <a:pt x="354" y="546"/>
                    </a:lnTo>
                    <a:lnTo>
                      <a:pt x="354" y="540"/>
                    </a:lnTo>
                    <a:lnTo>
                      <a:pt x="402" y="540"/>
                    </a:lnTo>
                    <a:lnTo>
                      <a:pt x="414" y="528"/>
                    </a:lnTo>
                    <a:lnTo>
                      <a:pt x="414" y="522"/>
                    </a:lnTo>
                    <a:lnTo>
                      <a:pt x="408" y="516"/>
                    </a:lnTo>
                    <a:lnTo>
                      <a:pt x="402" y="516"/>
                    </a:lnTo>
                    <a:lnTo>
                      <a:pt x="396" y="522"/>
                    </a:lnTo>
                    <a:lnTo>
                      <a:pt x="390" y="522"/>
                    </a:lnTo>
                    <a:lnTo>
                      <a:pt x="384" y="528"/>
                    </a:lnTo>
                    <a:close/>
                    <a:moveTo>
                      <a:pt x="420" y="408"/>
                    </a:moveTo>
                    <a:lnTo>
                      <a:pt x="408" y="408"/>
                    </a:lnTo>
                    <a:lnTo>
                      <a:pt x="408" y="420"/>
                    </a:lnTo>
                    <a:lnTo>
                      <a:pt x="420" y="420"/>
                    </a:lnTo>
                    <a:lnTo>
                      <a:pt x="426" y="414"/>
                    </a:lnTo>
                    <a:lnTo>
                      <a:pt x="420" y="408"/>
                    </a:lnTo>
                    <a:close/>
                    <a:moveTo>
                      <a:pt x="114" y="276"/>
                    </a:moveTo>
                    <a:lnTo>
                      <a:pt x="90" y="288"/>
                    </a:lnTo>
                    <a:lnTo>
                      <a:pt x="84" y="288"/>
                    </a:lnTo>
                    <a:lnTo>
                      <a:pt x="66" y="312"/>
                    </a:lnTo>
                    <a:lnTo>
                      <a:pt x="96" y="336"/>
                    </a:lnTo>
                    <a:lnTo>
                      <a:pt x="96" y="348"/>
                    </a:lnTo>
                    <a:lnTo>
                      <a:pt x="90" y="366"/>
                    </a:lnTo>
                    <a:lnTo>
                      <a:pt x="90" y="384"/>
                    </a:lnTo>
                    <a:lnTo>
                      <a:pt x="96" y="390"/>
                    </a:lnTo>
                    <a:lnTo>
                      <a:pt x="108" y="396"/>
                    </a:lnTo>
                    <a:lnTo>
                      <a:pt x="114" y="396"/>
                    </a:lnTo>
                    <a:lnTo>
                      <a:pt x="114" y="390"/>
                    </a:lnTo>
                    <a:lnTo>
                      <a:pt x="126" y="378"/>
                    </a:lnTo>
                    <a:lnTo>
                      <a:pt x="132" y="378"/>
                    </a:lnTo>
                    <a:lnTo>
                      <a:pt x="156" y="420"/>
                    </a:lnTo>
                    <a:lnTo>
                      <a:pt x="162" y="390"/>
                    </a:lnTo>
                    <a:lnTo>
                      <a:pt x="180" y="414"/>
                    </a:lnTo>
                    <a:lnTo>
                      <a:pt x="204" y="420"/>
                    </a:lnTo>
                    <a:lnTo>
                      <a:pt x="186" y="402"/>
                    </a:lnTo>
                    <a:lnTo>
                      <a:pt x="192" y="396"/>
                    </a:lnTo>
                    <a:lnTo>
                      <a:pt x="192" y="372"/>
                    </a:lnTo>
                    <a:lnTo>
                      <a:pt x="186" y="366"/>
                    </a:lnTo>
                    <a:lnTo>
                      <a:pt x="180" y="354"/>
                    </a:lnTo>
                    <a:lnTo>
                      <a:pt x="174" y="348"/>
                    </a:lnTo>
                    <a:lnTo>
                      <a:pt x="168" y="336"/>
                    </a:lnTo>
                    <a:lnTo>
                      <a:pt x="168" y="330"/>
                    </a:lnTo>
                    <a:lnTo>
                      <a:pt x="186" y="330"/>
                    </a:lnTo>
                    <a:lnTo>
                      <a:pt x="198" y="336"/>
                    </a:lnTo>
                    <a:lnTo>
                      <a:pt x="210" y="348"/>
                    </a:lnTo>
                    <a:lnTo>
                      <a:pt x="222" y="342"/>
                    </a:lnTo>
                    <a:lnTo>
                      <a:pt x="210" y="336"/>
                    </a:lnTo>
                    <a:lnTo>
                      <a:pt x="204" y="324"/>
                    </a:lnTo>
                    <a:lnTo>
                      <a:pt x="192" y="318"/>
                    </a:lnTo>
                    <a:lnTo>
                      <a:pt x="186" y="312"/>
                    </a:lnTo>
                    <a:lnTo>
                      <a:pt x="174" y="306"/>
                    </a:lnTo>
                    <a:lnTo>
                      <a:pt x="156" y="294"/>
                    </a:lnTo>
                    <a:lnTo>
                      <a:pt x="138" y="288"/>
                    </a:lnTo>
                    <a:lnTo>
                      <a:pt x="126" y="282"/>
                    </a:lnTo>
                    <a:lnTo>
                      <a:pt x="120" y="276"/>
                    </a:lnTo>
                    <a:lnTo>
                      <a:pt x="114" y="27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3" name="Czech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4AE7ECA-0379-41E3-8830-331B176481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21594" y="2682453"/>
                <a:ext cx="186947" cy="86800"/>
              </a:xfrm>
              <a:custGeom>
                <a:avLst/>
                <a:gdLst>
                  <a:gd name="T0" fmla="*/ 2147483647 w 420"/>
                  <a:gd name="T1" fmla="*/ 2147483647 h 192"/>
                  <a:gd name="T2" fmla="*/ 2147483647 w 420"/>
                  <a:gd name="T3" fmla="*/ 2147483647 h 192"/>
                  <a:gd name="T4" fmla="*/ 2147483647 w 420"/>
                  <a:gd name="T5" fmla="*/ 2147483647 h 192"/>
                  <a:gd name="T6" fmla="*/ 2147483647 w 420"/>
                  <a:gd name="T7" fmla="*/ 2147483647 h 192"/>
                  <a:gd name="T8" fmla="*/ 2147483647 w 420"/>
                  <a:gd name="T9" fmla="*/ 2147483647 h 192"/>
                  <a:gd name="T10" fmla="*/ 2147483647 w 420"/>
                  <a:gd name="T11" fmla="*/ 2147483647 h 192"/>
                  <a:gd name="T12" fmla="*/ 2147483647 w 420"/>
                  <a:gd name="T13" fmla="*/ 2147483647 h 192"/>
                  <a:gd name="T14" fmla="*/ 2147483647 w 420"/>
                  <a:gd name="T15" fmla="*/ 2147483647 h 192"/>
                  <a:gd name="T16" fmla="*/ 2147483647 w 420"/>
                  <a:gd name="T17" fmla="*/ 2147483647 h 192"/>
                  <a:gd name="T18" fmla="*/ 2147483647 w 420"/>
                  <a:gd name="T19" fmla="*/ 2147483647 h 192"/>
                  <a:gd name="T20" fmla="*/ 2147483647 w 420"/>
                  <a:gd name="T21" fmla="*/ 2147483647 h 192"/>
                  <a:gd name="T22" fmla="*/ 2147483647 w 420"/>
                  <a:gd name="T23" fmla="*/ 2147483647 h 192"/>
                  <a:gd name="T24" fmla="*/ 2147483647 w 420"/>
                  <a:gd name="T25" fmla="*/ 2147483647 h 192"/>
                  <a:gd name="T26" fmla="*/ 2147483647 w 420"/>
                  <a:gd name="T27" fmla="*/ 2147483647 h 192"/>
                  <a:gd name="T28" fmla="*/ 2147483647 w 420"/>
                  <a:gd name="T29" fmla="*/ 0 h 192"/>
                  <a:gd name="T30" fmla="*/ 2147483647 w 420"/>
                  <a:gd name="T31" fmla="*/ 2147483647 h 192"/>
                  <a:gd name="T32" fmla="*/ 2147483647 w 420"/>
                  <a:gd name="T33" fmla="*/ 0 h 192"/>
                  <a:gd name="T34" fmla="*/ 2147483647 w 420"/>
                  <a:gd name="T35" fmla="*/ 2147483647 h 192"/>
                  <a:gd name="T36" fmla="*/ 2147483647 w 420"/>
                  <a:gd name="T37" fmla="*/ 2147483647 h 192"/>
                  <a:gd name="T38" fmla="*/ 2147483647 w 420"/>
                  <a:gd name="T39" fmla="*/ 2147483647 h 192"/>
                  <a:gd name="T40" fmla="*/ 2147483647 w 420"/>
                  <a:gd name="T41" fmla="*/ 2147483647 h 192"/>
                  <a:gd name="T42" fmla="*/ 2147483647 w 420"/>
                  <a:gd name="T43" fmla="*/ 2147483647 h 192"/>
                  <a:gd name="T44" fmla="*/ 2147483647 w 420"/>
                  <a:gd name="T45" fmla="*/ 2147483647 h 192"/>
                  <a:gd name="T46" fmla="*/ 2147483647 w 420"/>
                  <a:gd name="T47" fmla="*/ 2147483647 h 192"/>
                  <a:gd name="T48" fmla="*/ 2147483647 w 420"/>
                  <a:gd name="T49" fmla="*/ 2147483647 h 192"/>
                  <a:gd name="T50" fmla="*/ 2147483647 w 420"/>
                  <a:gd name="T51" fmla="*/ 2147483647 h 192"/>
                  <a:gd name="T52" fmla="*/ 0 w 420"/>
                  <a:gd name="T53" fmla="*/ 2147483647 h 192"/>
                  <a:gd name="T54" fmla="*/ 2147483647 w 420"/>
                  <a:gd name="T55" fmla="*/ 2147483647 h 192"/>
                  <a:gd name="T56" fmla="*/ 2147483647 w 420"/>
                  <a:gd name="T57" fmla="*/ 2147483647 h 192"/>
                  <a:gd name="T58" fmla="*/ 2147483647 w 420"/>
                  <a:gd name="T59" fmla="*/ 2147483647 h 192"/>
                  <a:gd name="T60" fmla="*/ 2147483647 w 420"/>
                  <a:gd name="T61" fmla="*/ 2147483647 h 192"/>
                  <a:gd name="T62" fmla="*/ 2147483647 w 420"/>
                  <a:gd name="T63" fmla="*/ 2147483647 h 192"/>
                  <a:gd name="T64" fmla="*/ 2147483647 w 420"/>
                  <a:gd name="T65" fmla="*/ 2147483647 h 192"/>
                  <a:gd name="T66" fmla="*/ 2147483647 w 420"/>
                  <a:gd name="T67" fmla="*/ 2147483647 h 192"/>
                  <a:gd name="T68" fmla="*/ 2147483647 w 420"/>
                  <a:gd name="T69" fmla="*/ 2147483647 h 192"/>
                  <a:gd name="T70" fmla="*/ 2147483647 w 420"/>
                  <a:gd name="T71" fmla="*/ 2147483647 h 192"/>
                  <a:gd name="T72" fmla="*/ 2147483647 w 420"/>
                  <a:gd name="T73" fmla="*/ 2147483647 h 192"/>
                  <a:gd name="T74" fmla="*/ 2147483647 w 420"/>
                  <a:gd name="T75" fmla="*/ 2147483647 h 192"/>
                  <a:gd name="T76" fmla="*/ 2147483647 w 420"/>
                  <a:gd name="T77" fmla="*/ 2147483647 h 192"/>
                  <a:gd name="T78" fmla="*/ 2147483647 w 420"/>
                  <a:gd name="T79" fmla="*/ 2147483647 h 192"/>
                  <a:gd name="T80" fmla="*/ 2147483647 w 420"/>
                  <a:gd name="T81" fmla="*/ 2147483647 h 192"/>
                  <a:gd name="T82" fmla="*/ 2147483647 w 420"/>
                  <a:gd name="T83" fmla="*/ 2147483647 h 192"/>
                  <a:gd name="T84" fmla="*/ 2147483647 w 420"/>
                  <a:gd name="T85" fmla="*/ 2147483647 h 192"/>
                  <a:gd name="T86" fmla="*/ 2147483647 w 420"/>
                  <a:gd name="T87" fmla="*/ 2147483647 h 192"/>
                  <a:gd name="T88" fmla="*/ 2147483647 w 420"/>
                  <a:gd name="T89" fmla="*/ 2147483647 h 192"/>
                  <a:gd name="T90" fmla="*/ 2147483647 w 420"/>
                  <a:gd name="T91" fmla="*/ 2147483647 h 192"/>
                  <a:gd name="T92" fmla="*/ 2147483647 w 420"/>
                  <a:gd name="T93" fmla="*/ 2147483647 h 192"/>
                  <a:gd name="T94" fmla="*/ 2147483647 w 420"/>
                  <a:gd name="T95" fmla="*/ 2147483647 h 192"/>
                  <a:gd name="T96" fmla="*/ 2147483647 w 420"/>
                  <a:gd name="T97" fmla="*/ 2147483647 h 192"/>
                  <a:gd name="T98" fmla="*/ 2147483647 w 420"/>
                  <a:gd name="T99" fmla="*/ 2147483647 h 192"/>
                  <a:gd name="T100" fmla="*/ 2147483647 w 420"/>
                  <a:gd name="T101" fmla="*/ 2147483647 h 192"/>
                  <a:gd name="T102" fmla="*/ 2147483647 w 420"/>
                  <a:gd name="T103" fmla="*/ 2147483647 h 192"/>
                  <a:gd name="T104" fmla="*/ 2147483647 w 420"/>
                  <a:gd name="T105" fmla="*/ 2147483647 h 19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420"/>
                  <a:gd name="T160" fmla="*/ 0 h 192"/>
                  <a:gd name="T161" fmla="*/ 420 w 420"/>
                  <a:gd name="T162" fmla="*/ 192 h 19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420" h="192">
                    <a:moveTo>
                      <a:pt x="408" y="108"/>
                    </a:moveTo>
                    <a:lnTo>
                      <a:pt x="402" y="96"/>
                    </a:lnTo>
                    <a:lnTo>
                      <a:pt x="402" y="90"/>
                    </a:lnTo>
                    <a:lnTo>
                      <a:pt x="390" y="84"/>
                    </a:lnTo>
                    <a:lnTo>
                      <a:pt x="372" y="84"/>
                    </a:lnTo>
                    <a:lnTo>
                      <a:pt x="372" y="78"/>
                    </a:lnTo>
                    <a:lnTo>
                      <a:pt x="366" y="72"/>
                    </a:lnTo>
                    <a:lnTo>
                      <a:pt x="360" y="84"/>
                    </a:lnTo>
                    <a:lnTo>
                      <a:pt x="354" y="78"/>
                    </a:lnTo>
                    <a:lnTo>
                      <a:pt x="348" y="66"/>
                    </a:lnTo>
                    <a:lnTo>
                      <a:pt x="342" y="60"/>
                    </a:lnTo>
                    <a:lnTo>
                      <a:pt x="324" y="60"/>
                    </a:lnTo>
                    <a:lnTo>
                      <a:pt x="330" y="54"/>
                    </a:lnTo>
                    <a:lnTo>
                      <a:pt x="312" y="54"/>
                    </a:lnTo>
                    <a:lnTo>
                      <a:pt x="300" y="60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76" y="66"/>
                    </a:lnTo>
                    <a:lnTo>
                      <a:pt x="270" y="60"/>
                    </a:lnTo>
                    <a:lnTo>
                      <a:pt x="264" y="60"/>
                    </a:lnTo>
                    <a:lnTo>
                      <a:pt x="264" y="48"/>
                    </a:lnTo>
                    <a:lnTo>
                      <a:pt x="252" y="42"/>
                    </a:lnTo>
                    <a:lnTo>
                      <a:pt x="264" y="36"/>
                    </a:lnTo>
                    <a:lnTo>
                      <a:pt x="258" y="30"/>
                    </a:lnTo>
                    <a:lnTo>
                      <a:pt x="234" y="30"/>
                    </a:lnTo>
                    <a:lnTo>
                      <a:pt x="234" y="24"/>
                    </a:lnTo>
                    <a:lnTo>
                      <a:pt x="228" y="24"/>
                    </a:lnTo>
                    <a:lnTo>
                      <a:pt x="216" y="18"/>
                    </a:lnTo>
                    <a:lnTo>
                      <a:pt x="198" y="18"/>
                    </a:lnTo>
                    <a:lnTo>
                      <a:pt x="192" y="0"/>
                    </a:lnTo>
                    <a:lnTo>
                      <a:pt x="174" y="0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44" y="0"/>
                    </a:lnTo>
                    <a:lnTo>
                      <a:pt x="138" y="6"/>
                    </a:lnTo>
                    <a:lnTo>
                      <a:pt x="132" y="6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08" y="18"/>
                    </a:lnTo>
                    <a:lnTo>
                      <a:pt x="108" y="24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66" y="36"/>
                    </a:lnTo>
                    <a:lnTo>
                      <a:pt x="54" y="48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30" y="54"/>
                    </a:lnTo>
                    <a:lnTo>
                      <a:pt x="18" y="54"/>
                    </a:lnTo>
                    <a:lnTo>
                      <a:pt x="18" y="60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24" y="84"/>
                    </a:lnTo>
                    <a:lnTo>
                      <a:pt x="18" y="90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24" y="108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48" y="132"/>
                    </a:lnTo>
                    <a:lnTo>
                      <a:pt x="60" y="132"/>
                    </a:lnTo>
                    <a:lnTo>
                      <a:pt x="66" y="144"/>
                    </a:lnTo>
                    <a:lnTo>
                      <a:pt x="72" y="144"/>
                    </a:lnTo>
                    <a:lnTo>
                      <a:pt x="78" y="156"/>
                    </a:lnTo>
                    <a:lnTo>
                      <a:pt x="90" y="156"/>
                    </a:lnTo>
                    <a:lnTo>
                      <a:pt x="96" y="162"/>
                    </a:lnTo>
                    <a:lnTo>
                      <a:pt x="102" y="162"/>
                    </a:lnTo>
                    <a:lnTo>
                      <a:pt x="102" y="174"/>
                    </a:lnTo>
                    <a:lnTo>
                      <a:pt x="120" y="192"/>
                    </a:lnTo>
                    <a:lnTo>
                      <a:pt x="132" y="192"/>
                    </a:lnTo>
                    <a:lnTo>
                      <a:pt x="144" y="186"/>
                    </a:lnTo>
                    <a:lnTo>
                      <a:pt x="150" y="186"/>
                    </a:lnTo>
                    <a:lnTo>
                      <a:pt x="162" y="192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62"/>
                    </a:lnTo>
                    <a:lnTo>
                      <a:pt x="180" y="156"/>
                    </a:lnTo>
                    <a:lnTo>
                      <a:pt x="198" y="156"/>
                    </a:lnTo>
                    <a:lnTo>
                      <a:pt x="210" y="162"/>
                    </a:lnTo>
                    <a:lnTo>
                      <a:pt x="222" y="174"/>
                    </a:lnTo>
                    <a:lnTo>
                      <a:pt x="234" y="168"/>
                    </a:lnTo>
                    <a:lnTo>
                      <a:pt x="246" y="180"/>
                    </a:lnTo>
                    <a:lnTo>
                      <a:pt x="258" y="174"/>
                    </a:lnTo>
                    <a:lnTo>
                      <a:pt x="264" y="168"/>
                    </a:lnTo>
                    <a:lnTo>
                      <a:pt x="276" y="168"/>
                    </a:lnTo>
                    <a:lnTo>
                      <a:pt x="282" y="174"/>
                    </a:lnTo>
                    <a:lnTo>
                      <a:pt x="288" y="174"/>
                    </a:lnTo>
                    <a:lnTo>
                      <a:pt x="300" y="180"/>
                    </a:lnTo>
                    <a:lnTo>
                      <a:pt x="306" y="174"/>
                    </a:lnTo>
                    <a:lnTo>
                      <a:pt x="324" y="174"/>
                    </a:lnTo>
                    <a:lnTo>
                      <a:pt x="330" y="168"/>
                    </a:lnTo>
                    <a:lnTo>
                      <a:pt x="330" y="174"/>
                    </a:lnTo>
                    <a:lnTo>
                      <a:pt x="348" y="174"/>
                    </a:lnTo>
                    <a:lnTo>
                      <a:pt x="360" y="168"/>
                    </a:lnTo>
                    <a:lnTo>
                      <a:pt x="366" y="162"/>
                    </a:lnTo>
                    <a:lnTo>
                      <a:pt x="378" y="156"/>
                    </a:lnTo>
                    <a:lnTo>
                      <a:pt x="378" y="132"/>
                    </a:lnTo>
                    <a:lnTo>
                      <a:pt x="402" y="126"/>
                    </a:lnTo>
                    <a:lnTo>
                      <a:pt x="420" y="114"/>
                    </a:lnTo>
                    <a:lnTo>
                      <a:pt x="414" y="108"/>
                    </a:lnTo>
                    <a:lnTo>
                      <a:pt x="408" y="108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4" name="Cypru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5D44BBC-F9B5-405A-8718-84F9026DAF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22617" y="3231591"/>
                <a:ext cx="66393" cy="38971"/>
              </a:xfrm>
              <a:custGeom>
                <a:avLst/>
                <a:gdLst>
                  <a:gd name="T0" fmla="*/ 0 w 150"/>
                  <a:gd name="T1" fmla="*/ 2147483647 h 84"/>
                  <a:gd name="T2" fmla="*/ 2147483647 w 150"/>
                  <a:gd name="T3" fmla="*/ 2147483647 h 84"/>
                  <a:gd name="T4" fmla="*/ 2147483647 w 150"/>
                  <a:gd name="T5" fmla="*/ 2147483647 h 84"/>
                  <a:gd name="T6" fmla="*/ 2147483647 w 150"/>
                  <a:gd name="T7" fmla="*/ 2147483647 h 84"/>
                  <a:gd name="T8" fmla="*/ 2147483647 w 150"/>
                  <a:gd name="T9" fmla="*/ 2147483647 h 84"/>
                  <a:gd name="T10" fmla="*/ 2147483647 w 150"/>
                  <a:gd name="T11" fmla="*/ 2147483647 h 84"/>
                  <a:gd name="T12" fmla="*/ 2147483647 w 150"/>
                  <a:gd name="T13" fmla="*/ 2147483647 h 84"/>
                  <a:gd name="T14" fmla="*/ 2147483647 w 150"/>
                  <a:gd name="T15" fmla="*/ 2147483647 h 84"/>
                  <a:gd name="T16" fmla="*/ 2147483647 w 150"/>
                  <a:gd name="T17" fmla="*/ 2147483647 h 84"/>
                  <a:gd name="T18" fmla="*/ 2147483647 w 150"/>
                  <a:gd name="T19" fmla="*/ 2147483647 h 84"/>
                  <a:gd name="T20" fmla="*/ 2147483647 w 150"/>
                  <a:gd name="T21" fmla="*/ 2147483647 h 84"/>
                  <a:gd name="T22" fmla="*/ 2147483647 w 150"/>
                  <a:gd name="T23" fmla="*/ 2147483647 h 84"/>
                  <a:gd name="T24" fmla="*/ 2147483647 w 150"/>
                  <a:gd name="T25" fmla="*/ 2147483647 h 84"/>
                  <a:gd name="T26" fmla="*/ 2147483647 w 150"/>
                  <a:gd name="T27" fmla="*/ 0 h 84"/>
                  <a:gd name="T28" fmla="*/ 2147483647 w 150"/>
                  <a:gd name="T29" fmla="*/ 2147483647 h 84"/>
                  <a:gd name="T30" fmla="*/ 2147483647 w 150"/>
                  <a:gd name="T31" fmla="*/ 2147483647 h 84"/>
                  <a:gd name="T32" fmla="*/ 2147483647 w 150"/>
                  <a:gd name="T33" fmla="*/ 2147483647 h 84"/>
                  <a:gd name="T34" fmla="*/ 2147483647 w 150"/>
                  <a:gd name="T35" fmla="*/ 2147483647 h 84"/>
                  <a:gd name="T36" fmla="*/ 2147483647 w 150"/>
                  <a:gd name="T37" fmla="*/ 2147483647 h 84"/>
                  <a:gd name="T38" fmla="*/ 0 w 150"/>
                  <a:gd name="T39" fmla="*/ 2147483647 h 84"/>
                  <a:gd name="T40" fmla="*/ 0 w 150"/>
                  <a:gd name="T41" fmla="*/ 2147483647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0"/>
                  <a:gd name="T64" fmla="*/ 0 h 84"/>
                  <a:gd name="T65" fmla="*/ 150 w 150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0" h="84">
                    <a:moveTo>
                      <a:pt x="0" y="48"/>
                    </a:moveTo>
                    <a:lnTo>
                      <a:pt x="6" y="60"/>
                    </a:lnTo>
                    <a:lnTo>
                      <a:pt x="30" y="72"/>
                    </a:lnTo>
                    <a:lnTo>
                      <a:pt x="36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72" y="72"/>
                    </a:lnTo>
                    <a:lnTo>
                      <a:pt x="78" y="66"/>
                    </a:lnTo>
                    <a:lnTo>
                      <a:pt x="90" y="60"/>
                    </a:lnTo>
                    <a:lnTo>
                      <a:pt x="96" y="54"/>
                    </a:lnTo>
                    <a:lnTo>
                      <a:pt x="102" y="60"/>
                    </a:lnTo>
                    <a:lnTo>
                      <a:pt x="120" y="60"/>
                    </a:lnTo>
                    <a:lnTo>
                      <a:pt x="120" y="36"/>
                    </a:lnTo>
                    <a:lnTo>
                      <a:pt x="150" y="0"/>
                    </a:lnTo>
                    <a:lnTo>
                      <a:pt x="108" y="24"/>
                    </a:lnTo>
                    <a:lnTo>
                      <a:pt x="54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12" y="36"/>
                    </a:lnTo>
                    <a:lnTo>
                      <a:pt x="0" y="42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5" name="Croat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1A88FDD-0844-48F4-B63B-4B360C8CD7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67019" y="2841881"/>
                <a:ext cx="162486" cy="123998"/>
              </a:xfrm>
              <a:custGeom>
                <a:avLst/>
                <a:gdLst>
                  <a:gd name="T0" fmla="*/ 2147483647 w 366"/>
                  <a:gd name="T1" fmla="*/ 2147483647 h 276"/>
                  <a:gd name="T2" fmla="*/ 2147483647 w 366"/>
                  <a:gd name="T3" fmla="*/ 2147483647 h 276"/>
                  <a:gd name="T4" fmla="*/ 2147483647 w 366"/>
                  <a:gd name="T5" fmla="*/ 2147483647 h 276"/>
                  <a:gd name="T6" fmla="*/ 2147483647 w 366"/>
                  <a:gd name="T7" fmla="*/ 2147483647 h 276"/>
                  <a:gd name="T8" fmla="*/ 2147483647 w 366"/>
                  <a:gd name="T9" fmla="*/ 2147483647 h 276"/>
                  <a:gd name="T10" fmla="*/ 2147483647 w 366"/>
                  <a:gd name="T11" fmla="*/ 2147483647 h 276"/>
                  <a:gd name="T12" fmla="*/ 2147483647 w 366"/>
                  <a:gd name="T13" fmla="*/ 2147483647 h 276"/>
                  <a:gd name="T14" fmla="*/ 2147483647 w 366"/>
                  <a:gd name="T15" fmla="*/ 2147483647 h 276"/>
                  <a:gd name="T16" fmla="*/ 2147483647 w 366"/>
                  <a:gd name="T17" fmla="*/ 2147483647 h 276"/>
                  <a:gd name="T18" fmla="*/ 2147483647 w 366"/>
                  <a:gd name="T19" fmla="*/ 2147483647 h 276"/>
                  <a:gd name="T20" fmla="*/ 2147483647 w 366"/>
                  <a:gd name="T21" fmla="*/ 2147483647 h 276"/>
                  <a:gd name="T22" fmla="*/ 2147483647 w 366"/>
                  <a:gd name="T23" fmla="*/ 0 h 276"/>
                  <a:gd name="T24" fmla="*/ 2147483647 w 366"/>
                  <a:gd name="T25" fmla="*/ 2147483647 h 276"/>
                  <a:gd name="T26" fmla="*/ 2147483647 w 366"/>
                  <a:gd name="T27" fmla="*/ 2147483647 h 276"/>
                  <a:gd name="T28" fmla="*/ 2147483647 w 366"/>
                  <a:gd name="T29" fmla="*/ 2147483647 h 276"/>
                  <a:gd name="T30" fmla="*/ 2147483647 w 366"/>
                  <a:gd name="T31" fmla="*/ 2147483647 h 276"/>
                  <a:gd name="T32" fmla="*/ 2147483647 w 366"/>
                  <a:gd name="T33" fmla="*/ 2147483647 h 276"/>
                  <a:gd name="T34" fmla="*/ 2147483647 w 366"/>
                  <a:gd name="T35" fmla="*/ 2147483647 h 276"/>
                  <a:gd name="T36" fmla="*/ 2147483647 w 366"/>
                  <a:gd name="T37" fmla="*/ 2147483647 h 276"/>
                  <a:gd name="T38" fmla="*/ 2147483647 w 366"/>
                  <a:gd name="T39" fmla="*/ 2147483647 h 276"/>
                  <a:gd name="T40" fmla="*/ 0 w 366"/>
                  <a:gd name="T41" fmla="*/ 2147483647 h 276"/>
                  <a:gd name="T42" fmla="*/ 2147483647 w 366"/>
                  <a:gd name="T43" fmla="*/ 2147483647 h 276"/>
                  <a:gd name="T44" fmla="*/ 2147483647 w 366"/>
                  <a:gd name="T45" fmla="*/ 2147483647 h 276"/>
                  <a:gd name="T46" fmla="*/ 2147483647 w 366"/>
                  <a:gd name="T47" fmla="*/ 2147483647 h 276"/>
                  <a:gd name="T48" fmla="*/ 2147483647 w 366"/>
                  <a:gd name="T49" fmla="*/ 2147483647 h 276"/>
                  <a:gd name="T50" fmla="*/ 2147483647 w 366"/>
                  <a:gd name="T51" fmla="*/ 2147483647 h 276"/>
                  <a:gd name="T52" fmla="*/ 2147483647 w 366"/>
                  <a:gd name="T53" fmla="*/ 2147483647 h 276"/>
                  <a:gd name="T54" fmla="*/ 2147483647 w 366"/>
                  <a:gd name="T55" fmla="*/ 2147483647 h 276"/>
                  <a:gd name="T56" fmla="*/ 2147483647 w 366"/>
                  <a:gd name="T57" fmla="*/ 2147483647 h 276"/>
                  <a:gd name="T58" fmla="*/ 2147483647 w 366"/>
                  <a:gd name="T59" fmla="*/ 2147483647 h 276"/>
                  <a:gd name="T60" fmla="*/ 2147483647 w 366"/>
                  <a:gd name="T61" fmla="*/ 2147483647 h 276"/>
                  <a:gd name="T62" fmla="*/ 2147483647 w 366"/>
                  <a:gd name="T63" fmla="*/ 2147483647 h 276"/>
                  <a:gd name="T64" fmla="*/ 2147483647 w 366"/>
                  <a:gd name="T65" fmla="*/ 2147483647 h 276"/>
                  <a:gd name="T66" fmla="*/ 2147483647 w 366"/>
                  <a:gd name="T67" fmla="*/ 2147483647 h 276"/>
                  <a:gd name="T68" fmla="*/ 2147483647 w 366"/>
                  <a:gd name="T69" fmla="*/ 2147483647 h 276"/>
                  <a:gd name="T70" fmla="*/ 2147483647 w 366"/>
                  <a:gd name="T71" fmla="*/ 2147483647 h 276"/>
                  <a:gd name="T72" fmla="*/ 2147483647 w 366"/>
                  <a:gd name="T73" fmla="*/ 2147483647 h 276"/>
                  <a:gd name="T74" fmla="*/ 2147483647 w 366"/>
                  <a:gd name="T75" fmla="*/ 2147483647 h 276"/>
                  <a:gd name="T76" fmla="*/ 2147483647 w 366"/>
                  <a:gd name="T77" fmla="*/ 2147483647 h 276"/>
                  <a:gd name="T78" fmla="*/ 2147483647 w 366"/>
                  <a:gd name="T79" fmla="*/ 2147483647 h 276"/>
                  <a:gd name="T80" fmla="*/ 2147483647 w 366"/>
                  <a:gd name="T81" fmla="*/ 2147483647 h 276"/>
                  <a:gd name="T82" fmla="*/ 2147483647 w 366"/>
                  <a:gd name="T83" fmla="*/ 2147483647 h 276"/>
                  <a:gd name="T84" fmla="*/ 2147483647 w 366"/>
                  <a:gd name="T85" fmla="*/ 2147483647 h 276"/>
                  <a:gd name="T86" fmla="*/ 2147483647 w 366"/>
                  <a:gd name="T87" fmla="*/ 2147483647 h 276"/>
                  <a:gd name="T88" fmla="*/ 2147483647 w 366"/>
                  <a:gd name="T89" fmla="*/ 2147483647 h 276"/>
                  <a:gd name="T90" fmla="*/ 2147483647 w 366"/>
                  <a:gd name="T91" fmla="*/ 2147483647 h 27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66"/>
                  <a:gd name="T139" fmla="*/ 0 h 276"/>
                  <a:gd name="T140" fmla="*/ 366 w 366"/>
                  <a:gd name="T141" fmla="*/ 276 h 27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66" h="276">
                    <a:moveTo>
                      <a:pt x="342" y="126"/>
                    </a:moveTo>
                    <a:lnTo>
                      <a:pt x="342" y="114"/>
                    </a:lnTo>
                    <a:lnTo>
                      <a:pt x="348" y="114"/>
                    </a:lnTo>
                    <a:lnTo>
                      <a:pt x="354" y="108"/>
                    </a:lnTo>
                    <a:lnTo>
                      <a:pt x="360" y="108"/>
                    </a:lnTo>
                    <a:lnTo>
                      <a:pt x="366" y="102"/>
                    </a:lnTo>
                    <a:lnTo>
                      <a:pt x="360" y="102"/>
                    </a:lnTo>
                    <a:lnTo>
                      <a:pt x="348" y="96"/>
                    </a:lnTo>
                    <a:lnTo>
                      <a:pt x="336" y="96"/>
                    </a:lnTo>
                    <a:lnTo>
                      <a:pt x="342" y="78"/>
                    </a:lnTo>
                    <a:lnTo>
                      <a:pt x="336" y="78"/>
                    </a:lnTo>
                    <a:lnTo>
                      <a:pt x="330" y="48"/>
                    </a:lnTo>
                    <a:lnTo>
                      <a:pt x="324" y="48"/>
                    </a:lnTo>
                    <a:lnTo>
                      <a:pt x="312" y="54"/>
                    </a:lnTo>
                    <a:lnTo>
                      <a:pt x="270" y="60"/>
                    </a:lnTo>
                    <a:lnTo>
                      <a:pt x="264" y="48"/>
                    </a:lnTo>
                    <a:lnTo>
                      <a:pt x="246" y="48"/>
                    </a:lnTo>
                    <a:lnTo>
                      <a:pt x="234" y="42"/>
                    </a:lnTo>
                    <a:lnTo>
                      <a:pt x="228" y="36"/>
                    </a:lnTo>
                    <a:lnTo>
                      <a:pt x="216" y="30"/>
                    </a:lnTo>
                    <a:lnTo>
                      <a:pt x="204" y="18"/>
                    </a:lnTo>
                    <a:lnTo>
                      <a:pt x="204" y="12"/>
                    </a:lnTo>
                    <a:lnTo>
                      <a:pt x="198" y="6"/>
                    </a:lnTo>
                    <a:lnTo>
                      <a:pt x="186" y="0"/>
                    </a:lnTo>
                    <a:lnTo>
                      <a:pt x="162" y="0"/>
                    </a:lnTo>
                    <a:lnTo>
                      <a:pt x="162" y="12"/>
                    </a:lnTo>
                    <a:lnTo>
                      <a:pt x="150" y="18"/>
                    </a:lnTo>
                    <a:lnTo>
                      <a:pt x="120" y="18"/>
                    </a:lnTo>
                    <a:lnTo>
                      <a:pt x="120" y="30"/>
                    </a:lnTo>
                    <a:lnTo>
                      <a:pt x="126" y="36"/>
                    </a:lnTo>
                    <a:lnTo>
                      <a:pt x="126" y="42"/>
                    </a:lnTo>
                    <a:lnTo>
                      <a:pt x="114" y="54"/>
                    </a:lnTo>
                    <a:lnTo>
                      <a:pt x="102" y="60"/>
                    </a:lnTo>
                    <a:lnTo>
                      <a:pt x="102" y="78"/>
                    </a:lnTo>
                    <a:lnTo>
                      <a:pt x="60" y="78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48" y="78"/>
                    </a:lnTo>
                    <a:lnTo>
                      <a:pt x="30" y="78"/>
                    </a:lnTo>
                    <a:lnTo>
                      <a:pt x="18" y="72"/>
                    </a:lnTo>
                    <a:lnTo>
                      <a:pt x="18" y="84"/>
                    </a:lnTo>
                    <a:lnTo>
                      <a:pt x="0" y="84"/>
                    </a:lnTo>
                    <a:lnTo>
                      <a:pt x="0" y="132"/>
                    </a:lnTo>
                    <a:lnTo>
                      <a:pt x="6" y="132"/>
                    </a:lnTo>
                    <a:lnTo>
                      <a:pt x="12" y="120"/>
                    </a:lnTo>
                    <a:lnTo>
                      <a:pt x="24" y="114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14"/>
                    </a:lnTo>
                    <a:lnTo>
                      <a:pt x="48" y="132"/>
                    </a:lnTo>
                    <a:lnTo>
                      <a:pt x="78" y="126"/>
                    </a:lnTo>
                    <a:lnTo>
                      <a:pt x="78" y="132"/>
                    </a:lnTo>
                    <a:lnTo>
                      <a:pt x="72" y="144"/>
                    </a:lnTo>
                    <a:lnTo>
                      <a:pt x="72" y="150"/>
                    </a:lnTo>
                    <a:lnTo>
                      <a:pt x="84" y="162"/>
                    </a:lnTo>
                    <a:lnTo>
                      <a:pt x="96" y="168"/>
                    </a:lnTo>
                    <a:lnTo>
                      <a:pt x="96" y="180"/>
                    </a:lnTo>
                    <a:lnTo>
                      <a:pt x="144" y="216"/>
                    </a:lnTo>
                    <a:lnTo>
                      <a:pt x="144" y="240"/>
                    </a:lnTo>
                    <a:lnTo>
                      <a:pt x="198" y="240"/>
                    </a:lnTo>
                    <a:lnTo>
                      <a:pt x="210" y="246"/>
                    </a:lnTo>
                    <a:lnTo>
                      <a:pt x="216" y="252"/>
                    </a:lnTo>
                    <a:lnTo>
                      <a:pt x="216" y="276"/>
                    </a:lnTo>
                    <a:lnTo>
                      <a:pt x="246" y="276"/>
                    </a:lnTo>
                    <a:lnTo>
                      <a:pt x="252" y="270"/>
                    </a:lnTo>
                    <a:lnTo>
                      <a:pt x="252" y="264"/>
                    </a:lnTo>
                    <a:lnTo>
                      <a:pt x="246" y="252"/>
                    </a:lnTo>
                    <a:lnTo>
                      <a:pt x="234" y="246"/>
                    </a:lnTo>
                    <a:lnTo>
                      <a:pt x="216" y="234"/>
                    </a:lnTo>
                    <a:lnTo>
                      <a:pt x="204" y="228"/>
                    </a:lnTo>
                    <a:lnTo>
                      <a:pt x="192" y="216"/>
                    </a:lnTo>
                    <a:lnTo>
                      <a:pt x="180" y="186"/>
                    </a:lnTo>
                    <a:lnTo>
                      <a:pt x="162" y="180"/>
                    </a:lnTo>
                    <a:lnTo>
                      <a:pt x="162" y="162"/>
                    </a:lnTo>
                    <a:lnTo>
                      <a:pt x="156" y="156"/>
                    </a:lnTo>
                    <a:lnTo>
                      <a:pt x="150" y="156"/>
                    </a:lnTo>
                    <a:lnTo>
                      <a:pt x="150" y="144"/>
                    </a:lnTo>
                    <a:lnTo>
                      <a:pt x="132" y="138"/>
                    </a:lnTo>
                    <a:lnTo>
                      <a:pt x="120" y="126"/>
                    </a:lnTo>
                    <a:lnTo>
                      <a:pt x="138" y="120"/>
                    </a:lnTo>
                    <a:lnTo>
                      <a:pt x="138" y="96"/>
                    </a:lnTo>
                    <a:lnTo>
                      <a:pt x="144" y="96"/>
                    </a:lnTo>
                    <a:lnTo>
                      <a:pt x="150" y="102"/>
                    </a:lnTo>
                    <a:lnTo>
                      <a:pt x="162" y="108"/>
                    </a:lnTo>
                    <a:lnTo>
                      <a:pt x="186" y="102"/>
                    </a:lnTo>
                    <a:lnTo>
                      <a:pt x="210" y="102"/>
                    </a:lnTo>
                    <a:lnTo>
                      <a:pt x="228" y="108"/>
                    </a:lnTo>
                    <a:lnTo>
                      <a:pt x="240" y="102"/>
                    </a:lnTo>
                    <a:lnTo>
                      <a:pt x="252" y="102"/>
                    </a:lnTo>
                    <a:lnTo>
                      <a:pt x="258" y="108"/>
                    </a:lnTo>
                    <a:lnTo>
                      <a:pt x="312" y="108"/>
                    </a:lnTo>
                    <a:lnTo>
                      <a:pt x="324" y="126"/>
                    </a:lnTo>
                    <a:lnTo>
                      <a:pt x="342" y="12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6" name="Bulga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896EF7D-E4EE-42D0-8837-4D2BBDBBE3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18611" y="2925137"/>
                <a:ext cx="174718" cy="100971"/>
              </a:xfrm>
              <a:custGeom>
                <a:avLst/>
                <a:gdLst>
                  <a:gd name="T0" fmla="*/ 2147483647 w 396"/>
                  <a:gd name="T1" fmla="*/ 2147483647 h 228"/>
                  <a:gd name="T2" fmla="*/ 2147483647 w 396"/>
                  <a:gd name="T3" fmla="*/ 2147483647 h 228"/>
                  <a:gd name="T4" fmla="*/ 2147483647 w 396"/>
                  <a:gd name="T5" fmla="*/ 2147483647 h 228"/>
                  <a:gd name="T6" fmla="*/ 2147483647 w 396"/>
                  <a:gd name="T7" fmla="*/ 2147483647 h 228"/>
                  <a:gd name="T8" fmla="*/ 2147483647 w 396"/>
                  <a:gd name="T9" fmla="*/ 2147483647 h 228"/>
                  <a:gd name="T10" fmla="*/ 2147483647 w 396"/>
                  <a:gd name="T11" fmla="*/ 2147483647 h 228"/>
                  <a:gd name="T12" fmla="*/ 2147483647 w 396"/>
                  <a:gd name="T13" fmla="*/ 2147483647 h 228"/>
                  <a:gd name="T14" fmla="*/ 2147483647 w 396"/>
                  <a:gd name="T15" fmla="*/ 0 h 228"/>
                  <a:gd name="T16" fmla="*/ 2147483647 w 396"/>
                  <a:gd name="T17" fmla="*/ 2147483647 h 228"/>
                  <a:gd name="T18" fmla="*/ 2147483647 w 396"/>
                  <a:gd name="T19" fmla="*/ 2147483647 h 228"/>
                  <a:gd name="T20" fmla="*/ 2147483647 w 396"/>
                  <a:gd name="T21" fmla="*/ 2147483647 h 228"/>
                  <a:gd name="T22" fmla="*/ 2147483647 w 396"/>
                  <a:gd name="T23" fmla="*/ 2147483647 h 228"/>
                  <a:gd name="T24" fmla="*/ 2147483647 w 396"/>
                  <a:gd name="T25" fmla="*/ 2147483647 h 228"/>
                  <a:gd name="T26" fmla="*/ 2147483647 w 396"/>
                  <a:gd name="T27" fmla="*/ 2147483647 h 228"/>
                  <a:gd name="T28" fmla="*/ 2147483647 w 396"/>
                  <a:gd name="T29" fmla="*/ 2147483647 h 228"/>
                  <a:gd name="T30" fmla="*/ 2147483647 w 396"/>
                  <a:gd name="T31" fmla="*/ 2147483647 h 228"/>
                  <a:gd name="T32" fmla="*/ 2147483647 w 396"/>
                  <a:gd name="T33" fmla="*/ 2147483647 h 228"/>
                  <a:gd name="T34" fmla="*/ 2147483647 w 396"/>
                  <a:gd name="T35" fmla="*/ 2147483647 h 228"/>
                  <a:gd name="T36" fmla="*/ 2147483647 w 396"/>
                  <a:gd name="T37" fmla="*/ 2147483647 h 228"/>
                  <a:gd name="T38" fmla="*/ 2147483647 w 396"/>
                  <a:gd name="T39" fmla="*/ 2147483647 h 228"/>
                  <a:gd name="T40" fmla="*/ 2147483647 w 396"/>
                  <a:gd name="T41" fmla="*/ 2147483647 h 228"/>
                  <a:gd name="T42" fmla="*/ 2147483647 w 396"/>
                  <a:gd name="T43" fmla="*/ 0 h 228"/>
                  <a:gd name="T44" fmla="*/ 0 w 396"/>
                  <a:gd name="T45" fmla="*/ 2147483647 h 228"/>
                  <a:gd name="T46" fmla="*/ 2147483647 w 396"/>
                  <a:gd name="T47" fmla="*/ 2147483647 h 228"/>
                  <a:gd name="T48" fmla="*/ 2147483647 w 396"/>
                  <a:gd name="T49" fmla="*/ 2147483647 h 228"/>
                  <a:gd name="T50" fmla="*/ 2147483647 w 396"/>
                  <a:gd name="T51" fmla="*/ 2147483647 h 228"/>
                  <a:gd name="T52" fmla="*/ 2147483647 w 396"/>
                  <a:gd name="T53" fmla="*/ 2147483647 h 228"/>
                  <a:gd name="T54" fmla="*/ 2147483647 w 396"/>
                  <a:gd name="T55" fmla="*/ 2147483647 h 228"/>
                  <a:gd name="T56" fmla="*/ 0 w 396"/>
                  <a:gd name="T57" fmla="*/ 2147483647 h 228"/>
                  <a:gd name="T58" fmla="*/ 2147483647 w 396"/>
                  <a:gd name="T59" fmla="*/ 2147483647 h 228"/>
                  <a:gd name="T60" fmla="*/ 2147483647 w 396"/>
                  <a:gd name="T61" fmla="*/ 2147483647 h 228"/>
                  <a:gd name="T62" fmla="*/ 2147483647 w 396"/>
                  <a:gd name="T63" fmla="*/ 2147483647 h 228"/>
                  <a:gd name="T64" fmla="*/ 2147483647 w 396"/>
                  <a:gd name="T65" fmla="*/ 2147483647 h 228"/>
                  <a:gd name="T66" fmla="*/ 2147483647 w 396"/>
                  <a:gd name="T67" fmla="*/ 2147483647 h 228"/>
                  <a:gd name="T68" fmla="*/ 2147483647 w 396"/>
                  <a:gd name="T69" fmla="*/ 2147483647 h 228"/>
                  <a:gd name="T70" fmla="*/ 2147483647 w 396"/>
                  <a:gd name="T71" fmla="*/ 2147483647 h 228"/>
                  <a:gd name="T72" fmla="*/ 2147483647 w 396"/>
                  <a:gd name="T73" fmla="*/ 2147483647 h 228"/>
                  <a:gd name="T74" fmla="*/ 2147483647 w 396"/>
                  <a:gd name="T75" fmla="*/ 2147483647 h 228"/>
                  <a:gd name="T76" fmla="*/ 2147483647 w 396"/>
                  <a:gd name="T77" fmla="*/ 2147483647 h 228"/>
                  <a:gd name="T78" fmla="*/ 2147483647 w 396"/>
                  <a:gd name="T79" fmla="*/ 2147483647 h 228"/>
                  <a:gd name="T80" fmla="*/ 2147483647 w 396"/>
                  <a:gd name="T81" fmla="*/ 2147483647 h 228"/>
                  <a:gd name="T82" fmla="*/ 2147483647 w 396"/>
                  <a:gd name="T83" fmla="*/ 2147483647 h 228"/>
                  <a:gd name="T84" fmla="*/ 2147483647 w 396"/>
                  <a:gd name="T85" fmla="*/ 2147483647 h 228"/>
                  <a:gd name="T86" fmla="*/ 2147483647 w 396"/>
                  <a:gd name="T87" fmla="*/ 2147483647 h 228"/>
                  <a:gd name="T88" fmla="*/ 2147483647 w 396"/>
                  <a:gd name="T89" fmla="*/ 2147483647 h 228"/>
                  <a:gd name="T90" fmla="*/ 2147483647 w 396"/>
                  <a:gd name="T91" fmla="*/ 2147483647 h 228"/>
                  <a:gd name="T92" fmla="*/ 2147483647 w 396"/>
                  <a:gd name="T93" fmla="*/ 2147483647 h 2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96"/>
                  <a:gd name="T142" fmla="*/ 0 h 228"/>
                  <a:gd name="T143" fmla="*/ 396 w 396"/>
                  <a:gd name="T144" fmla="*/ 228 h 2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96" h="228">
                    <a:moveTo>
                      <a:pt x="372" y="168"/>
                    </a:moveTo>
                    <a:lnTo>
                      <a:pt x="336" y="126"/>
                    </a:lnTo>
                    <a:lnTo>
                      <a:pt x="354" y="108"/>
                    </a:lnTo>
                    <a:lnTo>
                      <a:pt x="354" y="78"/>
                    </a:lnTo>
                    <a:lnTo>
                      <a:pt x="360" y="72"/>
                    </a:lnTo>
                    <a:lnTo>
                      <a:pt x="372" y="66"/>
                    </a:lnTo>
                    <a:lnTo>
                      <a:pt x="396" y="66"/>
                    </a:lnTo>
                    <a:lnTo>
                      <a:pt x="396" y="48"/>
                    </a:lnTo>
                    <a:lnTo>
                      <a:pt x="390" y="36"/>
                    </a:lnTo>
                    <a:lnTo>
                      <a:pt x="372" y="36"/>
                    </a:lnTo>
                    <a:lnTo>
                      <a:pt x="348" y="12"/>
                    </a:lnTo>
                    <a:lnTo>
                      <a:pt x="324" y="12"/>
                    </a:lnTo>
                    <a:lnTo>
                      <a:pt x="312" y="6"/>
                    </a:lnTo>
                    <a:lnTo>
                      <a:pt x="300" y="6"/>
                    </a:lnTo>
                    <a:lnTo>
                      <a:pt x="288" y="0"/>
                    </a:lnTo>
                    <a:lnTo>
                      <a:pt x="282" y="0"/>
                    </a:lnTo>
                    <a:lnTo>
                      <a:pt x="282" y="12"/>
                    </a:lnTo>
                    <a:lnTo>
                      <a:pt x="252" y="6"/>
                    </a:lnTo>
                    <a:lnTo>
                      <a:pt x="252" y="12"/>
                    </a:lnTo>
                    <a:lnTo>
                      <a:pt x="246" y="12"/>
                    </a:lnTo>
                    <a:lnTo>
                      <a:pt x="234" y="18"/>
                    </a:lnTo>
                    <a:lnTo>
                      <a:pt x="228" y="18"/>
                    </a:lnTo>
                    <a:lnTo>
                      <a:pt x="222" y="24"/>
                    </a:lnTo>
                    <a:lnTo>
                      <a:pt x="222" y="36"/>
                    </a:lnTo>
                    <a:lnTo>
                      <a:pt x="216" y="42"/>
                    </a:lnTo>
                    <a:lnTo>
                      <a:pt x="198" y="42"/>
                    </a:lnTo>
                    <a:lnTo>
                      <a:pt x="186" y="36"/>
                    </a:lnTo>
                    <a:lnTo>
                      <a:pt x="180" y="30"/>
                    </a:lnTo>
                    <a:lnTo>
                      <a:pt x="156" y="30"/>
                    </a:lnTo>
                    <a:lnTo>
                      <a:pt x="138" y="24"/>
                    </a:lnTo>
                    <a:lnTo>
                      <a:pt x="138" y="30"/>
                    </a:lnTo>
                    <a:lnTo>
                      <a:pt x="132" y="36"/>
                    </a:lnTo>
                    <a:lnTo>
                      <a:pt x="108" y="36"/>
                    </a:lnTo>
                    <a:lnTo>
                      <a:pt x="102" y="30"/>
                    </a:lnTo>
                    <a:lnTo>
                      <a:pt x="90" y="30"/>
                    </a:lnTo>
                    <a:lnTo>
                      <a:pt x="66" y="18"/>
                    </a:lnTo>
                    <a:lnTo>
                      <a:pt x="54" y="30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36" y="18"/>
                    </a:lnTo>
                    <a:lnTo>
                      <a:pt x="36" y="12"/>
                    </a:lnTo>
                    <a:lnTo>
                      <a:pt x="42" y="6"/>
                    </a:lnTo>
                    <a:lnTo>
                      <a:pt x="36" y="0"/>
                    </a:lnTo>
                    <a:lnTo>
                      <a:pt x="12" y="0"/>
                    </a:lnTo>
                    <a:lnTo>
                      <a:pt x="12" y="12"/>
                    </a:lnTo>
                    <a:lnTo>
                      <a:pt x="0" y="24"/>
                    </a:lnTo>
                    <a:lnTo>
                      <a:pt x="0" y="42"/>
                    </a:lnTo>
                    <a:lnTo>
                      <a:pt x="18" y="48"/>
                    </a:lnTo>
                    <a:lnTo>
                      <a:pt x="12" y="60"/>
                    </a:lnTo>
                    <a:lnTo>
                      <a:pt x="30" y="66"/>
                    </a:lnTo>
                    <a:lnTo>
                      <a:pt x="36" y="72"/>
                    </a:lnTo>
                    <a:lnTo>
                      <a:pt x="36" y="96"/>
                    </a:lnTo>
                    <a:lnTo>
                      <a:pt x="30" y="102"/>
                    </a:lnTo>
                    <a:lnTo>
                      <a:pt x="6" y="102"/>
                    </a:lnTo>
                    <a:lnTo>
                      <a:pt x="6" y="108"/>
                    </a:lnTo>
                    <a:lnTo>
                      <a:pt x="12" y="114"/>
                    </a:lnTo>
                    <a:lnTo>
                      <a:pt x="12" y="138"/>
                    </a:lnTo>
                    <a:lnTo>
                      <a:pt x="0" y="138"/>
                    </a:lnTo>
                    <a:lnTo>
                      <a:pt x="12" y="156"/>
                    </a:lnTo>
                    <a:lnTo>
                      <a:pt x="18" y="156"/>
                    </a:lnTo>
                    <a:lnTo>
                      <a:pt x="18" y="168"/>
                    </a:lnTo>
                    <a:lnTo>
                      <a:pt x="36" y="180"/>
                    </a:lnTo>
                    <a:lnTo>
                      <a:pt x="42" y="186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8" y="222"/>
                    </a:lnTo>
                    <a:lnTo>
                      <a:pt x="54" y="228"/>
                    </a:lnTo>
                    <a:lnTo>
                      <a:pt x="66" y="228"/>
                    </a:lnTo>
                    <a:lnTo>
                      <a:pt x="78" y="222"/>
                    </a:lnTo>
                    <a:lnTo>
                      <a:pt x="84" y="216"/>
                    </a:lnTo>
                    <a:lnTo>
                      <a:pt x="108" y="222"/>
                    </a:lnTo>
                    <a:lnTo>
                      <a:pt x="114" y="204"/>
                    </a:lnTo>
                    <a:lnTo>
                      <a:pt x="144" y="198"/>
                    </a:lnTo>
                    <a:lnTo>
                      <a:pt x="144" y="204"/>
                    </a:lnTo>
                    <a:lnTo>
                      <a:pt x="162" y="222"/>
                    </a:lnTo>
                    <a:lnTo>
                      <a:pt x="174" y="222"/>
                    </a:lnTo>
                    <a:lnTo>
                      <a:pt x="180" y="216"/>
                    </a:lnTo>
                    <a:lnTo>
                      <a:pt x="192" y="228"/>
                    </a:lnTo>
                    <a:lnTo>
                      <a:pt x="204" y="228"/>
                    </a:lnTo>
                    <a:lnTo>
                      <a:pt x="216" y="216"/>
                    </a:lnTo>
                    <a:lnTo>
                      <a:pt x="228" y="228"/>
                    </a:lnTo>
                    <a:lnTo>
                      <a:pt x="246" y="228"/>
                    </a:lnTo>
                    <a:lnTo>
                      <a:pt x="252" y="222"/>
                    </a:lnTo>
                    <a:lnTo>
                      <a:pt x="252" y="204"/>
                    </a:lnTo>
                    <a:lnTo>
                      <a:pt x="246" y="198"/>
                    </a:lnTo>
                    <a:lnTo>
                      <a:pt x="264" y="192"/>
                    </a:lnTo>
                    <a:lnTo>
                      <a:pt x="282" y="168"/>
                    </a:lnTo>
                    <a:lnTo>
                      <a:pt x="312" y="174"/>
                    </a:lnTo>
                    <a:lnTo>
                      <a:pt x="324" y="156"/>
                    </a:lnTo>
                    <a:lnTo>
                      <a:pt x="336" y="174"/>
                    </a:lnTo>
                    <a:lnTo>
                      <a:pt x="348" y="174"/>
                    </a:lnTo>
                    <a:lnTo>
                      <a:pt x="360" y="180"/>
                    </a:lnTo>
                    <a:lnTo>
                      <a:pt x="372" y="180"/>
                    </a:lnTo>
                    <a:lnTo>
                      <a:pt x="372" y="16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7" name="Bosnia and Herzegov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E7C6AA9-45BC-47BF-AF12-075376AF9A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21179" y="2884396"/>
                <a:ext cx="117060" cy="106285"/>
              </a:xfrm>
              <a:custGeom>
                <a:avLst/>
                <a:gdLst>
                  <a:gd name="T0" fmla="*/ 2147483647 w 264"/>
                  <a:gd name="T1" fmla="*/ 2147483647 h 234"/>
                  <a:gd name="T2" fmla="*/ 2147483647 w 264"/>
                  <a:gd name="T3" fmla="*/ 2147483647 h 234"/>
                  <a:gd name="T4" fmla="*/ 2147483647 w 264"/>
                  <a:gd name="T5" fmla="*/ 2147483647 h 234"/>
                  <a:gd name="T6" fmla="*/ 2147483647 w 264"/>
                  <a:gd name="T7" fmla="*/ 2147483647 h 234"/>
                  <a:gd name="T8" fmla="*/ 2147483647 w 264"/>
                  <a:gd name="T9" fmla="*/ 2147483647 h 234"/>
                  <a:gd name="T10" fmla="*/ 2147483647 w 264"/>
                  <a:gd name="T11" fmla="*/ 2147483647 h 234"/>
                  <a:gd name="T12" fmla="*/ 2147483647 w 264"/>
                  <a:gd name="T13" fmla="*/ 2147483647 h 234"/>
                  <a:gd name="T14" fmla="*/ 2147483647 w 264"/>
                  <a:gd name="T15" fmla="*/ 2147483647 h 234"/>
                  <a:gd name="T16" fmla="*/ 2147483647 w 264"/>
                  <a:gd name="T17" fmla="*/ 2147483647 h 234"/>
                  <a:gd name="T18" fmla="*/ 2147483647 w 264"/>
                  <a:gd name="T19" fmla="*/ 2147483647 h 234"/>
                  <a:gd name="T20" fmla="*/ 2147483647 w 264"/>
                  <a:gd name="T21" fmla="*/ 2147483647 h 234"/>
                  <a:gd name="T22" fmla="*/ 2147483647 w 264"/>
                  <a:gd name="T23" fmla="*/ 2147483647 h 234"/>
                  <a:gd name="T24" fmla="*/ 2147483647 w 264"/>
                  <a:gd name="T25" fmla="*/ 2147483647 h 234"/>
                  <a:gd name="T26" fmla="*/ 2147483647 w 264"/>
                  <a:gd name="T27" fmla="*/ 2147483647 h 234"/>
                  <a:gd name="T28" fmla="*/ 2147483647 w 264"/>
                  <a:gd name="T29" fmla="*/ 2147483647 h 234"/>
                  <a:gd name="T30" fmla="*/ 2147483647 w 264"/>
                  <a:gd name="T31" fmla="*/ 2147483647 h 234"/>
                  <a:gd name="T32" fmla="*/ 2147483647 w 264"/>
                  <a:gd name="T33" fmla="*/ 2147483647 h 234"/>
                  <a:gd name="T34" fmla="*/ 2147483647 w 264"/>
                  <a:gd name="T35" fmla="*/ 2147483647 h 234"/>
                  <a:gd name="T36" fmla="*/ 2147483647 w 264"/>
                  <a:gd name="T37" fmla="*/ 2147483647 h 234"/>
                  <a:gd name="T38" fmla="*/ 2147483647 w 264"/>
                  <a:gd name="T39" fmla="*/ 0 h 234"/>
                  <a:gd name="T40" fmla="*/ 2147483647 w 264"/>
                  <a:gd name="T41" fmla="*/ 0 h 234"/>
                  <a:gd name="T42" fmla="*/ 2147483647 w 264"/>
                  <a:gd name="T43" fmla="*/ 2147483647 h 234"/>
                  <a:gd name="T44" fmla="*/ 0 w 264"/>
                  <a:gd name="T45" fmla="*/ 2147483647 h 234"/>
                  <a:gd name="T46" fmla="*/ 2147483647 w 264"/>
                  <a:gd name="T47" fmla="*/ 2147483647 h 234"/>
                  <a:gd name="T48" fmla="*/ 2147483647 w 264"/>
                  <a:gd name="T49" fmla="*/ 2147483647 h 234"/>
                  <a:gd name="T50" fmla="*/ 2147483647 w 264"/>
                  <a:gd name="T51" fmla="*/ 2147483647 h 234"/>
                  <a:gd name="T52" fmla="*/ 2147483647 w 264"/>
                  <a:gd name="T53" fmla="*/ 2147483647 h 234"/>
                  <a:gd name="T54" fmla="*/ 2147483647 w 264"/>
                  <a:gd name="T55" fmla="*/ 2147483647 h 234"/>
                  <a:gd name="T56" fmla="*/ 2147483647 w 264"/>
                  <a:gd name="T57" fmla="*/ 2147483647 h 234"/>
                  <a:gd name="T58" fmla="*/ 2147483647 w 264"/>
                  <a:gd name="T59" fmla="*/ 2147483647 h 234"/>
                  <a:gd name="T60" fmla="*/ 2147483647 w 264"/>
                  <a:gd name="T61" fmla="*/ 2147483647 h 234"/>
                  <a:gd name="T62" fmla="*/ 2147483647 w 264"/>
                  <a:gd name="T63" fmla="*/ 2147483647 h 234"/>
                  <a:gd name="T64" fmla="*/ 2147483647 w 264"/>
                  <a:gd name="T65" fmla="*/ 2147483647 h 234"/>
                  <a:gd name="T66" fmla="*/ 2147483647 w 264"/>
                  <a:gd name="T67" fmla="*/ 2147483647 h 234"/>
                  <a:gd name="T68" fmla="*/ 2147483647 w 264"/>
                  <a:gd name="T69" fmla="*/ 2147483647 h 234"/>
                  <a:gd name="T70" fmla="*/ 2147483647 w 264"/>
                  <a:gd name="T71" fmla="*/ 2147483647 h 234"/>
                  <a:gd name="T72" fmla="*/ 2147483647 w 264"/>
                  <a:gd name="T73" fmla="*/ 2147483647 h 234"/>
                  <a:gd name="T74" fmla="*/ 2147483647 w 264"/>
                  <a:gd name="T75" fmla="*/ 2147483647 h 234"/>
                  <a:gd name="T76" fmla="*/ 2147483647 w 264"/>
                  <a:gd name="T77" fmla="*/ 2147483647 h 234"/>
                  <a:gd name="T78" fmla="*/ 2147483647 w 264"/>
                  <a:gd name="T79" fmla="*/ 2147483647 h 234"/>
                  <a:gd name="T80" fmla="*/ 2147483647 w 264"/>
                  <a:gd name="T81" fmla="*/ 2147483647 h 234"/>
                  <a:gd name="T82" fmla="*/ 2147483647 w 264"/>
                  <a:gd name="T83" fmla="*/ 2147483647 h 234"/>
                  <a:gd name="T84" fmla="*/ 2147483647 w 264"/>
                  <a:gd name="T85" fmla="*/ 2147483647 h 234"/>
                  <a:gd name="T86" fmla="*/ 2147483647 w 264"/>
                  <a:gd name="T87" fmla="*/ 2147483647 h 234"/>
                  <a:gd name="T88" fmla="*/ 2147483647 w 264"/>
                  <a:gd name="T89" fmla="*/ 2147483647 h 234"/>
                  <a:gd name="T90" fmla="*/ 2147483647 w 264"/>
                  <a:gd name="T91" fmla="*/ 2147483647 h 234"/>
                  <a:gd name="T92" fmla="*/ 2147483647 w 264"/>
                  <a:gd name="T93" fmla="*/ 2147483647 h 234"/>
                  <a:gd name="T94" fmla="*/ 2147483647 w 264"/>
                  <a:gd name="T95" fmla="*/ 2147483647 h 234"/>
                  <a:gd name="T96" fmla="*/ 2147483647 w 264"/>
                  <a:gd name="T97" fmla="*/ 2147483647 h 234"/>
                  <a:gd name="T98" fmla="*/ 2147483647 w 264"/>
                  <a:gd name="T99" fmla="*/ 2147483647 h 234"/>
                  <a:gd name="T100" fmla="*/ 2147483647 w 264"/>
                  <a:gd name="T101" fmla="*/ 2147483647 h 234"/>
                  <a:gd name="T102" fmla="*/ 2147483647 w 264"/>
                  <a:gd name="T103" fmla="*/ 2147483647 h 234"/>
                  <a:gd name="T104" fmla="*/ 2147483647 w 264"/>
                  <a:gd name="T105" fmla="*/ 2147483647 h 234"/>
                  <a:gd name="T106" fmla="*/ 2147483647 w 264"/>
                  <a:gd name="T107" fmla="*/ 2147483647 h 234"/>
                  <a:gd name="T108" fmla="*/ 2147483647 w 264"/>
                  <a:gd name="T109" fmla="*/ 2147483647 h 234"/>
                  <a:gd name="T110" fmla="*/ 2147483647 w 264"/>
                  <a:gd name="T111" fmla="*/ 2147483647 h 234"/>
                  <a:gd name="T112" fmla="*/ 2147483647 w 264"/>
                  <a:gd name="T113" fmla="*/ 2147483647 h 234"/>
                  <a:gd name="T114" fmla="*/ 2147483647 w 264"/>
                  <a:gd name="T115" fmla="*/ 2147483647 h 234"/>
                  <a:gd name="T116" fmla="*/ 2147483647 w 264"/>
                  <a:gd name="T117" fmla="*/ 2147483647 h 234"/>
                  <a:gd name="T118" fmla="*/ 2147483647 w 264"/>
                  <a:gd name="T119" fmla="*/ 2147483647 h 234"/>
                  <a:gd name="T120" fmla="*/ 2147483647 w 264"/>
                  <a:gd name="T121" fmla="*/ 2147483647 h 234"/>
                  <a:gd name="T122" fmla="*/ 2147483647 w 264"/>
                  <a:gd name="T123" fmla="*/ 2147483647 h 234"/>
                  <a:gd name="T124" fmla="*/ 2147483647 w 264"/>
                  <a:gd name="T125" fmla="*/ 2147483647 h 23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64"/>
                  <a:gd name="T190" fmla="*/ 0 h 234"/>
                  <a:gd name="T191" fmla="*/ 264 w 264"/>
                  <a:gd name="T192" fmla="*/ 234 h 23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64" h="234">
                    <a:moveTo>
                      <a:pt x="246" y="78"/>
                    </a:moveTo>
                    <a:lnTo>
                      <a:pt x="228" y="78"/>
                    </a:lnTo>
                    <a:lnTo>
                      <a:pt x="228" y="60"/>
                    </a:lnTo>
                    <a:lnTo>
                      <a:pt x="246" y="42"/>
                    </a:lnTo>
                    <a:lnTo>
                      <a:pt x="246" y="30"/>
                    </a:lnTo>
                    <a:lnTo>
                      <a:pt x="234" y="30"/>
                    </a:lnTo>
                    <a:lnTo>
                      <a:pt x="222" y="36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204" y="30"/>
                    </a:lnTo>
                    <a:lnTo>
                      <a:pt x="192" y="12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120" y="6"/>
                    </a:lnTo>
                    <a:lnTo>
                      <a:pt x="108" y="12"/>
                    </a:lnTo>
                    <a:lnTo>
                      <a:pt x="90" y="6"/>
                    </a:lnTo>
                    <a:lnTo>
                      <a:pt x="66" y="6"/>
                    </a:lnTo>
                    <a:lnTo>
                      <a:pt x="42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24"/>
                    </a:lnTo>
                    <a:lnTo>
                      <a:pt x="0" y="30"/>
                    </a:lnTo>
                    <a:lnTo>
                      <a:pt x="12" y="42"/>
                    </a:lnTo>
                    <a:lnTo>
                      <a:pt x="30" y="48"/>
                    </a:lnTo>
                    <a:lnTo>
                      <a:pt x="30" y="60"/>
                    </a:lnTo>
                    <a:lnTo>
                      <a:pt x="36" y="60"/>
                    </a:lnTo>
                    <a:lnTo>
                      <a:pt x="42" y="66"/>
                    </a:lnTo>
                    <a:lnTo>
                      <a:pt x="42" y="84"/>
                    </a:lnTo>
                    <a:lnTo>
                      <a:pt x="60" y="90"/>
                    </a:lnTo>
                    <a:lnTo>
                      <a:pt x="72" y="120"/>
                    </a:lnTo>
                    <a:lnTo>
                      <a:pt x="84" y="132"/>
                    </a:lnTo>
                    <a:lnTo>
                      <a:pt x="96" y="138"/>
                    </a:lnTo>
                    <a:lnTo>
                      <a:pt x="114" y="150"/>
                    </a:lnTo>
                    <a:lnTo>
                      <a:pt x="126" y="156"/>
                    </a:lnTo>
                    <a:lnTo>
                      <a:pt x="132" y="168"/>
                    </a:lnTo>
                    <a:lnTo>
                      <a:pt x="132" y="174"/>
                    </a:lnTo>
                    <a:lnTo>
                      <a:pt x="126" y="180"/>
                    </a:lnTo>
                    <a:lnTo>
                      <a:pt x="138" y="180"/>
                    </a:lnTo>
                    <a:lnTo>
                      <a:pt x="156" y="198"/>
                    </a:lnTo>
                    <a:lnTo>
                      <a:pt x="162" y="210"/>
                    </a:lnTo>
                    <a:lnTo>
                      <a:pt x="174" y="216"/>
                    </a:lnTo>
                    <a:lnTo>
                      <a:pt x="192" y="234"/>
                    </a:lnTo>
                    <a:lnTo>
                      <a:pt x="210" y="204"/>
                    </a:lnTo>
                    <a:lnTo>
                      <a:pt x="198" y="198"/>
                    </a:lnTo>
                    <a:lnTo>
                      <a:pt x="192" y="198"/>
                    </a:lnTo>
                    <a:lnTo>
                      <a:pt x="186" y="192"/>
                    </a:lnTo>
                    <a:lnTo>
                      <a:pt x="186" y="186"/>
                    </a:lnTo>
                    <a:lnTo>
                      <a:pt x="192" y="180"/>
                    </a:lnTo>
                    <a:lnTo>
                      <a:pt x="198" y="180"/>
                    </a:lnTo>
                    <a:lnTo>
                      <a:pt x="204" y="168"/>
                    </a:lnTo>
                    <a:lnTo>
                      <a:pt x="204" y="162"/>
                    </a:lnTo>
                    <a:lnTo>
                      <a:pt x="210" y="156"/>
                    </a:lnTo>
                    <a:lnTo>
                      <a:pt x="228" y="156"/>
                    </a:lnTo>
                    <a:lnTo>
                      <a:pt x="228" y="132"/>
                    </a:lnTo>
                    <a:lnTo>
                      <a:pt x="258" y="132"/>
                    </a:lnTo>
                    <a:lnTo>
                      <a:pt x="258" y="126"/>
                    </a:lnTo>
                    <a:lnTo>
                      <a:pt x="252" y="114"/>
                    </a:lnTo>
                    <a:lnTo>
                      <a:pt x="240" y="102"/>
                    </a:lnTo>
                    <a:lnTo>
                      <a:pt x="264" y="96"/>
                    </a:lnTo>
                    <a:lnTo>
                      <a:pt x="258" y="84"/>
                    </a:lnTo>
                    <a:lnTo>
                      <a:pt x="252" y="78"/>
                    </a:lnTo>
                    <a:lnTo>
                      <a:pt x="246" y="7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8" name="Bahrai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CF0BDB7-4EDF-4126-A348-1CF5C86FD9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106178" y="3562844"/>
                <a:ext cx="12230" cy="24800"/>
              </a:xfrm>
              <a:custGeom>
                <a:avLst/>
                <a:gdLst>
                  <a:gd name="T0" fmla="*/ 2147483647 w 15"/>
                  <a:gd name="T1" fmla="*/ 0 h 28"/>
                  <a:gd name="T2" fmla="*/ 2147483647 w 15"/>
                  <a:gd name="T3" fmla="*/ 2147483647 h 28"/>
                  <a:gd name="T4" fmla="*/ 2147483647 w 15"/>
                  <a:gd name="T5" fmla="*/ 2147483647 h 28"/>
                  <a:gd name="T6" fmla="*/ 2033064304 w 15"/>
                  <a:gd name="T7" fmla="*/ 2147483647 h 28"/>
                  <a:gd name="T8" fmla="*/ 813445092 w 15"/>
                  <a:gd name="T9" fmla="*/ 2147483647 h 28"/>
                  <a:gd name="T10" fmla="*/ 2147483647 w 15"/>
                  <a:gd name="T11" fmla="*/ 0 h 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8"/>
                  <a:gd name="T20" fmla="*/ 15 w 15"/>
                  <a:gd name="T21" fmla="*/ 28 h 2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8">
                    <a:moveTo>
                      <a:pt x="9" y="0"/>
                    </a:moveTo>
                    <a:cubicBezTo>
                      <a:pt x="14" y="0"/>
                      <a:pt x="15" y="10"/>
                      <a:pt x="14" y="14"/>
                    </a:cubicBezTo>
                    <a:cubicBezTo>
                      <a:pt x="13" y="18"/>
                      <a:pt x="15" y="28"/>
                      <a:pt x="9" y="28"/>
                    </a:cubicBezTo>
                    <a:cubicBezTo>
                      <a:pt x="4" y="27"/>
                      <a:pt x="5" y="21"/>
                      <a:pt x="5" y="18"/>
                    </a:cubicBezTo>
                    <a:cubicBezTo>
                      <a:pt x="5" y="14"/>
                      <a:pt x="0" y="14"/>
                      <a:pt x="2" y="8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99" name="Austr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544D02A-A80E-45E0-BACC-46838DE776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51703" y="2753312"/>
                <a:ext cx="202672" cy="90343"/>
              </a:xfrm>
              <a:custGeom>
                <a:avLst/>
                <a:gdLst>
                  <a:gd name="T0" fmla="*/ 2147483647 w 456"/>
                  <a:gd name="T1" fmla="*/ 2147483647 h 204"/>
                  <a:gd name="T2" fmla="*/ 2147483647 w 456"/>
                  <a:gd name="T3" fmla="*/ 2147483647 h 204"/>
                  <a:gd name="T4" fmla="*/ 2147483647 w 456"/>
                  <a:gd name="T5" fmla="*/ 2147483647 h 204"/>
                  <a:gd name="T6" fmla="*/ 2147483647 w 456"/>
                  <a:gd name="T7" fmla="*/ 2147483647 h 204"/>
                  <a:gd name="T8" fmla="*/ 2147483647 w 456"/>
                  <a:gd name="T9" fmla="*/ 2147483647 h 204"/>
                  <a:gd name="T10" fmla="*/ 2147483647 w 456"/>
                  <a:gd name="T11" fmla="*/ 2147483647 h 204"/>
                  <a:gd name="T12" fmla="*/ 2147483647 w 456"/>
                  <a:gd name="T13" fmla="*/ 2147483647 h 204"/>
                  <a:gd name="T14" fmla="*/ 2147483647 w 456"/>
                  <a:gd name="T15" fmla="*/ 0 h 204"/>
                  <a:gd name="T16" fmla="*/ 2147483647 w 456"/>
                  <a:gd name="T17" fmla="*/ 2147483647 h 204"/>
                  <a:gd name="T18" fmla="*/ 2147483647 w 456"/>
                  <a:gd name="T19" fmla="*/ 2147483647 h 204"/>
                  <a:gd name="T20" fmla="*/ 2147483647 w 456"/>
                  <a:gd name="T21" fmla="*/ 2147483647 h 204"/>
                  <a:gd name="T22" fmla="*/ 2147483647 w 456"/>
                  <a:gd name="T23" fmla="*/ 2147483647 h 204"/>
                  <a:gd name="T24" fmla="*/ 2147483647 w 456"/>
                  <a:gd name="T25" fmla="*/ 2147483647 h 204"/>
                  <a:gd name="T26" fmla="*/ 2147483647 w 456"/>
                  <a:gd name="T27" fmla="*/ 2147483647 h 204"/>
                  <a:gd name="T28" fmla="*/ 2147483647 w 456"/>
                  <a:gd name="T29" fmla="*/ 2147483647 h 204"/>
                  <a:gd name="T30" fmla="*/ 2147483647 w 456"/>
                  <a:gd name="T31" fmla="*/ 2147483647 h 204"/>
                  <a:gd name="T32" fmla="*/ 2147483647 w 456"/>
                  <a:gd name="T33" fmla="*/ 2147483647 h 204"/>
                  <a:gd name="T34" fmla="*/ 2147483647 w 456"/>
                  <a:gd name="T35" fmla="*/ 2147483647 h 204"/>
                  <a:gd name="T36" fmla="*/ 2147483647 w 456"/>
                  <a:gd name="T37" fmla="*/ 2147483647 h 204"/>
                  <a:gd name="T38" fmla="*/ 2147483647 w 456"/>
                  <a:gd name="T39" fmla="*/ 2147483647 h 204"/>
                  <a:gd name="T40" fmla="*/ 2147483647 w 456"/>
                  <a:gd name="T41" fmla="*/ 2147483647 h 204"/>
                  <a:gd name="T42" fmla="*/ 2147483647 w 456"/>
                  <a:gd name="T43" fmla="*/ 2147483647 h 204"/>
                  <a:gd name="T44" fmla="*/ 2147483647 w 456"/>
                  <a:gd name="T45" fmla="*/ 2147483647 h 204"/>
                  <a:gd name="T46" fmla="*/ 2147483647 w 456"/>
                  <a:gd name="T47" fmla="*/ 2147483647 h 204"/>
                  <a:gd name="T48" fmla="*/ 2147483647 w 456"/>
                  <a:gd name="T49" fmla="*/ 2147483647 h 204"/>
                  <a:gd name="T50" fmla="*/ 2147483647 w 456"/>
                  <a:gd name="T51" fmla="*/ 2147483647 h 204"/>
                  <a:gd name="T52" fmla="*/ 2147483647 w 456"/>
                  <a:gd name="T53" fmla="*/ 2147483647 h 204"/>
                  <a:gd name="T54" fmla="*/ 0 w 456"/>
                  <a:gd name="T55" fmla="*/ 2147483647 h 204"/>
                  <a:gd name="T56" fmla="*/ 2147483647 w 456"/>
                  <a:gd name="T57" fmla="*/ 2147483647 h 204"/>
                  <a:gd name="T58" fmla="*/ 2147483647 w 456"/>
                  <a:gd name="T59" fmla="*/ 2147483647 h 204"/>
                  <a:gd name="T60" fmla="*/ 2147483647 w 456"/>
                  <a:gd name="T61" fmla="*/ 2147483647 h 204"/>
                  <a:gd name="T62" fmla="*/ 2147483647 w 456"/>
                  <a:gd name="T63" fmla="*/ 2147483647 h 204"/>
                  <a:gd name="T64" fmla="*/ 2147483647 w 456"/>
                  <a:gd name="T65" fmla="*/ 2147483647 h 204"/>
                  <a:gd name="T66" fmla="*/ 2147483647 w 456"/>
                  <a:gd name="T67" fmla="*/ 2147483647 h 204"/>
                  <a:gd name="T68" fmla="*/ 2147483647 w 456"/>
                  <a:gd name="T69" fmla="*/ 2147483647 h 204"/>
                  <a:gd name="T70" fmla="*/ 2147483647 w 456"/>
                  <a:gd name="T71" fmla="*/ 2147483647 h 204"/>
                  <a:gd name="T72" fmla="*/ 2147483647 w 456"/>
                  <a:gd name="T73" fmla="*/ 2147483647 h 204"/>
                  <a:gd name="T74" fmla="*/ 2147483647 w 456"/>
                  <a:gd name="T75" fmla="*/ 2147483647 h 204"/>
                  <a:gd name="T76" fmla="*/ 2147483647 w 456"/>
                  <a:gd name="T77" fmla="*/ 2147483647 h 204"/>
                  <a:gd name="T78" fmla="*/ 2147483647 w 456"/>
                  <a:gd name="T79" fmla="*/ 2147483647 h 204"/>
                  <a:gd name="T80" fmla="*/ 2147483647 w 456"/>
                  <a:gd name="T81" fmla="*/ 2147483647 h 204"/>
                  <a:gd name="T82" fmla="*/ 2147483647 w 456"/>
                  <a:gd name="T83" fmla="*/ 2147483647 h 204"/>
                  <a:gd name="T84" fmla="*/ 2147483647 w 456"/>
                  <a:gd name="T85" fmla="*/ 2147483647 h 204"/>
                  <a:gd name="T86" fmla="*/ 2147483647 w 456"/>
                  <a:gd name="T87" fmla="*/ 2147483647 h 204"/>
                  <a:gd name="T88" fmla="*/ 2147483647 w 456"/>
                  <a:gd name="T89" fmla="*/ 2147483647 h 204"/>
                  <a:gd name="T90" fmla="*/ 2147483647 w 456"/>
                  <a:gd name="T91" fmla="*/ 2147483647 h 20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56"/>
                  <a:gd name="T139" fmla="*/ 0 h 204"/>
                  <a:gd name="T140" fmla="*/ 456 w 456"/>
                  <a:gd name="T141" fmla="*/ 204 h 20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56" h="204">
                    <a:moveTo>
                      <a:pt x="456" y="102"/>
                    </a:moveTo>
                    <a:lnTo>
                      <a:pt x="456" y="60"/>
                    </a:lnTo>
                    <a:lnTo>
                      <a:pt x="450" y="60"/>
                    </a:lnTo>
                    <a:lnTo>
                      <a:pt x="450" y="48"/>
                    </a:lnTo>
                    <a:lnTo>
                      <a:pt x="456" y="24"/>
                    </a:lnTo>
                    <a:lnTo>
                      <a:pt x="444" y="18"/>
                    </a:lnTo>
                    <a:lnTo>
                      <a:pt x="438" y="18"/>
                    </a:lnTo>
                    <a:lnTo>
                      <a:pt x="432" y="12"/>
                    </a:lnTo>
                    <a:lnTo>
                      <a:pt x="420" y="12"/>
                    </a:lnTo>
                    <a:lnTo>
                      <a:pt x="414" y="18"/>
                    </a:lnTo>
                    <a:lnTo>
                      <a:pt x="402" y="24"/>
                    </a:lnTo>
                    <a:lnTo>
                      <a:pt x="390" y="12"/>
                    </a:lnTo>
                    <a:lnTo>
                      <a:pt x="378" y="18"/>
                    </a:lnTo>
                    <a:lnTo>
                      <a:pt x="366" y="6"/>
                    </a:lnTo>
                    <a:lnTo>
                      <a:pt x="354" y="0"/>
                    </a:lnTo>
                    <a:lnTo>
                      <a:pt x="336" y="0"/>
                    </a:lnTo>
                    <a:lnTo>
                      <a:pt x="330" y="6"/>
                    </a:lnTo>
                    <a:lnTo>
                      <a:pt x="324" y="18"/>
                    </a:lnTo>
                    <a:lnTo>
                      <a:pt x="318" y="18"/>
                    </a:lnTo>
                    <a:lnTo>
                      <a:pt x="318" y="36"/>
                    </a:lnTo>
                    <a:lnTo>
                      <a:pt x="306" y="30"/>
                    </a:lnTo>
                    <a:lnTo>
                      <a:pt x="300" y="30"/>
                    </a:lnTo>
                    <a:lnTo>
                      <a:pt x="288" y="36"/>
                    </a:lnTo>
                    <a:lnTo>
                      <a:pt x="276" y="36"/>
                    </a:lnTo>
                    <a:lnTo>
                      <a:pt x="258" y="18"/>
                    </a:lnTo>
                    <a:lnTo>
                      <a:pt x="252" y="36"/>
                    </a:lnTo>
                    <a:lnTo>
                      <a:pt x="234" y="36"/>
                    </a:lnTo>
                    <a:lnTo>
                      <a:pt x="240" y="48"/>
                    </a:lnTo>
                    <a:lnTo>
                      <a:pt x="240" y="66"/>
                    </a:lnTo>
                    <a:lnTo>
                      <a:pt x="234" y="66"/>
                    </a:lnTo>
                    <a:lnTo>
                      <a:pt x="228" y="60"/>
                    </a:lnTo>
                    <a:lnTo>
                      <a:pt x="210" y="60"/>
                    </a:lnTo>
                    <a:lnTo>
                      <a:pt x="204" y="66"/>
                    </a:lnTo>
                    <a:lnTo>
                      <a:pt x="204" y="72"/>
                    </a:lnTo>
                    <a:lnTo>
                      <a:pt x="198" y="78"/>
                    </a:lnTo>
                    <a:lnTo>
                      <a:pt x="198" y="84"/>
                    </a:lnTo>
                    <a:lnTo>
                      <a:pt x="210" y="84"/>
                    </a:lnTo>
                    <a:lnTo>
                      <a:pt x="210" y="126"/>
                    </a:lnTo>
                    <a:lnTo>
                      <a:pt x="204" y="126"/>
                    </a:lnTo>
                    <a:lnTo>
                      <a:pt x="192" y="114"/>
                    </a:lnTo>
                    <a:lnTo>
                      <a:pt x="174" y="108"/>
                    </a:lnTo>
                    <a:lnTo>
                      <a:pt x="162" y="102"/>
                    </a:lnTo>
                    <a:lnTo>
                      <a:pt x="144" y="114"/>
                    </a:lnTo>
                    <a:lnTo>
                      <a:pt x="126" y="114"/>
                    </a:lnTo>
                    <a:lnTo>
                      <a:pt x="108" y="126"/>
                    </a:lnTo>
                    <a:lnTo>
                      <a:pt x="102" y="132"/>
                    </a:lnTo>
                    <a:lnTo>
                      <a:pt x="84" y="132"/>
                    </a:lnTo>
                    <a:lnTo>
                      <a:pt x="66" y="114"/>
                    </a:lnTo>
                    <a:lnTo>
                      <a:pt x="48" y="114"/>
                    </a:lnTo>
                    <a:lnTo>
                      <a:pt x="48" y="126"/>
                    </a:lnTo>
                    <a:lnTo>
                      <a:pt x="42" y="132"/>
                    </a:lnTo>
                    <a:lnTo>
                      <a:pt x="30" y="132"/>
                    </a:lnTo>
                    <a:lnTo>
                      <a:pt x="30" y="126"/>
                    </a:lnTo>
                    <a:lnTo>
                      <a:pt x="24" y="120"/>
                    </a:lnTo>
                    <a:lnTo>
                      <a:pt x="0" y="120"/>
                    </a:lnTo>
                    <a:lnTo>
                      <a:pt x="0" y="156"/>
                    </a:lnTo>
                    <a:lnTo>
                      <a:pt x="18" y="156"/>
                    </a:lnTo>
                    <a:lnTo>
                      <a:pt x="18" y="174"/>
                    </a:lnTo>
                    <a:lnTo>
                      <a:pt x="24" y="174"/>
                    </a:lnTo>
                    <a:lnTo>
                      <a:pt x="42" y="156"/>
                    </a:lnTo>
                    <a:lnTo>
                      <a:pt x="48" y="156"/>
                    </a:lnTo>
                    <a:lnTo>
                      <a:pt x="60" y="168"/>
                    </a:lnTo>
                    <a:lnTo>
                      <a:pt x="60" y="174"/>
                    </a:lnTo>
                    <a:lnTo>
                      <a:pt x="72" y="174"/>
                    </a:lnTo>
                    <a:lnTo>
                      <a:pt x="84" y="180"/>
                    </a:lnTo>
                    <a:lnTo>
                      <a:pt x="96" y="162"/>
                    </a:lnTo>
                    <a:lnTo>
                      <a:pt x="138" y="162"/>
                    </a:lnTo>
                    <a:lnTo>
                      <a:pt x="138" y="156"/>
                    </a:lnTo>
                    <a:lnTo>
                      <a:pt x="144" y="150"/>
                    </a:lnTo>
                    <a:lnTo>
                      <a:pt x="162" y="150"/>
                    </a:lnTo>
                    <a:lnTo>
                      <a:pt x="168" y="156"/>
                    </a:lnTo>
                    <a:lnTo>
                      <a:pt x="168" y="174"/>
                    </a:lnTo>
                    <a:lnTo>
                      <a:pt x="180" y="174"/>
                    </a:lnTo>
                    <a:lnTo>
                      <a:pt x="186" y="192"/>
                    </a:lnTo>
                    <a:lnTo>
                      <a:pt x="240" y="192"/>
                    </a:lnTo>
                    <a:lnTo>
                      <a:pt x="240" y="204"/>
                    </a:lnTo>
                    <a:lnTo>
                      <a:pt x="258" y="204"/>
                    </a:lnTo>
                    <a:lnTo>
                      <a:pt x="264" y="198"/>
                    </a:lnTo>
                    <a:lnTo>
                      <a:pt x="282" y="198"/>
                    </a:lnTo>
                    <a:lnTo>
                      <a:pt x="288" y="204"/>
                    </a:lnTo>
                    <a:lnTo>
                      <a:pt x="318" y="204"/>
                    </a:lnTo>
                    <a:lnTo>
                      <a:pt x="318" y="192"/>
                    </a:lnTo>
                    <a:lnTo>
                      <a:pt x="366" y="192"/>
                    </a:lnTo>
                    <a:lnTo>
                      <a:pt x="378" y="186"/>
                    </a:lnTo>
                    <a:lnTo>
                      <a:pt x="402" y="192"/>
                    </a:lnTo>
                    <a:lnTo>
                      <a:pt x="414" y="156"/>
                    </a:lnTo>
                    <a:lnTo>
                      <a:pt x="432" y="156"/>
                    </a:lnTo>
                    <a:lnTo>
                      <a:pt x="432" y="132"/>
                    </a:lnTo>
                    <a:lnTo>
                      <a:pt x="444" y="114"/>
                    </a:lnTo>
                    <a:lnTo>
                      <a:pt x="432" y="114"/>
                    </a:lnTo>
                    <a:lnTo>
                      <a:pt x="438" y="102"/>
                    </a:lnTo>
                    <a:lnTo>
                      <a:pt x="456" y="102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300" name="Alb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DEAF666-AE99-48B6-8DEE-D82876E8C0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20772" y="2980052"/>
                <a:ext cx="64644" cy="109827"/>
              </a:xfrm>
              <a:custGeom>
                <a:avLst/>
                <a:gdLst>
                  <a:gd name="T0" fmla="*/ 2147483647 w 144"/>
                  <a:gd name="T1" fmla="*/ 2147483647 h 246"/>
                  <a:gd name="T2" fmla="*/ 2147483647 w 144"/>
                  <a:gd name="T3" fmla="*/ 2147483647 h 246"/>
                  <a:gd name="T4" fmla="*/ 2147483647 w 144"/>
                  <a:gd name="T5" fmla="*/ 2147483647 h 246"/>
                  <a:gd name="T6" fmla="*/ 2147483647 w 144"/>
                  <a:gd name="T7" fmla="*/ 2147483647 h 246"/>
                  <a:gd name="T8" fmla="*/ 2147483647 w 144"/>
                  <a:gd name="T9" fmla="*/ 2147483647 h 246"/>
                  <a:gd name="T10" fmla="*/ 2147483647 w 144"/>
                  <a:gd name="T11" fmla="*/ 2147483647 h 246"/>
                  <a:gd name="T12" fmla="*/ 2147483647 w 144"/>
                  <a:gd name="T13" fmla="*/ 2147483647 h 246"/>
                  <a:gd name="T14" fmla="*/ 2147483647 w 144"/>
                  <a:gd name="T15" fmla="*/ 2147483647 h 246"/>
                  <a:gd name="T16" fmla="*/ 2147483647 w 144"/>
                  <a:gd name="T17" fmla="*/ 2147483647 h 246"/>
                  <a:gd name="T18" fmla="*/ 2147483647 w 144"/>
                  <a:gd name="T19" fmla="*/ 2147483647 h 246"/>
                  <a:gd name="T20" fmla="*/ 2147483647 w 144"/>
                  <a:gd name="T21" fmla="*/ 2147483647 h 246"/>
                  <a:gd name="T22" fmla="*/ 2147483647 w 144"/>
                  <a:gd name="T23" fmla="*/ 2147483647 h 246"/>
                  <a:gd name="T24" fmla="*/ 2147483647 w 144"/>
                  <a:gd name="T25" fmla="*/ 2147483647 h 246"/>
                  <a:gd name="T26" fmla="*/ 2147483647 w 144"/>
                  <a:gd name="T27" fmla="*/ 2147483647 h 246"/>
                  <a:gd name="T28" fmla="*/ 2147483647 w 144"/>
                  <a:gd name="T29" fmla="*/ 2147483647 h 246"/>
                  <a:gd name="T30" fmla="*/ 2147483647 w 144"/>
                  <a:gd name="T31" fmla="*/ 2147483647 h 246"/>
                  <a:gd name="T32" fmla="*/ 2147483647 w 144"/>
                  <a:gd name="T33" fmla="*/ 2147483647 h 246"/>
                  <a:gd name="T34" fmla="*/ 2147483647 w 144"/>
                  <a:gd name="T35" fmla="*/ 2147483647 h 246"/>
                  <a:gd name="T36" fmla="*/ 2147483647 w 144"/>
                  <a:gd name="T37" fmla="*/ 2147483647 h 246"/>
                  <a:gd name="T38" fmla="*/ 2147483647 w 144"/>
                  <a:gd name="T39" fmla="*/ 0 h 246"/>
                  <a:gd name="T40" fmla="*/ 2147483647 w 144"/>
                  <a:gd name="T41" fmla="*/ 2147483647 h 246"/>
                  <a:gd name="T42" fmla="*/ 2147483647 w 144"/>
                  <a:gd name="T43" fmla="*/ 2147483647 h 246"/>
                  <a:gd name="T44" fmla="*/ 0 w 144"/>
                  <a:gd name="T45" fmla="*/ 2147483647 h 246"/>
                  <a:gd name="T46" fmla="*/ 2147483647 w 144"/>
                  <a:gd name="T47" fmla="*/ 2147483647 h 246"/>
                  <a:gd name="T48" fmla="*/ 2147483647 w 144"/>
                  <a:gd name="T49" fmla="*/ 2147483647 h 246"/>
                  <a:gd name="T50" fmla="*/ 2147483647 w 144"/>
                  <a:gd name="T51" fmla="*/ 2147483647 h 246"/>
                  <a:gd name="T52" fmla="*/ 2147483647 w 144"/>
                  <a:gd name="T53" fmla="*/ 2147483647 h 246"/>
                  <a:gd name="T54" fmla="*/ 2147483647 w 144"/>
                  <a:gd name="T55" fmla="*/ 2147483647 h 246"/>
                  <a:gd name="T56" fmla="*/ 2147483647 w 144"/>
                  <a:gd name="T57" fmla="*/ 2147483647 h 246"/>
                  <a:gd name="T58" fmla="*/ 2147483647 w 144"/>
                  <a:gd name="T59" fmla="*/ 2147483647 h 246"/>
                  <a:gd name="T60" fmla="*/ 2147483647 w 144"/>
                  <a:gd name="T61" fmla="*/ 2147483647 h 246"/>
                  <a:gd name="T62" fmla="*/ 2147483647 w 144"/>
                  <a:gd name="T63" fmla="*/ 2147483647 h 246"/>
                  <a:gd name="T64" fmla="*/ 2147483647 w 144"/>
                  <a:gd name="T65" fmla="*/ 2147483647 h 246"/>
                  <a:gd name="T66" fmla="*/ 2147483647 w 144"/>
                  <a:gd name="T67" fmla="*/ 2147483647 h 246"/>
                  <a:gd name="T68" fmla="*/ 2147483647 w 144"/>
                  <a:gd name="T69" fmla="*/ 2147483647 h 246"/>
                  <a:gd name="T70" fmla="*/ 2147483647 w 144"/>
                  <a:gd name="T71" fmla="*/ 2147483647 h 246"/>
                  <a:gd name="T72" fmla="*/ 2147483647 w 144"/>
                  <a:gd name="T73" fmla="*/ 2147483647 h 246"/>
                  <a:gd name="T74" fmla="*/ 2147483647 w 144"/>
                  <a:gd name="T75" fmla="*/ 2147483647 h 246"/>
                  <a:gd name="T76" fmla="*/ 2147483647 w 144"/>
                  <a:gd name="T77" fmla="*/ 2147483647 h 246"/>
                  <a:gd name="T78" fmla="*/ 2147483647 w 144"/>
                  <a:gd name="T79" fmla="*/ 2147483647 h 246"/>
                  <a:gd name="T80" fmla="*/ 2147483647 w 144"/>
                  <a:gd name="T81" fmla="*/ 2147483647 h 246"/>
                  <a:gd name="T82" fmla="*/ 2147483647 w 144"/>
                  <a:gd name="T83" fmla="*/ 2147483647 h 246"/>
                  <a:gd name="T84" fmla="*/ 2147483647 w 144"/>
                  <a:gd name="T85" fmla="*/ 2147483647 h 246"/>
                  <a:gd name="T86" fmla="*/ 2147483647 w 144"/>
                  <a:gd name="T87" fmla="*/ 2147483647 h 246"/>
                  <a:gd name="T88" fmla="*/ 2147483647 w 144"/>
                  <a:gd name="T89" fmla="*/ 2147483647 h 24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44"/>
                  <a:gd name="T136" fmla="*/ 0 h 246"/>
                  <a:gd name="T137" fmla="*/ 144 w 144"/>
                  <a:gd name="T138" fmla="*/ 246 h 24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44" h="246">
                    <a:moveTo>
                      <a:pt x="96" y="210"/>
                    </a:moveTo>
                    <a:lnTo>
                      <a:pt x="96" y="204"/>
                    </a:lnTo>
                    <a:lnTo>
                      <a:pt x="108" y="204"/>
                    </a:lnTo>
                    <a:lnTo>
                      <a:pt x="120" y="198"/>
                    </a:lnTo>
                    <a:lnTo>
                      <a:pt x="120" y="174"/>
                    </a:lnTo>
                    <a:lnTo>
                      <a:pt x="138" y="174"/>
                    </a:lnTo>
                    <a:lnTo>
                      <a:pt x="144" y="168"/>
                    </a:lnTo>
                    <a:lnTo>
                      <a:pt x="144" y="138"/>
                    </a:lnTo>
                    <a:lnTo>
                      <a:pt x="120" y="144"/>
                    </a:lnTo>
                    <a:lnTo>
                      <a:pt x="120" y="126"/>
                    </a:lnTo>
                    <a:lnTo>
                      <a:pt x="114" y="126"/>
                    </a:lnTo>
                    <a:lnTo>
                      <a:pt x="108" y="120"/>
                    </a:lnTo>
                    <a:lnTo>
                      <a:pt x="108" y="96"/>
                    </a:lnTo>
                    <a:lnTo>
                      <a:pt x="102" y="84"/>
                    </a:lnTo>
                    <a:lnTo>
                      <a:pt x="102" y="42"/>
                    </a:lnTo>
                    <a:lnTo>
                      <a:pt x="96" y="24"/>
                    </a:lnTo>
                    <a:lnTo>
                      <a:pt x="84" y="24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36" y="0"/>
                    </a:lnTo>
                    <a:lnTo>
                      <a:pt x="36" y="18"/>
                    </a:lnTo>
                    <a:lnTo>
                      <a:pt x="24" y="24"/>
                    </a:lnTo>
                    <a:lnTo>
                      <a:pt x="0" y="24"/>
                    </a:lnTo>
                    <a:lnTo>
                      <a:pt x="18" y="36"/>
                    </a:lnTo>
                    <a:lnTo>
                      <a:pt x="24" y="30"/>
                    </a:lnTo>
                    <a:lnTo>
                      <a:pt x="30" y="48"/>
                    </a:lnTo>
                    <a:lnTo>
                      <a:pt x="18" y="60"/>
                    </a:lnTo>
                    <a:lnTo>
                      <a:pt x="24" y="66"/>
                    </a:lnTo>
                    <a:lnTo>
                      <a:pt x="48" y="66"/>
                    </a:lnTo>
                    <a:lnTo>
                      <a:pt x="48" y="84"/>
                    </a:lnTo>
                    <a:lnTo>
                      <a:pt x="42" y="96"/>
                    </a:lnTo>
                    <a:lnTo>
                      <a:pt x="42" y="114"/>
                    </a:lnTo>
                    <a:lnTo>
                      <a:pt x="36" y="132"/>
                    </a:lnTo>
                    <a:lnTo>
                      <a:pt x="36" y="156"/>
                    </a:lnTo>
                    <a:lnTo>
                      <a:pt x="24" y="180"/>
                    </a:lnTo>
                    <a:lnTo>
                      <a:pt x="24" y="186"/>
                    </a:lnTo>
                    <a:lnTo>
                      <a:pt x="42" y="204"/>
                    </a:lnTo>
                    <a:lnTo>
                      <a:pt x="54" y="210"/>
                    </a:lnTo>
                    <a:lnTo>
                      <a:pt x="60" y="216"/>
                    </a:lnTo>
                    <a:lnTo>
                      <a:pt x="60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90" y="246"/>
                    </a:lnTo>
                    <a:lnTo>
                      <a:pt x="96" y="246"/>
                    </a:lnTo>
                    <a:lnTo>
                      <a:pt x="96" y="21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grpSp>
            <p:nvGrpSpPr>
              <p:cNvPr id="301" name="Group 340">
                <a:extLst>
                  <a:ext uri="{FF2B5EF4-FFF2-40B4-BE49-F238E27FC236}">
                    <a16:creationId xmlns:a16="http://schemas.microsoft.com/office/drawing/2014/main" id="{98609BD9-CC36-447C-A3C7-E192AB8BAA7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110289" y="2854281"/>
                <a:ext cx="122302" cy="152341"/>
                <a:chOff x="2184" y="1242"/>
                <a:chExt cx="257" cy="316"/>
              </a:xfrm>
              <a:grpFill/>
            </p:grpSpPr>
            <p:sp>
              <p:nvSpPr>
                <p:cNvPr id="302" name="Freeform 341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11EB29BB-B27B-4688-9AFC-D1D76097A23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84" y="1242"/>
                  <a:ext cx="257" cy="282"/>
                </a:xfrm>
                <a:custGeom>
                  <a:avLst/>
                  <a:gdLst/>
                  <a:ahLst/>
                  <a:cxnLst>
                    <a:cxn ang="0">
                      <a:pos x="464" y="374"/>
                    </a:cxn>
                    <a:cxn ang="0">
                      <a:pos x="453" y="310"/>
                    </a:cxn>
                    <a:cxn ang="0">
                      <a:pos x="453" y="235"/>
                    </a:cxn>
                    <a:cxn ang="0">
                      <a:pos x="378" y="224"/>
                    </a:cxn>
                    <a:cxn ang="0">
                      <a:pos x="302" y="171"/>
                    </a:cxn>
                    <a:cxn ang="0">
                      <a:pos x="291" y="118"/>
                    </a:cxn>
                    <a:cxn ang="0">
                      <a:pos x="259" y="128"/>
                    </a:cxn>
                    <a:cxn ang="0">
                      <a:pos x="216" y="53"/>
                    </a:cxn>
                    <a:cxn ang="0">
                      <a:pos x="87" y="0"/>
                    </a:cxn>
                    <a:cxn ang="0">
                      <a:pos x="0" y="43"/>
                    </a:cxn>
                    <a:cxn ang="0">
                      <a:pos x="32" y="96"/>
                    </a:cxn>
                    <a:cxn ang="0">
                      <a:pos x="65" y="139"/>
                    </a:cxn>
                    <a:cxn ang="0">
                      <a:pos x="54" y="150"/>
                    </a:cxn>
                    <a:cxn ang="0">
                      <a:pos x="32" y="181"/>
                    </a:cxn>
                    <a:cxn ang="0">
                      <a:pos x="32" y="192"/>
                    </a:cxn>
                    <a:cxn ang="0">
                      <a:pos x="76" y="203"/>
                    </a:cxn>
                    <a:cxn ang="0">
                      <a:pos x="87" y="267"/>
                    </a:cxn>
                    <a:cxn ang="0">
                      <a:pos x="65" y="310"/>
                    </a:cxn>
                    <a:cxn ang="0">
                      <a:pos x="98" y="363"/>
                    </a:cxn>
                    <a:cxn ang="0">
                      <a:pos x="119" y="395"/>
                    </a:cxn>
                    <a:cxn ang="0">
                      <a:pos x="157" y="442"/>
                    </a:cxn>
                    <a:cxn ang="0">
                      <a:pos x="173" y="438"/>
                    </a:cxn>
                    <a:cxn ang="0">
                      <a:pos x="180" y="444"/>
                    </a:cxn>
                    <a:cxn ang="0">
                      <a:pos x="230" y="446"/>
                    </a:cxn>
                    <a:cxn ang="0">
                      <a:pos x="237" y="431"/>
                    </a:cxn>
                    <a:cxn ang="0">
                      <a:pos x="258" y="416"/>
                    </a:cxn>
                    <a:cxn ang="0">
                      <a:pos x="266" y="418"/>
                    </a:cxn>
                    <a:cxn ang="0">
                      <a:pos x="268" y="407"/>
                    </a:cxn>
                    <a:cxn ang="0">
                      <a:pos x="267" y="399"/>
                    </a:cxn>
                    <a:cxn ang="0">
                      <a:pos x="254" y="388"/>
                    </a:cxn>
                    <a:cxn ang="0">
                      <a:pos x="262" y="387"/>
                    </a:cxn>
                    <a:cxn ang="0">
                      <a:pos x="279" y="380"/>
                    </a:cxn>
                    <a:cxn ang="0">
                      <a:pos x="288" y="372"/>
                    </a:cxn>
                    <a:cxn ang="0">
                      <a:pos x="298" y="389"/>
                    </a:cxn>
                    <a:cxn ang="0">
                      <a:pos x="292" y="399"/>
                    </a:cxn>
                    <a:cxn ang="0">
                      <a:pos x="309" y="402"/>
                    </a:cxn>
                    <a:cxn ang="0">
                      <a:pos x="321" y="404"/>
                    </a:cxn>
                    <a:cxn ang="0">
                      <a:pos x="326" y="408"/>
                    </a:cxn>
                    <a:cxn ang="0">
                      <a:pos x="328" y="433"/>
                    </a:cxn>
                    <a:cxn ang="0">
                      <a:pos x="334" y="429"/>
                    </a:cxn>
                    <a:cxn ang="0">
                      <a:pos x="335" y="448"/>
                    </a:cxn>
                    <a:cxn ang="0">
                      <a:pos x="348" y="452"/>
                    </a:cxn>
                    <a:cxn ang="0">
                      <a:pos x="356" y="467"/>
                    </a:cxn>
                    <a:cxn ang="0">
                      <a:pos x="354" y="478"/>
                    </a:cxn>
                    <a:cxn ang="0">
                      <a:pos x="356" y="482"/>
                    </a:cxn>
                    <a:cxn ang="0">
                      <a:pos x="369" y="485"/>
                    </a:cxn>
                    <a:cxn ang="0">
                      <a:pos x="381" y="492"/>
                    </a:cxn>
                    <a:cxn ang="0">
                      <a:pos x="390" y="496"/>
                    </a:cxn>
                    <a:cxn ang="0">
                      <a:pos x="399" y="501"/>
                    </a:cxn>
                    <a:cxn ang="0">
                      <a:pos x="392" y="513"/>
                    </a:cxn>
                    <a:cxn ang="0">
                      <a:pos x="384" y="528"/>
                    </a:cxn>
                    <a:cxn ang="0">
                      <a:pos x="376" y="542"/>
                    </a:cxn>
                    <a:cxn ang="0">
                      <a:pos x="453" y="492"/>
                    </a:cxn>
                    <a:cxn ang="0">
                      <a:pos x="486" y="470"/>
                    </a:cxn>
                    <a:cxn ang="0">
                      <a:pos x="486" y="406"/>
                    </a:cxn>
                  </a:cxnLst>
                  <a:rect l="0" t="0" r="r" b="b"/>
                  <a:pathLst>
                    <a:path w="496" h="542">
                      <a:moveTo>
                        <a:pt x="486" y="406"/>
                      </a:moveTo>
                      <a:cubicBezTo>
                        <a:pt x="453" y="395"/>
                        <a:pt x="453" y="395"/>
                        <a:pt x="453" y="395"/>
                      </a:cubicBezTo>
                      <a:cubicBezTo>
                        <a:pt x="464" y="374"/>
                        <a:pt x="464" y="374"/>
                        <a:pt x="464" y="374"/>
                      </a:cubicBezTo>
                      <a:cubicBezTo>
                        <a:pt x="432" y="363"/>
                        <a:pt x="432" y="363"/>
                        <a:pt x="432" y="363"/>
                      </a:cubicBezTo>
                      <a:cubicBezTo>
                        <a:pt x="432" y="331"/>
                        <a:pt x="432" y="331"/>
                        <a:pt x="432" y="331"/>
                      </a:cubicBezTo>
                      <a:cubicBezTo>
                        <a:pt x="453" y="310"/>
                        <a:pt x="453" y="310"/>
                        <a:pt x="453" y="310"/>
                      </a:cubicBezTo>
                      <a:cubicBezTo>
                        <a:pt x="453" y="267"/>
                        <a:pt x="453" y="267"/>
                        <a:pt x="453" y="267"/>
                      </a:cubicBezTo>
                      <a:cubicBezTo>
                        <a:pt x="442" y="256"/>
                        <a:pt x="442" y="256"/>
                        <a:pt x="442" y="256"/>
                      </a:cubicBezTo>
                      <a:cubicBezTo>
                        <a:pt x="453" y="235"/>
                        <a:pt x="453" y="235"/>
                        <a:pt x="453" y="235"/>
                      </a:cubicBezTo>
                      <a:cubicBezTo>
                        <a:pt x="464" y="224"/>
                        <a:pt x="464" y="224"/>
                        <a:pt x="464" y="224"/>
                      </a:cubicBezTo>
                      <a:cubicBezTo>
                        <a:pt x="421" y="213"/>
                        <a:pt x="421" y="213"/>
                        <a:pt x="421" y="213"/>
                      </a:cubicBezTo>
                      <a:cubicBezTo>
                        <a:pt x="378" y="224"/>
                        <a:pt x="378" y="224"/>
                        <a:pt x="378" y="224"/>
                      </a:cubicBezTo>
                      <a:cubicBezTo>
                        <a:pt x="367" y="213"/>
                        <a:pt x="367" y="213"/>
                        <a:pt x="367" y="213"/>
                      </a:cubicBezTo>
                      <a:cubicBezTo>
                        <a:pt x="324" y="203"/>
                        <a:pt x="324" y="203"/>
                        <a:pt x="324" y="203"/>
                      </a:cubicBezTo>
                      <a:cubicBezTo>
                        <a:pt x="302" y="171"/>
                        <a:pt x="302" y="171"/>
                        <a:pt x="302" y="171"/>
                      </a:cubicBezTo>
                      <a:cubicBezTo>
                        <a:pt x="313" y="160"/>
                        <a:pt x="313" y="160"/>
                        <a:pt x="313" y="160"/>
                      </a:cubicBezTo>
                      <a:cubicBezTo>
                        <a:pt x="313" y="128"/>
                        <a:pt x="313" y="128"/>
                        <a:pt x="313" y="128"/>
                      </a:cubicBezTo>
                      <a:cubicBezTo>
                        <a:pt x="291" y="118"/>
                        <a:pt x="291" y="118"/>
                        <a:pt x="291" y="118"/>
                      </a:cubicBezTo>
                      <a:cubicBezTo>
                        <a:pt x="280" y="118"/>
                        <a:pt x="280" y="118"/>
                        <a:pt x="280" y="118"/>
                      </a:cubicBezTo>
                      <a:cubicBezTo>
                        <a:pt x="270" y="128"/>
                        <a:pt x="270" y="128"/>
                        <a:pt x="270" y="128"/>
                      </a:cubicBezTo>
                      <a:cubicBezTo>
                        <a:pt x="259" y="128"/>
                        <a:pt x="259" y="128"/>
                        <a:pt x="259" y="128"/>
                      </a:cubicBezTo>
                      <a:cubicBezTo>
                        <a:pt x="249" y="118"/>
                        <a:pt x="249" y="118"/>
                        <a:pt x="249" y="118"/>
                      </a:cubicBezTo>
                      <a:cubicBezTo>
                        <a:pt x="227" y="53"/>
                        <a:pt x="227" y="53"/>
                        <a:pt x="227" y="53"/>
                      </a:cubicBezTo>
                      <a:cubicBezTo>
                        <a:pt x="216" y="53"/>
                        <a:pt x="216" y="53"/>
                        <a:pt x="216" y="53"/>
                      </a:cubicBezTo>
                      <a:cubicBezTo>
                        <a:pt x="173" y="21"/>
                        <a:pt x="173" y="21"/>
                        <a:pt x="173" y="21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54" y="32"/>
                        <a:pt x="54" y="32"/>
                        <a:pt x="54" y="32"/>
                      </a:cubicBezTo>
                      <a:cubicBezTo>
                        <a:pt x="11" y="32"/>
                        <a:pt x="11" y="32"/>
                        <a:pt x="11" y="32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22" y="96"/>
                        <a:pt x="22" y="96"/>
                        <a:pt x="22" y="96"/>
                      </a:cubicBezTo>
                      <a:cubicBezTo>
                        <a:pt x="32" y="96"/>
                        <a:pt x="32" y="96"/>
                        <a:pt x="32" y="96"/>
                      </a:cubicBezTo>
                      <a:cubicBezTo>
                        <a:pt x="22" y="128"/>
                        <a:pt x="22" y="128"/>
                        <a:pt x="22" y="128"/>
                      </a:cubicBezTo>
                      <a:cubicBezTo>
                        <a:pt x="43" y="128"/>
                        <a:pt x="43" y="128"/>
                        <a:pt x="43" y="128"/>
                      </a:cubicBezTo>
                      <a:cubicBezTo>
                        <a:pt x="65" y="139"/>
                        <a:pt x="65" y="139"/>
                        <a:pt x="65" y="139"/>
                      </a:cubicBezTo>
                      <a:cubicBezTo>
                        <a:pt x="76" y="139"/>
                        <a:pt x="76" y="139"/>
                        <a:pt x="76" y="139"/>
                      </a:cubicBezTo>
                      <a:cubicBezTo>
                        <a:pt x="65" y="150"/>
                        <a:pt x="65" y="150"/>
                        <a:pt x="65" y="150"/>
                      </a:cubicBezTo>
                      <a:cubicBezTo>
                        <a:pt x="54" y="150"/>
                        <a:pt x="54" y="150"/>
                        <a:pt x="54" y="150"/>
                      </a:cubicBezTo>
                      <a:cubicBezTo>
                        <a:pt x="43" y="160"/>
                        <a:pt x="43" y="160"/>
                        <a:pt x="43" y="160"/>
                      </a:cubicBezTo>
                      <a:cubicBezTo>
                        <a:pt x="32" y="160"/>
                        <a:pt x="32" y="160"/>
                        <a:pt x="32" y="160"/>
                      </a:cubicBezTo>
                      <a:cubicBezTo>
                        <a:pt x="32" y="181"/>
                        <a:pt x="32" y="181"/>
                        <a:pt x="32" y="181"/>
                      </a:cubicBezTo>
                      <a:cubicBezTo>
                        <a:pt x="22" y="181"/>
                        <a:pt x="22" y="181"/>
                        <a:pt x="22" y="181"/>
                      </a:cubicBezTo>
                      <a:cubicBezTo>
                        <a:pt x="22" y="192"/>
                        <a:pt x="22" y="192"/>
                        <a:pt x="22" y="192"/>
                      </a:cubicBezTo>
                      <a:cubicBezTo>
                        <a:pt x="32" y="192"/>
                        <a:pt x="32" y="192"/>
                        <a:pt x="32" y="192"/>
                      </a:cubicBezTo>
                      <a:cubicBezTo>
                        <a:pt x="54" y="181"/>
                        <a:pt x="54" y="181"/>
                        <a:pt x="54" y="181"/>
                      </a:cubicBezTo>
                      <a:cubicBezTo>
                        <a:pt x="76" y="181"/>
                        <a:pt x="76" y="181"/>
                        <a:pt x="76" y="181"/>
                      </a:cubicBezTo>
                      <a:cubicBezTo>
                        <a:pt x="76" y="203"/>
                        <a:pt x="76" y="203"/>
                        <a:pt x="76" y="203"/>
                      </a:cubicBezTo>
                      <a:cubicBezTo>
                        <a:pt x="43" y="235"/>
                        <a:pt x="43" y="235"/>
                        <a:pt x="43" y="235"/>
                      </a:cubicBezTo>
                      <a:cubicBezTo>
                        <a:pt x="43" y="267"/>
                        <a:pt x="43" y="267"/>
                        <a:pt x="43" y="267"/>
                      </a:cubicBezTo>
                      <a:cubicBezTo>
                        <a:pt x="87" y="267"/>
                        <a:pt x="87" y="267"/>
                        <a:pt x="87" y="267"/>
                      </a:cubicBezTo>
                      <a:cubicBezTo>
                        <a:pt x="98" y="278"/>
                        <a:pt x="98" y="278"/>
                        <a:pt x="98" y="278"/>
                      </a:cubicBezTo>
                      <a:cubicBezTo>
                        <a:pt x="108" y="299"/>
                        <a:pt x="108" y="299"/>
                        <a:pt x="108" y="299"/>
                      </a:cubicBezTo>
                      <a:cubicBezTo>
                        <a:pt x="65" y="310"/>
                        <a:pt x="65" y="310"/>
                        <a:pt x="65" y="310"/>
                      </a:cubicBezTo>
                      <a:cubicBezTo>
                        <a:pt x="87" y="331"/>
                        <a:pt x="87" y="331"/>
                        <a:pt x="87" y="331"/>
                      </a:cubicBezTo>
                      <a:cubicBezTo>
                        <a:pt x="98" y="353"/>
                        <a:pt x="98" y="353"/>
                        <a:pt x="98" y="353"/>
                      </a:cubicBezTo>
                      <a:cubicBezTo>
                        <a:pt x="98" y="363"/>
                        <a:pt x="98" y="363"/>
                        <a:pt x="98" y="363"/>
                      </a:cubicBezTo>
                      <a:cubicBezTo>
                        <a:pt x="87" y="363"/>
                        <a:pt x="87" y="363"/>
                        <a:pt x="87" y="363"/>
                      </a:cubicBezTo>
                      <a:cubicBezTo>
                        <a:pt x="87" y="374"/>
                        <a:pt x="87" y="374"/>
                        <a:pt x="87" y="374"/>
                      </a:cubicBezTo>
                      <a:cubicBezTo>
                        <a:pt x="119" y="395"/>
                        <a:pt x="119" y="395"/>
                        <a:pt x="119" y="395"/>
                      </a:cubicBezTo>
                      <a:cubicBezTo>
                        <a:pt x="140" y="417"/>
                        <a:pt x="140" y="417"/>
                        <a:pt x="140" y="417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7" y="442"/>
                        <a:pt x="157" y="442"/>
                        <a:pt x="157" y="442"/>
                      </a:cubicBezTo>
                      <a:cubicBezTo>
                        <a:pt x="159" y="442"/>
                        <a:pt x="161" y="443"/>
                        <a:pt x="166" y="444"/>
                      </a:cubicBezTo>
                      <a:cubicBezTo>
                        <a:pt x="166" y="444"/>
                        <a:pt x="166" y="444"/>
                        <a:pt x="167" y="444"/>
                      </a:cubicBezTo>
                      <a:cubicBezTo>
                        <a:pt x="173" y="438"/>
                        <a:pt x="173" y="438"/>
                        <a:pt x="173" y="438"/>
                      </a:cubicBezTo>
                      <a:cubicBezTo>
                        <a:pt x="173" y="447"/>
                        <a:pt x="173" y="447"/>
                        <a:pt x="173" y="447"/>
                      </a:cubicBezTo>
                      <a:cubicBezTo>
                        <a:pt x="174" y="448"/>
                        <a:pt x="175" y="448"/>
                        <a:pt x="176" y="449"/>
                      </a:cubicBezTo>
                      <a:cubicBezTo>
                        <a:pt x="176" y="449"/>
                        <a:pt x="176" y="449"/>
                        <a:pt x="180" y="444"/>
                      </a:cubicBezTo>
                      <a:cubicBezTo>
                        <a:pt x="180" y="444"/>
                        <a:pt x="180" y="444"/>
                        <a:pt x="199" y="447"/>
                      </a:cubicBezTo>
                      <a:cubicBezTo>
                        <a:pt x="199" y="447"/>
                        <a:pt x="199" y="447"/>
                        <a:pt x="212" y="446"/>
                      </a:cubicBezTo>
                      <a:cubicBezTo>
                        <a:pt x="212" y="446"/>
                        <a:pt x="212" y="446"/>
                        <a:pt x="230" y="446"/>
                      </a:cubicBezTo>
                      <a:cubicBezTo>
                        <a:pt x="230" y="446"/>
                        <a:pt x="230" y="446"/>
                        <a:pt x="240" y="443"/>
                      </a:cubicBezTo>
                      <a:cubicBezTo>
                        <a:pt x="240" y="443"/>
                        <a:pt x="240" y="443"/>
                        <a:pt x="239" y="437"/>
                      </a:cubicBezTo>
                      <a:cubicBezTo>
                        <a:pt x="239" y="437"/>
                        <a:pt x="239" y="437"/>
                        <a:pt x="237" y="431"/>
                      </a:cubicBezTo>
                      <a:cubicBezTo>
                        <a:pt x="237" y="431"/>
                        <a:pt x="237" y="431"/>
                        <a:pt x="245" y="425"/>
                      </a:cubicBezTo>
                      <a:cubicBezTo>
                        <a:pt x="245" y="425"/>
                        <a:pt x="245" y="425"/>
                        <a:pt x="255" y="417"/>
                      </a:cubicBezTo>
                      <a:cubicBezTo>
                        <a:pt x="255" y="417"/>
                        <a:pt x="255" y="417"/>
                        <a:pt x="258" y="416"/>
                      </a:cubicBezTo>
                      <a:cubicBezTo>
                        <a:pt x="258" y="416"/>
                        <a:pt x="258" y="416"/>
                        <a:pt x="258" y="421"/>
                      </a:cubicBezTo>
                      <a:cubicBezTo>
                        <a:pt x="258" y="421"/>
                        <a:pt x="258" y="421"/>
                        <a:pt x="262" y="419"/>
                      </a:cubicBezTo>
                      <a:cubicBezTo>
                        <a:pt x="262" y="419"/>
                        <a:pt x="262" y="419"/>
                        <a:pt x="266" y="418"/>
                      </a:cubicBezTo>
                      <a:cubicBezTo>
                        <a:pt x="266" y="418"/>
                        <a:pt x="266" y="418"/>
                        <a:pt x="263" y="414"/>
                      </a:cubicBezTo>
                      <a:cubicBezTo>
                        <a:pt x="263" y="414"/>
                        <a:pt x="263" y="414"/>
                        <a:pt x="267" y="412"/>
                      </a:cubicBezTo>
                      <a:cubicBezTo>
                        <a:pt x="267" y="412"/>
                        <a:pt x="267" y="412"/>
                        <a:pt x="268" y="407"/>
                      </a:cubicBezTo>
                      <a:cubicBezTo>
                        <a:pt x="268" y="407"/>
                        <a:pt x="268" y="407"/>
                        <a:pt x="264" y="405"/>
                      </a:cubicBezTo>
                      <a:cubicBezTo>
                        <a:pt x="264" y="405"/>
                        <a:pt x="264" y="405"/>
                        <a:pt x="264" y="402"/>
                      </a:cubicBezTo>
                      <a:cubicBezTo>
                        <a:pt x="264" y="402"/>
                        <a:pt x="264" y="402"/>
                        <a:pt x="267" y="399"/>
                      </a:cubicBezTo>
                      <a:cubicBezTo>
                        <a:pt x="267" y="399"/>
                        <a:pt x="267" y="399"/>
                        <a:pt x="266" y="396"/>
                      </a:cubicBezTo>
                      <a:cubicBezTo>
                        <a:pt x="266" y="396"/>
                        <a:pt x="266" y="396"/>
                        <a:pt x="258" y="394"/>
                      </a:cubicBezTo>
                      <a:cubicBezTo>
                        <a:pt x="258" y="394"/>
                        <a:pt x="258" y="394"/>
                        <a:pt x="254" y="388"/>
                      </a:cubicBezTo>
                      <a:cubicBezTo>
                        <a:pt x="254" y="388"/>
                        <a:pt x="254" y="388"/>
                        <a:pt x="256" y="385"/>
                      </a:cubicBezTo>
                      <a:cubicBezTo>
                        <a:pt x="256" y="385"/>
                        <a:pt x="256" y="385"/>
                        <a:pt x="259" y="389"/>
                      </a:cubicBezTo>
                      <a:cubicBezTo>
                        <a:pt x="259" y="389"/>
                        <a:pt x="259" y="389"/>
                        <a:pt x="262" y="387"/>
                      </a:cubicBezTo>
                      <a:cubicBezTo>
                        <a:pt x="262" y="387"/>
                        <a:pt x="262" y="387"/>
                        <a:pt x="267" y="388"/>
                      </a:cubicBezTo>
                      <a:cubicBezTo>
                        <a:pt x="267" y="388"/>
                        <a:pt x="267" y="388"/>
                        <a:pt x="271" y="385"/>
                      </a:cubicBezTo>
                      <a:cubicBezTo>
                        <a:pt x="271" y="385"/>
                        <a:pt x="271" y="385"/>
                        <a:pt x="279" y="380"/>
                      </a:cubicBezTo>
                      <a:cubicBezTo>
                        <a:pt x="279" y="380"/>
                        <a:pt x="279" y="380"/>
                        <a:pt x="282" y="378"/>
                      </a:cubicBezTo>
                      <a:cubicBezTo>
                        <a:pt x="282" y="378"/>
                        <a:pt x="282" y="378"/>
                        <a:pt x="283" y="374"/>
                      </a:cubicBezTo>
                      <a:cubicBezTo>
                        <a:pt x="283" y="374"/>
                        <a:pt x="283" y="374"/>
                        <a:pt x="288" y="372"/>
                      </a:cubicBezTo>
                      <a:cubicBezTo>
                        <a:pt x="288" y="372"/>
                        <a:pt x="288" y="372"/>
                        <a:pt x="293" y="377"/>
                      </a:cubicBezTo>
                      <a:cubicBezTo>
                        <a:pt x="293" y="377"/>
                        <a:pt x="293" y="377"/>
                        <a:pt x="297" y="384"/>
                      </a:cubicBezTo>
                      <a:cubicBezTo>
                        <a:pt x="297" y="384"/>
                        <a:pt x="297" y="384"/>
                        <a:pt x="298" y="389"/>
                      </a:cubicBezTo>
                      <a:cubicBezTo>
                        <a:pt x="298" y="389"/>
                        <a:pt x="298" y="389"/>
                        <a:pt x="298" y="392"/>
                      </a:cubicBezTo>
                      <a:cubicBezTo>
                        <a:pt x="298" y="392"/>
                        <a:pt x="298" y="392"/>
                        <a:pt x="291" y="396"/>
                      </a:cubicBezTo>
                      <a:cubicBezTo>
                        <a:pt x="291" y="396"/>
                        <a:pt x="291" y="396"/>
                        <a:pt x="292" y="399"/>
                      </a:cubicBezTo>
                      <a:cubicBezTo>
                        <a:pt x="292" y="399"/>
                        <a:pt x="292" y="399"/>
                        <a:pt x="299" y="400"/>
                      </a:cubicBezTo>
                      <a:cubicBezTo>
                        <a:pt x="299" y="400"/>
                        <a:pt x="299" y="400"/>
                        <a:pt x="303" y="404"/>
                      </a:cubicBezTo>
                      <a:cubicBezTo>
                        <a:pt x="303" y="404"/>
                        <a:pt x="303" y="404"/>
                        <a:pt x="309" y="402"/>
                      </a:cubicBezTo>
                      <a:cubicBezTo>
                        <a:pt x="309" y="402"/>
                        <a:pt x="309" y="402"/>
                        <a:pt x="314" y="404"/>
                      </a:cubicBezTo>
                      <a:cubicBezTo>
                        <a:pt x="314" y="404"/>
                        <a:pt x="314" y="404"/>
                        <a:pt x="319" y="401"/>
                      </a:cubicBezTo>
                      <a:cubicBezTo>
                        <a:pt x="319" y="401"/>
                        <a:pt x="319" y="401"/>
                        <a:pt x="321" y="404"/>
                      </a:cubicBezTo>
                      <a:cubicBezTo>
                        <a:pt x="321" y="404"/>
                        <a:pt x="321" y="404"/>
                        <a:pt x="318" y="408"/>
                      </a:cubicBezTo>
                      <a:cubicBezTo>
                        <a:pt x="318" y="408"/>
                        <a:pt x="318" y="408"/>
                        <a:pt x="324" y="407"/>
                      </a:cubicBezTo>
                      <a:cubicBezTo>
                        <a:pt x="324" y="407"/>
                        <a:pt x="324" y="407"/>
                        <a:pt x="326" y="408"/>
                      </a:cubicBezTo>
                      <a:cubicBezTo>
                        <a:pt x="326" y="408"/>
                        <a:pt x="326" y="408"/>
                        <a:pt x="324" y="425"/>
                      </a:cubicBezTo>
                      <a:cubicBezTo>
                        <a:pt x="324" y="425"/>
                        <a:pt x="324" y="425"/>
                        <a:pt x="324" y="432"/>
                      </a:cubicBezTo>
                      <a:cubicBezTo>
                        <a:pt x="324" y="432"/>
                        <a:pt x="324" y="432"/>
                        <a:pt x="328" y="433"/>
                      </a:cubicBezTo>
                      <a:cubicBezTo>
                        <a:pt x="328" y="433"/>
                        <a:pt x="328" y="433"/>
                        <a:pt x="330" y="431"/>
                      </a:cubicBezTo>
                      <a:cubicBezTo>
                        <a:pt x="330" y="431"/>
                        <a:pt x="330" y="431"/>
                        <a:pt x="331" y="428"/>
                      </a:cubicBezTo>
                      <a:cubicBezTo>
                        <a:pt x="331" y="428"/>
                        <a:pt x="331" y="428"/>
                        <a:pt x="334" y="429"/>
                      </a:cubicBezTo>
                      <a:cubicBezTo>
                        <a:pt x="334" y="429"/>
                        <a:pt x="334" y="429"/>
                        <a:pt x="336" y="433"/>
                      </a:cubicBezTo>
                      <a:cubicBezTo>
                        <a:pt x="336" y="433"/>
                        <a:pt x="336" y="433"/>
                        <a:pt x="336" y="443"/>
                      </a:cubicBezTo>
                      <a:cubicBezTo>
                        <a:pt x="336" y="443"/>
                        <a:pt x="336" y="443"/>
                        <a:pt x="335" y="448"/>
                      </a:cubicBezTo>
                      <a:cubicBezTo>
                        <a:pt x="335" y="448"/>
                        <a:pt x="335" y="448"/>
                        <a:pt x="339" y="450"/>
                      </a:cubicBezTo>
                      <a:cubicBezTo>
                        <a:pt x="339" y="450"/>
                        <a:pt x="339" y="450"/>
                        <a:pt x="344" y="450"/>
                      </a:cubicBezTo>
                      <a:cubicBezTo>
                        <a:pt x="344" y="450"/>
                        <a:pt x="344" y="450"/>
                        <a:pt x="348" y="452"/>
                      </a:cubicBezTo>
                      <a:cubicBezTo>
                        <a:pt x="348" y="452"/>
                        <a:pt x="348" y="452"/>
                        <a:pt x="353" y="456"/>
                      </a:cubicBezTo>
                      <a:cubicBezTo>
                        <a:pt x="353" y="456"/>
                        <a:pt x="353" y="456"/>
                        <a:pt x="357" y="457"/>
                      </a:cubicBezTo>
                      <a:cubicBezTo>
                        <a:pt x="357" y="457"/>
                        <a:pt x="357" y="457"/>
                        <a:pt x="356" y="467"/>
                      </a:cubicBezTo>
                      <a:cubicBezTo>
                        <a:pt x="356" y="467"/>
                        <a:pt x="356" y="467"/>
                        <a:pt x="356" y="472"/>
                      </a:cubicBezTo>
                      <a:cubicBezTo>
                        <a:pt x="356" y="472"/>
                        <a:pt x="356" y="472"/>
                        <a:pt x="352" y="473"/>
                      </a:cubicBezTo>
                      <a:cubicBezTo>
                        <a:pt x="352" y="473"/>
                        <a:pt x="352" y="473"/>
                        <a:pt x="354" y="478"/>
                      </a:cubicBezTo>
                      <a:cubicBezTo>
                        <a:pt x="354" y="478"/>
                        <a:pt x="354" y="478"/>
                        <a:pt x="351" y="482"/>
                      </a:cubicBezTo>
                      <a:cubicBezTo>
                        <a:pt x="351" y="482"/>
                        <a:pt x="351" y="482"/>
                        <a:pt x="353" y="483"/>
                      </a:cubicBezTo>
                      <a:cubicBezTo>
                        <a:pt x="353" y="483"/>
                        <a:pt x="353" y="483"/>
                        <a:pt x="356" y="482"/>
                      </a:cubicBezTo>
                      <a:cubicBezTo>
                        <a:pt x="356" y="482"/>
                        <a:pt x="356" y="482"/>
                        <a:pt x="361" y="485"/>
                      </a:cubicBezTo>
                      <a:cubicBezTo>
                        <a:pt x="361" y="485"/>
                        <a:pt x="361" y="485"/>
                        <a:pt x="364" y="483"/>
                      </a:cubicBezTo>
                      <a:cubicBezTo>
                        <a:pt x="364" y="483"/>
                        <a:pt x="364" y="483"/>
                        <a:pt x="369" y="485"/>
                      </a:cubicBezTo>
                      <a:cubicBezTo>
                        <a:pt x="369" y="485"/>
                        <a:pt x="369" y="485"/>
                        <a:pt x="372" y="485"/>
                      </a:cubicBezTo>
                      <a:cubicBezTo>
                        <a:pt x="372" y="485"/>
                        <a:pt x="372" y="485"/>
                        <a:pt x="377" y="489"/>
                      </a:cubicBezTo>
                      <a:cubicBezTo>
                        <a:pt x="377" y="489"/>
                        <a:pt x="377" y="489"/>
                        <a:pt x="381" y="492"/>
                      </a:cubicBezTo>
                      <a:cubicBezTo>
                        <a:pt x="381" y="492"/>
                        <a:pt x="381" y="492"/>
                        <a:pt x="383" y="496"/>
                      </a:cubicBezTo>
                      <a:cubicBezTo>
                        <a:pt x="383" y="496"/>
                        <a:pt x="383" y="496"/>
                        <a:pt x="385" y="499"/>
                      </a:cubicBezTo>
                      <a:cubicBezTo>
                        <a:pt x="385" y="499"/>
                        <a:pt x="385" y="499"/>
                        <a:pt x="390" y="496"/>
                      </a:cubicBezTo>
                      <a:cubicBezTo>
                        <a:pt x="390" y="496"/>
                        <a:pt x="390" y="496"/>
                        <a:pt x="394" y="494"/>
                      </a:cubicBezTo>
                      <a:cubicBezTo>
                        <a:pt x="394" y="494"/>
                        <a:pt x="394" y="494"/>
                        <a:pt x="398" y="496"/>
                      </a:cubicBezTo>
                      <a:cubicBezTo>
                        <a:pt x="398" y="496"/>
                        <a:pt x="398" y="496"/>
                        <a:pt x="399" y="501"/>
                      </a:cubicBezTo>
                      <a:cubicBezTo>
                        <a:pt x="399" y="501"/>
                        <a:pt x="399" y="501"/>
                        <a:pt x="395" y="505"/>
                      </a:cubicBezTo>
                      <a:cubicBezTo>
                        <a:pt x="395" y="505"/>
                        <a:pt x="395" y="505"/>
                        <a:pt x="395" y="509"/>
                      </a:cubicBezTo>
                      <a:cubicBezTo>
                        <a:pt x="395" y="509"/>
                        <a:pt x="395" y="509"/>
                        <a:pt x="392" y="513"/>
                      </a:cubicBezTo>
                      <a:cubicBezTo>
                        <a:pt x="392" y="513"/>
                        <a:pt x="392" y="513"/>
                        <a:pt x="392" y="516"/>
                      </a:cubicBezTo>
                      <a:cubicBezTo>
                        <a:pt x="392" y="516"/>
                        <a:pt x="392" y="516"/>
                        <a:pt x="386" y="519"/>
                      </a:cubicBezTo>
                      <a:cubicBezTo>
                        <a:pt x="386" y="519"/>
                        <a:pt x="386" y="519"/>
                        <a:pt x="384" y="528"/>
                      </a:cubicBezTo>
                      <a:cubicBezTo>
                        <a:pt x="384" y="528"/>
                        <a:pt x="384" y="528"/>
                        <a:pt x="379" y="531"/>
                      </a:cubicBezTo>
                      <a:cubicBezTo>
                        <a:pt x="379" y="531"/>
                        <a:pt x="379" y="531"/>
                        <a:pt x="376" y="535"/>
                      </a:cubicBezTo>
                      <a:cubicBezTo>
                        <a:pt x="376" y="535"/>
                        <a:pt x="376" y="535"/>
                        <a:pt x="376" y="542"/>
                      </a:cubicBezTo>
                      <a:cubicBezTo>
                        <a:pt x="432" y="535"/>
                        <a:pt x="432" y="535"/>
                        <a:pt x="432" y="535"/>
                      </a:cubicBezTo>
                      <a:cubicBezTo>
                        <a:pt x="453" y="535"/>
                        <a:pt x="453" y="535"/>
                        <a:pt x="453" y="535"/>
                      </a:cubicBezTo>
                      <a:cubicBezTo>
                        <a:pt x="453" y="492"/>
                        <a:pt x="453" y="492"/>
                        <a:pt x="453" y="492"/>
                      </a:cubicBezTo>
                      <a:cubicBezTo>
                        <a:pt x="442" y="481"/>
                        <a:pt x="442" y="481"/>
                        <a:pt x="442" y="481"/>
                      </a:cubicBezTo>
                      <a:cubicBezTo>
                        <a:pt x="442" y="470"/>
                        <a:pt x="442" y="470"/>
                        <a:pt x="442" y="470"/>
                      </a:cubicBezTo>
                      <a:cubicBezTo>
                        <a:pt x="486" y="470"/>
                        <a:pt x="486" y="470"/>
                        <a:pt x="486" y="470"/>
                      </a:cubicBezTo>
                      <a:cubicBezTo>
                        <a:pt x="496" y="460"/>
                        <a:pt x="496" y="460"/>
                        <a:pt x="496" y="460"/>
                      </a:cubicBezTo>
                      <a:cubicBezTo>
                        <a:pt x="496" y="417"/>
                        <a:pt x="496" y="417"/>
                        <a:pt x="496" y="417"/>
                      </a:cubicBezTo>
                      <a:lnTo>
                        <a:pt x="486" y="406"/>
                      </a:lnTo>
                      <a:close/>
                    </a:path>
                  </a:pathLst>
                </a:custGeom>
                <a:grpFill/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19419">
                    <a:spcBef>
                      <a:spcPct val="0"/>
                    </a:spcBef>
                    <a:defRPr/>
                  </a:pPr>
                  <a:endParaRPr lang="en-GB" sz="633" kern="0">
                    <a:solidFill>
                      <a:srgbClr val="555555"/>
                    </a:solidFill>
                    <a:cs typeface="Calibri" pitchFamily="34" charset="0"/>
                  </a:endParaRPr>
                </a:p>
              </p:txBody>
            </p:sp>
            <p:sp>
              <p:nvSpPr>
                <p:cNvPr id="303" name="Freeform 342" descr="© INSCALE GmbH, 05.05.2010&#10;http://www.presentationload.com/">
                  <a:extLst>
                    <a:ext uri="{FF2B5EF4-FFF2-40B4-BE49-F238E27FC236}">
                      <a16:creationId xmlns:a16="http://schemas.microsoft.com/office/drawing/2014/main" id="{AE576A2D-7605-4D65-9628-6DDB1EB07B16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2268" y="1436"/>
                  <a:ext cx="121" cy="122"/>
                </a:xfrm>
                <a:custGeom>
                  <a:avLst/>
                  <a:gdLst/>
                  <a:ahLst/>
                  <a:cxnLst>
                    <a:cxn ang="0">
                      <a:pos x="6" y="75"/>
                    </a:cxn>
                    <a:cxn ang="0">
                      <a:pos x="0" y="72"/>
                    </a:cxn>
                    <a:cxn ang="0">
                      <a:pos x="227" y="122"/>
                    </a:cxn>
                    <a:cxn ang="0">
                      <a:pos x="218" y="127"/>
                    </a:cxn>
                    <a:cxn ang="0">
                      <a:pos x="214" y="120"/>
                    </a:cxn>
                    <a:cxn ang="0">
                      <a:pos x="206" y="113"/>
                    </a:cxn>
                    <a:cxn ang="0">
                      <a:pos x="197" y="111"/>
                    </a:cxn>
                    <a:cxn ang="0">
                      <a:pos x="190" y="110"/>
                    </a:cxn>
                    <a:cxn ang="0">
                      <a:pos x="185" y="110"/>
                    </a:cxn>
                    <a:cxn ang="0">
                      <a:pos x="185" y="101"/>
                    </a:cxn>
                    <a:cxn ang="0">
                      <a:pos x="189" y="95"/>
                    </a:cxn>
                    <a:cxn ang="0">
                      <a:pos x="187" y="84"/>
                    </a:cxn>
                    <a:cxn ang="0">
                      <a:pos x="177" y="78"/>
                    </a:cxn>
                    <a:cxn ang="0">
                      <a:pos x="169" y="76"/>
                    </a:cxn>
                    <a:cxn ang="0">
                      <a:pos x="170" y="61"/>
                    </a:cxn>
                    <a:cxn ang="0">
                      <a:pos x="165" y="56"/>
                    </a:cxn>
                    <a:cxn ang="0">
                      <a:pos x="161" y="61"/>
                    </a:cxn>
                    <a:cxn ang="0">
                      <a:pos x="157" y="53"/>
                    </a:cxn>
                    <a:cxn ang="0">
                      <a:pos x="158" y="35"/>
                    </a:cxn>
                    <a:cxn ang="0">
                      <a:pos x="154" y="32"/>
                    </a:cxn>
                    <a:cxn ang="0">
                      <a:pos x="147" y="32"/>
                    </a:cxn>
                    <a:cxn ang="0">
                      <a:pos x="137" y="32"/>
                    </a:cxn>
                    <a:cxn ang="0">
                      <a:pos x="126" y="27"/>
                    </a:cxn>
                    <a:cxn ang="0">
                      <a:pos x="131" y="20"/>
                    </a:cxn>
                    <a:cxn ang="0">
                      <a:pos x="130" y="12"/>
                    </a:cxn>
                    <a:cxn ang="0">
                      <a:pos x="122" y="0"/>
                    </a:cxn>
                    <a:cxn ang="0">
                      <a:pos x="115" y="6"/>
                    </a:cxn>
                    <a:cxn ang="0">
                      <a:pos x="104" y="13"/>
                    </a:cxn>
                    <a:cxn ang="0">
                      <a:pos x="96" y="15"/>
                    </a:cxn>
                    <a:cxn ang="0">
                      <a:pos x="89" y="13"/>
                    </a:cxn>
                    <a:cxn ang="0">
                      <a:pos x="91" y="22"/>
                    </a:cxn>
                    <a:cxn ang="0">
                      <a:pos x="101" y="27"/>
                    </a:cxn>
                    <a:cxn ang="0">
                      <a:pos x="97" y="33"/>
                    </a:cxn>
                    <a:cxn ang="0">
                      <a:pos x="100" y="40"/>
                    </a:cxn>
                    <a:cxn ang="0">
                      <a:pos x="99" y="46"/>
                    </a:cxn>
                    <a:cxn ang="0">
                      <a:pos x="92" y="49"/>
                    </a:cxn>
                    <a:cxn ang="0">
                      <a:pos x="88" y="45"/>
                    </a:cxn>
                    <a:cxn ang="0">
                      <a:pos x="70" y="59"/>
                    </a:cxn>
                    <a:cxn ang="0">
                      <a:pos x="73" y="71"/>
                    </a:cxn>
                    <a:cxn ang="0">
                      <a:pos x="45" y="74"/>
                    </a:cxn>
                    <a:cxn ang="0">
                      <a:pos x="14" y="72"/>
                    </a:cxn>
                    <a:cxn ang="0">
                      <a:pos x="6" y="75"/>
                    </a:cxn>
                    <a:cxn ang="0">
                      <a:pos x="6" y="141"/>
                    </a:cxn>
                    <a:cxn ang="0">
                      <a:pos x="14" y="155"/>
                    </a:cxn>
                    <a:cxn ang="0">
                      <a:pos x="27" y="173"/>
                    </a:cxn>
                    <a:cxn ang="0">
                      <a:pos x="50" y="175"/>
                    </a:cxn>
                    <a:cxn ang="0">
                      <a:pos x="60" y="211"/>
                    </a:cxn>
                    <a:cxn ang="0">
                      <a:pos x="60" y="237"/>
                    </a:cxn>
                    <a:cxn ang="0">
                      <a:pos x="92" y="226"/>
                    </a:cxn>
                    <a:cxn ang="0">
                      <a:pos x="138" y="205"/>
                    </a:cxn>
                    <a:cxn ang="0">
                      <a:pos x="146" y="184"/>
                    </a:cxn>
                    <a:cxn ang="0">
                      <a:pos x="189" y="173"/>
                    </a:cxn>
                    <a:cxn ang="0">
                      <a:pos x="209" y="163"/>
                    </a:cxn>
                    <a:cxn ang="0">
                      <a:pos x="217" y="156"/>
                    </a:cxn>
                    <a:cxn ang="0">
                      <a:pos x="225" y="144"/>
                    </a:cxn>
                    <a:cxn ang="0">
                      <a:pos x="228" y="137"/>
                    </a:cxn>
                    <a:cxn ang="0">
                      <a:pos x="232" y="129"/>
                    </a:cxn>
                  </a:cxnLst>
                  <a:rect l="0" t="0" r="r" b="b"/>
                  <a:pathLst>
                    <a:path w="232" h="237">
                      <a:moveTo>
                        <a:pt x="0" y="72"/>
                      </a:moveTo>
                      <a:cubicBezTo>
                        <a:pt x="1" y="72"/>
                        <a:pt x="2" y="73"/>
                        <a:pt x="6" y="75"/>
                      </a:cubicBezTo>
                      <a:cubicBezTo>
                        <a:pt x="6" y="66"/>
                        <a:pt x="6" y="66"/>
                        <a:pt x="6" y="66"/>
                      </a:cubicBezTo>
                      <a:lnTo>
                        <a:pt x="0" y="72"/>
                      </a:lnTo>
                      <a:close/>
                      <a:moveTo>
                        <a:pt x="231" y="124"/>
                      </a:moveTo>
                      <a:cubicBezTo>
                        <a:pt x="227" y="122"/>
                        <a:pt x="227" y="122"/>
                        <a:pt x="227" y="122"/>
                      </a:cubicBezTo>
                      <a:cubicBezTo>
                        <a:pt x="223" y="124"/>
                        <a:pt x="223" y="124"/>
                        <a:pt x="223" y="124"/>
                      </a:cubicBezTo>
                      <a:cubicBezTo>
                        <a:pt x="218" y="127"/>
                        <a:pt x="218" y="127"/>
                        <a:pt x="218" y="127"/>
                      </a:cubicBezTo>
                      <a:cubicBezTo>
                        <a:pt x="216" y="124"/>
                        <a:pt x="216" y="124"/>
                        <a:pt x="216" y="124"/>
                      </a:cubicBezTo>
                      <a:cubicBezTo>
                        <a:pt x="214" y="120"/>
                        <a:pt x="214" y="120"/>
                        <a:pt x="214" y="120"/>
                      </a:cubicBezTo>
                      <a:cubicBezTo>
                        <a:pt x="210" y="117"/>
                        <a:pt x="210" y="117"/>
                        <a:pt x="210" y="117"/>
                      </a:cubicBezTo>
                      <a:cubicBezTo>
                        <a:pt x="206" y="113"/>
                        <a:pt x="206" y="113"/>
                        <a:pt x="206" y="113"/>
                      </a:cubicBezTo>
                      <a:cubicBezTo>
                        <a:pt x="202" y="113"/>
                        <a:pt x="202" y="113"/>
                        <a:pt x="202" y="113"/>
                      </a:cubicBezTo>
                      <a:cubicBezTo>
                        <a:pt x="197" y="111"/>
                        <a:pt x="197" y="111"/>
                        <a:pt x="197" y="111"/>
                      </a:cubicBezTo>
                      <a:cubicBezTo>
                        <a:pt x="195" y="113"/>
                        <a:pt x="195" y="113"/>
                        <a:pt x="195" y="113"/>
                      </a:cubicBezTo>
                      <a:cubicBezTo>
                        <a:pt x="190" y="110"/>
                        <a:pt x="190" y="110"/>
                        <a:pt x="190" y="110"/>
                      </a:cubicBezTo>
                      <a:cubicBezTo>
                        <a:pt x="186" y="111"/>
                        <a:pt x="186" y="111"/>
                        <a:pt x="186" y="111"/>
                      </a:cubicBezTo>
                      <a:cubicBezTo>
                        <a:pt x="185" y="110"/>
                        <a:pt x="185" y="110"/>
                        <a:pt x="185" y="110"/>
                      </a:cubicBezTo>
                      <a:cubicBezTo>
                        <a:pt x="187" y="106"/>
                        <a:pt x="187" y="106"/>
                        <a:pt x="187" y="106"/>
                      </a:cubicBezTo>
                      <a:cubicBezTo>
                        <a:pt x="185" y="101"/>
                        <a:pt x="185" y="101"/>
                        <a:pt x="185" y="101"/>
                      </a:cubicBezTo>
                      <a:cubicBezTo>
                        <a:pt x="189" y="100"/>
                        <a:pt x="189" y="100"/>
                        <a:pt x="189" y="100"/>
                      </a:cubicBezTo>
                      <a:cubicBezTo>
                        <a:pt x="189" y="95"/>
                        <a:pt x="189" y="95"/>
                        <a:pt x="189" y="95"/>
                      </a:cubicBezTo>
                      <a:cubicBezTo>
                        <a:pt x="191" y="85"/>
                        <a:pt x="191" y="85"/>
                        <a:pt x="191" y="85"/>
                      </a:cubicBezTo>
                      <a:cubicBezTo>
                        <a:pt x="187" y="84"/>
                        <a:pt x="187" y="84"/>
                        <a:pt x="187" y="84"/>
                      </a:cubicBezTo>
                      <a:cubicBezTo>
                        <a:pt x="182" y="80"/>
                        <a:pt x="182" y="80"/>
                        <a:pt x="182" y="80"/>
                      </a:cubicBezTo>
                      <a:cubicBezTo>
                        <a:pt x="177" y="78"/>
                        <a:pt x="177" y="78"/>
                        <a:pt x="177" y="78"/>
                      </a:cubicBezTo>
                      <a:cubicBezTo>
                        <a:pt x="172" y="78"/>
                        <a:pt x="172" y="78"/>
                        <a:pt x="172" y="78"/>
                      </a:cubicBezTo>
                      <a:cubicBezTo>
                        <a:pt x="169" y="76"/>
                        <a:pt x="169" y="76"/>
                        <a:pt x="169" y="76"/>
                      </a:cubicBezTo>
                      <a:cubicBezTo>
                        <a:pt x="169" y="71"/>
                        <a:pt x="169" y="71"/>
                        <a:pt x="169" y="71"/>
                      </a:cubicBezTo>
                      <a:cubicBezTo>
                        <a:pt x="170" y="61"/>
                        <a:pt x="170" y="61"/>
                        <a:pt x="170" y="61"/>
                      </a:cubicBezTo>
                      <a:cubicBezTo>
                        <a:pt x="167" y="57"/>
                        <a:pt x="167" y="57"/>
                        <a:pt x="167" y="57"/>
                      </a:cubicBezTo>
                      <a:cubicBezTo>
                        <a:pt x="165" y="56"/>
                        <a:pt x="165" y="56"/>
                        <a:pt x="165" y="56"/>
                      </a:cubicBezTo>
                      <a:cubicBezTo>
                        <a:pt x="163" y="59"/>
                        <a:pt x="163" y="59"/>
                        <a:pt x="163" y="59"/>
                      </a:cubicBezTo>
                      <a:cubicBezTo>
                        <a:pt x="161" y="61"/>
                        <a:pt x="161" y="61"/>
                        <a:pt x="161" y="61"/>
                      </a:cubicBezTo>
                      <a:cubicBezTo>
                        <a:pt x="158" y="60"/>
                        <a:pt x="158" y="60"/>
                        <a:pt x="158" y="60"/>
                      </a:cubicBezTo>
                      <a:cubicBezTo>
                        <a:pt x="157" y="53"/>
                        <a:pt x="157" y="53"/>
                        <a:pt x="157" y="53"/>
                      </a:cubicBezTo>
                      <a:cubicBezTo>
                        <a:pt x="159" y="36"/>
                        <a:pt x="159" y="36"/>
                        <a:pt x="159" y="36"/>
                      </a:cubicBezTo>
                      <a:cubicBezTo>
                        <a:pt x="158" y="35"/>
                        <a:pt x="158" y="35"/>
                        <a:pt x="158" y="35"/>
                      </a:cubicBezTo>
                      <a:cubicBezTo>
                        <a:pt x="151" y="36"/>
                        <a:pt x="151" y="36"/>
                        <a:pt x="151" y="36"/>
                      </a:cubicBezTo>
                      <a:cubicBezTo>
                        <a:pt x="154" y="32"/>
                        <a:pt x="154" y="32"/>
                        <a:pt x="154" y="32"/>
                      </a:cubicBezTo>
                      <a:cubicBezTo>
                        <a:pt x="152" y="29"/>
                        <a:pt x="152" y="29"/>
                        <a:pt x="152" y="29"/>
                      </a:cubicBezTo>
                      <a:cubicBezTo>
                        <a:pt x="147" y="32"/>
                        <a:pt x="147" y="32"/>
                        <a:pt x="147" y="32"/>
                      </a:cubicBezTo>
                      <a:cubicBezTo>
                        <a:pt x="142" y="30"/>
                        <a:pt x="142" y="30"/>
                        <a:pt x="142" y="30"/>
                      </a:cubicBezTo>
                      <a:cubicBezTo>
                        <a:pt x="137" y="32"/>
                        <a:pt x="137" y="32"/>
                        <a:pt x="137" y="32"/>
                      </a:cubicBezTo>
                      <a:cubicBezTo>
                        <a:pt x="132" y="28"/>
                        <a:pt x="132" y="28"/>
                        <a:pt x="132" y="28"/>
                      </a:cubicBezTo>
                      <a:cubicBezTo>
                        <a:pt x="126" y="27"/>
                        <a:pt x="126" y="27"/>
                        <a:pt x="126" y="27"/>
                      </a:cubicBezTo>
                      <a:cubicBezTo>
                        <a:pt x="125" y="24"/>
                        <a:pt x="125" y="24"/>
                        <a:pt x="125" y="24"/>
                      </a:cubicBezTo>
                      <a:cubicBezTo>
                        <a:pt x="131" y="20"/>
                        <a:pt x="131" y="20"/>
                        <a:pt x="131" y="20"/>
                      </a:cubicBezTo>
                      <a:cubicBezTo>
                        <a:pt x="131" y="17"/>
                        <a:pt x="131" y="17"/>
                        <a:pt x="131" y="17"/>
                      </a:cubicBezTo>
                      <a:cubicBezTo>
                        <a:pt x="130" y="12"/>
                        <a:pt x="130" y="12"/>
                        <a:pt x="130" y="12"/>
                      </a:cubicBezTo>
                      <a:cubicBezTo>
                        <a:pt x="126" y="5"/>
                        <a:pt x="126" y="5"/>
                        <a:pt x="126" y="5"/>
                      </a:cubicBezTo>
                      <a:cubicBezTo>
                        <a:pt x="122" y="0"/>
                        <a:pt x="122" y="0"/>
                        <a:pt x="122" y="0"/>
                      </a:cubicBezTo>
                      <a:cubicBezTo>
                        <a:pt x="116" y="2"/>
                        <a:pt x="116" y="2"/>
                        <a:pt x="116" y="2"/>
                      </a:cubicBezTo>
                      <a:cubicBezTo>
                        <a:pt x="115" y="6"/>
                        <a:pt x="115" y="6"/>
                        <a:pt x="115" y="6"/>
                      </a:cubicBezTo>
                      <a:cubicBezTo>
                        <a:pt x="112" y="8"/>
                        <a:pt x="112" y="8"/>
                        <a:pt x="112" y="8"/>
                      </a:cubicBezTo>
                      <a:cubicBezTo>
                        <a:pt x="104" y="13"/>
                        <a:pt x="104" y="13"/>
                        <a:pt x="104" y="13"/>
                      </a:cubicBezTo>
                      <a:cubicBezTo>
                        <a:pt x="100" y="16"/>
                        <a:pt x="100" y="16"/>
                        <a:pt x="100" y="16"/>
                      </a:cubicBezTo>
                      <a:cubicBezTo>
                        <a:pt x="96" y="15"/>
                        <a:pt x="96" y="15"/>
                        <a:pt x="96" y="15"/>
                      </a:cubicBezTo>
                      <a:cubicBezTo>
                        <a:pt x="92" y="17"/>
                        <a:pt x="92" y="17"/>
                        <a:pt x="92" y="17"/>
                      </a:cubicBezTo>
                      <a:cubicBezTo>
                        <a:pt x="89" y="13"/>
                        <a:pt x="89" y="13"/>
                        <a:pt x="89" y="13"/>
                      </a:cubicBezTo>
                      <a:cubicBezTo>
                        <a:pt x="88" y="16"/>
                        <a:pt x="88" y="16"/>
                        <a:pt x="88" y="16"/>
                      </a:cubicBezTo>
                      <a:cubicBezTo>
                        <a:pt x="91" y="22"/>
                        <a:pt x="91" y="22"/>
                        <a:pt x="91" y="22"/>
                      </a:cubicBezTo>
                      <a:cubicBezTo>
                        <a:pt x="99" y="24"/>
                        <a:pt x="99" y="24"/>
                        <a:pt x="99" y="24"/>
                      </a:cubicBezTo>
                      <a:cubicBezTo>
                        <a:pt x="101" y="27"/>
                        <a:pt x="101" y="27"/>
                        <a:pt x="101" y="27"/>
                      </a:cubicBezTo>
                      <a:cubicBezTo>
                        <a:pt x="97" y="30"/>
                        <a:pt x="97" y="30"/>
                        <a:pt x="97" y="30"/>
                      </a:cubicBezTo>
                      <a:cubicBezTo>
                        <a:pt x="97" y="33"/>
                        <a:pt x="97" y="33"/>
                        <a:pt x="97" y="33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ubicBezTo>
                        <a:pt x="100" y="40"/>
                        <a:pt x="100" y="40"/>
                        <a:pt x="100" y="40"/>
                      </a:cubicBezTo>
                      <a:cubicBezTo>
                        <a:pt x="97" y="42"/>
                        <a:pt x="97" y="42"/>
                        <a:pt x="97" y="42"/>
                      </a:cubicBezTo>
                      <a:cubicBezTo>
                        <a:pt x="99" y="46"/>
                        <a:pt x="99" y="46"/>
                        <a:pt x="99" y="46"/>
                      </a:cubicBezTo>
                      <a:cubicBezTo>
                        <a:pt x="96" y="47"/>
                        <a:pt x="96" y="47"/>
                        <a:pt x="96" y="47"/>
                      </a:cubicBezTo>
                      <a:cubicBezTo>
                        <a:pt x="92" y="49"/>
                        <a:pt x="92" y="49"/>
                        <a:pt x="92" y="49"/>
                      </a:cubicBezTo>
                      <a:cubicBezTo>
                        <a:pt x="91" y="44"/>
                        <a:pt x="91" y="44"/>
                        <a:pt x="91" y="44"/>
                      </a:cubicBezTo>
                      <a:cubicBezTo>
                        <a:pt x="88" y="45"/>
                        <a:pt x="88" y="45"/>
                        <a:pt x="88" y="45"/>
                      </a:cubicBezTo>
                      <a:cubicBezTo>
                        <a:pt x="78" y="53"/>
                        <a:pt x="78" y="53"/>
                        <a:pt x="78" y="53"/>
                      </a:cubicBezTo>
                      <a:cubicBezTo>
                        <a:pt x="70" y="59"/>
                        <a:pt x="70" y="59"/>
                        <a:pt x="70" y="59"/>
                      </a:cubicBezTo>
                      <a:cubicBezTo>
                        <a:pt x="72" y="65"/>
                        <a:pt x="72" y="65"/>
                        <a:pt x="72" y="65"/>
                      </a:cubicBezTo>
                      <a:cubicBezTo>
                        <a:pt x="73" y="71"/>
                        <a:pt x="73" y="71"/>
                        <a:pt x="73" y="71"/>
                      </a:cubicBezTo>
                      <a:cubicBezTo>
                        <a:pt x="63" y="74"/>
                        <a:pt x="63" y="74"/>
                        <a:pt x="63" y="74"/>
                      </a:cubicBezTo>
                      <a:cubicBezTo>
                        <a:pt x="45" y="74"/>
                        <a:pt x="45" y="74"/>
                        <a:pt x="45" y="74"/>
                      </a:cubicBezTo>
                      <a:cubicBezTo>
                        <a:pt x="32" y="75"/>
                        <a:pt x="32" y="75"/>
                        <a:pt x="32" y="75"/>
                      </a:cubicBezTo>
                      <a:cubicBezTo>
                        <a:pt x="14" y="72"/>
                        <a:pt x="14" y="72"/>
                        <a:pt x="14" y="72"/>
                      </a:cubicBezTo>
                      <a:cubicBezTo>
                        <a:pt x="9" y="77"/>
                        <a:pt x="9" y="77"/>
                        <a:pt x="9" y="77"/>
                      </a:cubicBezTo>
                      <a:cubicBezTo>
                        <a:pt x="8" y="76"/>
                        <a:pt x="7" y="76"/>
                        <a:pt x="6" y="75"/>
                      </a:cubicBezTo>
                      <a:cubicBezTo>
                        <a:pt x="6" y="116"/>
                        <a:pt x="6" y="116"/>
                        <a:pt x="6" y="116"/>
                      </a:cubicBezTo>
                      <a:cubicBezTo>
                        <a:pt x="6" y="141"/>
                        <a:pt x="6" y="141"/>
                        <a:pt x="6" y="141"/>
                      </a:cubicBezTo>
                      <a:cubicBezTo>
                        <a:pt x="14" y="153"/>
                        <a:pt x="14" y="153"/>
                        <a:pt x="14" y="153"/>
                      </a:cubicBezTo>
                      <a:cubicBezTo>
                        <a:pt x="14" y="154"/>
                        <a:pt x="14" y="155"/>
                        <a:pt x="14" y="155"/>
                      </a:cubicBezTo>
                      <a:cubicBezTo>
                        <a:pt x="14" y="155"/>
                        <a:pt x="15" y="155"/>
                        <a:pt x="16" y="156"/>
                      </a:cubicBez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48" y="173"/>
                        <a:pt x="48" y="173"/>
                        <a:pt x="48" y="173"/>
                      </a:cubicBezTo>
                      <a:cubicBezTo>
                        <a:pt x="48" y="173"/>
                        <a:pt x="49" y="174"/>
                        <a:pt x="50" y="175"/>
                      </a:cubicBezTo>
                      <a:cubicBezTo>
                        <a:pt x="59" y="201"/>
                        <a:pt x="59" y="201"/>
                        <a:pt x="59" y="201"/>
                      </a:cubicBezTo>
                      <a:cubicBezTo>
                        <a:pt x="59" y="205"/>
                        <a:pt x="60" y="208"/>
                        <a:pt x="60" y="211"/>
                      </a:cubicBezTo>
                      <a:cubicBezTo>
                        <a:pt x="60" y="229"/>
                        <a:pt x="60" y="229"/>
                        <a:pt x="60" y="229"/>
                      </a:cubicBezTo>
                      <a:cubicBezTo>
                        <a:pt x="60" y="237"/>
                        <a:pt x="60" y="237"/>
                        <a:pt x="60" y="237"/>
                      </a:cubicBezTo>
                      <a:cubicBezTo>
                        <a:pt x="76" y="232"/>
                        <a:pt x="76" y="232"/>
                        <a:pt x="76" y="232"/>
                      </a:cubicBezTo>
                      <a:cubicBezTo>
                        <a:pt x="92" y="226"/>
                        <a:pt x="92" y="226"/>
                        <a:pt x="92" y="226"/>
                      </a:cubicBezTo>
                      <a:cubicBezTo>
                        <a:pt x="103" y="205"/>
                        <a:pt x="103" y="205"/>
                        <a:pt x="103" y="205"/>
                      </a:cubicBezTo>
                      <a:cubicBezTo>
                        <a:pt x="138" y="205"/>
                        <a:pt x="138" y="205"/>
                        <a:pt x="138" y="205"/>
                      </a:cubicBezTo>
                      <a:cubicBezTo>
                        <a:pt x="146" y="205"/>
                        <a:pt x="146" y="205"/>
                        <a:pt x="146" y="205"/>
                      </a:cubicBezTo>
                      <a:cubicBezTo>
                        <a:pt x="146" y="184"/>
                        <a:pt x="146" y="184"/>
                        <a:pt x="146" y="184"/>
                      </a:cubicBezTo>
                      <a:cubicBezTo>
                        <a:pt x="178" y="184"/>
                        <a:pt x="178" y="184"/>
                        <a:pt x="178" y="184"/>
                      </a:cubicBezTo>
                      <a:cubicBezTo>
                        <a:pt x="189" y="173"/>
                        <a:pt x="189" y="173"/>
                        <a:pt x="189" y="173"/>
                      </a:cubicBezTo>
                      <a:cubicBezTo>
                        <a:pt x="210" y="170"/>
                        <a:pt x="210" y="170"/>
                        <a:pt x="210" y="170"/>
                      </a:cubicBezTo>
                      <a:cubicBezTo>
                        <a:pt x="209" y="163"/>
                        <a:pt x="209" y="163"/>
                        <a:pt x="209" y="163"/>
                      </a:cubicBezTo>
                      <a:cubicBezTo>
                        <a:pt x="213" y="159"/>
                        <a:pt x="213" y="159"/>
                        <a:pt x="213" y="159"/>
                      </a:cubicBezTo>
                      <a:cubicBezTo>
                        <a:pt x="217" y="156"/>
                        <a:pt x="217" y="156"/>
                        <a:pt x="217" y="156"/>
                      </a:cubicBezTo>
                      <a:cubicBezTo>
                        <a:pt x="219" y="147"/>
                        <a:pt x="219" y="147"/>
                        <a:pt x="219" y="147"/>
                      </a:cubicBezTo>
                      <a:cubicBezTo>
                        <a:pt x="225" y="144"/>
                        <a:pt x="225" y="144"/>
                        <a:pt x="225" y="144"/>
                      </a:cubicBezTo>
                      <a:cubicBezTo>
                        <a:pt x="225" y="141"/>
                        <a:pt x="225" y="141"/>
                        <a:pt x="225" y="141"/>
                      </a:cubicBezTo>
                      <a:cubicBezTo>
                        <a:pt x="228" y="137"/>
                        <a:pt x="228" y="137"/>
                        <a:pt x="228" y="137"/>
                      </a:cubicBezTo>
                      <a:cubicBezTo>
                        <a:pt x="229" y="133"/>
                        <a:pt x="229" y="133"/>
                        <a:pt x="229" y="133"/>
                      </a:cubicBezTo>
                      <a:cubicBezTo>
                        <a:pt x="232" y="129"/>
                        <a:pt x="232" y="129"/>
                        <a:pt x="232" y="129"/>
                      </a:cubicBezTo>
                      <a:cubicBezTo>
                        <a:pt x="231" y="124"/>
                        <a:pt x="231" y="124"/>
                        <a:pt x="231" y="124"/>
                      </a:cubicBezTo>
                      <a:close/>
                    </a:path>
                  </a:pathLst>
                </a:custGeom>
                <a:grpFill/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619419">
                    <a:spcBef>
                      <a:spcPct val="0"/>
                    </a:spcBef>
                    <a:defRPr/>
                  </a:pPr>
                  <a:endParaRPr lang="en-GB" sz="633" kern="0">
                    <a:solidFill>
                      <a:srgbClr val="555555"/>
                    </a:solidFill>
                    <a:cs typeface="Calibri" pitchFamily="34" charset="0"/>
                  </a:endParaRPr>
                </a:p>
              </p:txBody>
            </p:sp>
          </p:grpSp>
        </p:grpSp>
        <p:grpSp>
          <p:nvGrpSpPr>
            <p:cNvPr id="198" name="South_africa_Oceanea">
              <a:extLst>
                <a:ext uri="{FF2B5EF4-FFF2-40B4-BE49-F238E27FC236}">
                  <a16:creationId xmlns:a16="http://schemas.microsoft.com/office/drawing/2014/main" id="{931D7A79-0456-46F9-B97C-388465AC0539}"/>
                </a:ext>
              </a:extLst>
            </p:cNvPr>
            <p:cNvGrpSpPr/>
            <p:nvPr/>
          </p:nvGrpSpPr>
          <p:grpSpPr>
            <a:xfrm>
              <a:off x="5985932" y="3231805"/>
              <a:ext cx="5800738" cy="2994063"/>
              <a:chOff x="5914601" y="3674444"/>
              <a:chExt cx="4900828" cy="2529573"/>
            </a:xfrm>
            <a:solidFill>
              <a:srgbClr val="66A697"/>
            </a:solidFill>
          </p:grpSpPr>
          <p:sp>
            <p:nvSpPr>
              <p:cNvPr id="256" name="Philippine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E1E6474-B158-4CB3-A2D2-E021A1E5E37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234236" y="3842728"/>
                <a:ext cx="316238" cy="540280"/>
              </a:xfrm>
              <a:custGeom>
                <a:avLst/>
                <a:gdLst>
                  <a:gd name="T0" fmla="*/ 2147483647 w 714"/>
                  <a:gd name="T1" fmla="*/ 2147483647 h 1200"/>
                  <a:gd name="T2" fmla="*/ 2147483647 w 714"/>
                  <a:gd name="T3" fmla="*/ 2147483647 h 1200"/>
                  <a:gd name="T4" fmla="*/ 2147483647 w 714"/>
                  <a:gd name="T5" fmla="*/ 2147483647 h 1200"/>
                  <a:gd name="T6" fmla="*/ 2147483647 w 714"/>
                  <a:gd name="T7" fmla="*/ 2147483647 h 1200"/>
                  <a:gd name="T8" fmla="*/ 2147483647 w 714"/>
                  <a:gd name="T9" fmla="*/ 2147483647 h 1200"/>
                  <a:gd name="T10" fmla="*/ 2147483647 w 714"/>
                  <a:gd name="T11" fmla="*/ 2147483647 h 1200"/>
                  <a:gd name="T12" fmla="*/ 2147483647 w 714"/>
                  <a:gd name="T13" fmla="*/ 2147483647 h 1200"/>
                  <a:gd name="T14" fmla="*/ 2147483647 w 714"/>
                  <a:gd name="T15" fmla="*/ 2147483647 h 1200"/>
                  <a:gd name="T16" fmla="*/ 2147483647 w 714"/>
                  <a:gd name="T17" fmla="*/ 2147483647 h 1200"/>
                  <a:gd name="T18" fmla="*/ 2147483647 w 714"/>
                  <a:gd name="T19" fmla="*/ 2147483647 h 1200"/>
                  <a:gd name="T20" fmla="*/ 2147483647 w 714"/>
                  <a:gd name="T21" fmla="*/ 2147483647 h 1200"/>
                  <a:gd name="T22" fmla="*/ 2147483647 w 714"/>
                  <a:gd name="T23" fmla="*/ 2147483647 h 1200"/>
                  <a:gd name="T24" fmla="*/ 2147483647 w 714"/>
                  <a:gd name="T25" fmla="*/ 2147483647 h 1200"/>
                  <a:gd name="T26" fmla="*/ 2147483647 w 714"/>
                  <a:gd name="T27" fmla="*/ 2147483647 h 1200"/>
                  <a:gd name="T28" fmla="*/ 2147483647 w 714"/>
                  <a:gd name="T29" fmla="*/ 2147483647 h 1200"/>
                  <a:gd name="T30" fmla="*/ 2147483647 w 714"/>
                  <a:gd name="T31" fmla="*/ 2147483647 h 1200"/>
                  <a:gd name="T32" fmla="*/ 2147483647 w 714"/>
                  <a:gd name="T33" fmla="*/ 2147483647 h 1200"/>
                  <a:gd name="T34" fmla="*/ 2147483647 w 714"/>
                  <a:gd name="T35" fmla="*/ 2147483647 h 1200"/>
                  <a:gd name="T36" fmla="*/ 2147483647 w 714"/>
                  <a:gd name="T37" fmla="*/ 2147483647 h 1200"/>
                  <a:gd name="T38" fmla="*/ 2147483647 w 714"/>
                  <a:gd name="T39" fmla="*/ 2147483647 h 1200"/>
                  <a:gd name="T40" fmla="*/ 2147483647 w 714"/>
                  <a:gd name="T41" fmla="*/ 2147483647 h 1200"/>
                  <a:gd name="T42" fmla="*/ 2147483647 w 714"/>
                  <a:gd name="T43" fmla="*/ 2147483647 h 1200"/>
                  <a:gd name="T44" fmla="*/ 2147483647 w 714"/>
                  <a:gd name="T45" fmla="*/ 2147483647 h 1200"/>
                  <a:gd name="T46" fmla="*/ 2147483647 w 714"/>
                  <a:gd name="T47" fmla="*/ 2147483647 h 1200"/>
                  <a:gd name="T48" fmla="*/ 2147483647 w 714"/>
                  <a:gd name="T49" fmla="*/ 2147483647 h 1200"/>
                  <a:gd name="T50" fmla="*/ 2147483647 w 714"/>
                  <a:gd name="T51" fmla="*/ 2147483647 h 1200"/>
                  <a:gd name="T52" fmla="*/ 2147483647 w 714"/>
                  <a:gd name="T53" fmla="*/ 2147483647 h 1200"/>
                  <a:gd name="T54" fmla="*/ 2147483647 w 714"/>
                  <a:gd name="T55" fmla="*/ 2147483647 h 1200"/>
                  <a:gd name="T56" fmla="*/ 2147483647 w 714"/>
                  <a:gd name="T57" fmla="*/ 2147483647 h 1200"/>
                  <a:gd name="T58" fmla="*/ 2147483647 w 714"/>
                  <a:gd name="T59" fmla="*/ 2147483647 h 1200"/>
                  <a:gd name="T60" fmla="*/ 2147483647 w 714"/>
                  <a:gd name="T61" fmla="*/ 2147483647 h 1200"/>
                  <a:gd name="T62" fmla="*/ 2147483647 w 714"/>
                  <a:gd name="T63" fmla="*/ 2147483647 h 1200"/>
                  <a:gd name="T64" fmla="*/ 2147483647 w 714"/>
                  <a:gd name="T65" fmla="*/ 2147483647 h 1200"/>
                  <a:gd name="T66" fmla="*/ 2147483647 w 714"/>
                  <a:gd name="T67" fmla="*/ 2147483647 h 1200"/>
                  <a:gd name="T68" fmla="*/ 2147483647 w 714"/>
                  <a:gd name="T69" fmla="*/ 2147483647 h 1200"/>
                  <a:gd name="T70" fmla="*/ 2147483647 w 714"/>
                  <a:gd name="T71" fmla="*/ 2147483647 h 1200"/>
                  <a:gd name="T72" fmla="*/ 2147483647 w 714"/>
                  <a:gd name="T73" fmla="*/ 2147483647 h 1200"/>
                  <a:gd name="T74" fmla="*/ 2147483647 w 714"/>
                  <a:gd name="T75" fmla="*/ 2147483647 h 1200"/>
                  <a:gd name="T76" fmla="*/ 2147483647 w 714"/>
                  <a:gd name="T77" fmla="*/ 2147483647 h 1200"/>
                  <a:gd name="T78" fmla="*/ 2147483647 w 714"/>
                  <a:gd name="T79" fmla="*/ 0 h 1200"/>
                  <a:gd name="T80" fmla="*/ 2147483647 w 714"/>
                  <a:gd name="T81" fmla="*/ 2147483647 h 1200"/>
                  <a:gd name="T82" fmla="*/ 2147483647 w 714"/>
                  <a:gd name="T83" fmla="*/ 2147483647 h 1200"/>
                  <a:gd name="T84" fmla="*/ 2147483647 w 714"/>
                  <a:gd name="T85" fmla="*/ 2147483647 h 1200"/>
                  <a:gd name="T86" fmla="*/ 2147483647 w 714"/>
                  <a:gd name="T87" fmla="*/ 2147483647 h 1200"/>
                  <a:gd name="T88" fmla="*/ 2147483647 w 714"/>
                  <a:gd name="T89" fmla="*/ 2147483647 h 1200"/>
                  <a:gd name="T90" fmla="*/ 2147483647 w 714"/>
                  <a:gd name="T91" fmla="*/ 2147483647 h 1200"/>
                  <a:gd name="T92" fmla="*/ 2147483647 w 714"/>
                  <a:gd name="T93" fmla="*/ 2147483647 h 1200"/>
                  <a:gd name="T94" fmla="*/ 2147483647 w 714"/>
                  <a:gd name="T95" fmla="*/ 2147483647 h 1200"/>
                  <a:gd name="T96" fmla="*/ 2147483647 w 714"/>
                  <a:gd name="T97" fmla="*/ 2147483647 h 1200"/>
                  <a:gd name="T98" fmla="*/ 2147483647 w 714"/>
                  <a:gd name="T99" fmla="*/ 2147483647 h 1200"/>
                  <a:gd name="T100" fmla="*/ 2147483647 w 714"/>
                  <a:gd name="T101" fmla="*/ 2147483647 h 1200"/>
                  <a:gd name="T102" fmla="*/ 2147483647 w 714"/>
                  <a:gd name="T103" fmla="*/ 2147483647 h 1200"/>
                  <a:gd name="T104" fmla="*/ 2147483647 w 714"/>
                  <a:gd name="T105" fmla="*/ 2147483647 h 1200"/>
                  <a:gd name="T106" fmla="*/ 2147483647 w 714"/>
                  <a:gd name="T107" fmla="*/ 2147483647 h 1200"/>
                  <a:gd name="T108" fmla="*/ 2147483647 w 714"/>
                  <a:gd name="T109" fmla="*/ 2147483647 h 1200"/>
                  <a:gd name="T110" fmla="*/ 2147483647 w 714"/>
                  <a:gd name="T111" fmla="*/ 2147483647 h 1200"/>
                  <a:gd name="T112" fmla="*/ 2147483647 w 714"/>
                  <a:gd name="T113" fmla="*/ 2147483647 h 1200"/>
                  <a:gd name="T114" fmla="*/ 2147483647 w 714"/>
                  <a:gd name="T115" fmla="*/ 2147483647 h 1200"/>
                  <a:gd name="T116" fmla="*/ 2147483647 w 714"/>
                  <a:gd name="T117" fmla="*/ 2147483647 h 120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714"/>
                  <a:gd name="T178" fmla="*/ 0 h 1200"/>
                  <a:gd name="T179" fmla="*/ 714 w 714"/>
                  <a:gd name="T180" fmla="*/ 1200 h 120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714" h="1200">
                    <a:moveTo>
                      <a:pt x="702" y="1140"/>
                    </a:moveTo>
                    <a:lnTo>
                      <a:pt x="690" y="1170"/>
                    </a:lnTo>
                    <a:lnTo>
                      <a:pt x="696" y="1200"/>
                    </a:lnTo>
                    <a:lnTo>
                      <a:pt x="714" y="1182"/>
                    </a:lnTo>
                    <a:lnTo>
                      <a:pt x="714" y="1140"/>
                    </a:lnTo>
                    <a:lnTo>
                      <a:pt x="702" y="1140"/>
                    </a:lnTo>
                    <a:close/>
                    <a:moveTo>
                      <a:pt x="582" y="1176"/>
                    </a:moveTo>
                    <a:lnTo>
                      <a:pt x="600" y="1140"/>
                    </a:lnTo>
                    <a:lnTo>
                      <a:pt x="576" y="1134"/>
                    </a:lnTo>
                    <a:lnTo>
                      <a:pt x="582" y="1176"/>
                    </a:lnTo>
                    <a:close/>
                    <a:moveTo>
                      <a:pt x="246" y="1038"/>
                    </a:moveTo>
                    <a:lnTo>
                      <a:pt x="264" y="1050"/>
                    </a:lnTo>
                    <a:lnTo>
                      <a:pt x="282" y="1020"/>
                    </a:lnTo>
                    <a:lnTo>
                      <a:pt x="258" y="1008"/>
                    </a:lnTo>
                    <a:lnTo>
                      <a:pt x="246" y="1038"/>
                    </a:lnTo>
                    <a:close/>
                    <a:moveTo>
                      <a:pt x="504" y="558"/>
                    </a:moveTo>
                    <a:lnTo>
                      <a:pt x="540" y="576"/>
                    </a:lnTo>
                    <a:lnTo>
                      <a:pt x="540" y="582"/>
                    </a:lnTo>
                    <a:lnTo>
                      <a:pt x="534" y="588"/>
                    </a:lnTo>
                    <a:lnTo>
                      <a:pt x="504" y="588"/>
                    </a:lnTo>
                    <a:lnTo>
                      <a:pt x="570" y="642"/>
                    </a:lnTo>
                    <a:lnTo>
                      <a:pt x="570" y="618"/>
                    </a:lnTo>
                    <a:lnTo>
                      <a:pt x="600" y="624"/>
                    </a:lnTo>
                    <a:lnTo>
                      <a:pt x="576" y="588"/>
                    </a:lnTo>
                    <a:lnTo>
                      <a:pt x="576" y="582"/>
                    </a:lnTo>
                    <a:lnTo>
                      <a:pt x="570" y="576"/>
                    </a:lnTo>
                    <a:lnTo>
                      <a:pt x="570" y="558"/>
                    </a:lnTo>
                    <a:lnTo>
                      <a:pt x="564" y="546"/>
                    </a:lnTo>
                    <a:lnTo>
                      <a:pt x="534" y="516"/>
                    </a:lnTo>
                    <a:lnTo>
                      <a:pt x="522" y="510"/>
                    </a:lnTo>
                    <a:lnTo>
                      <a:pt x="504" y="504"/>
                    </a:lnTo>
                    <a:lnTo>
                      <a:pt x="492" y="498"/>
                    </a:lnTo>
                    <a:lnTo>
                      <a:pt x="474" y="498"/>
                    </a:lnTo>
                    <a:lnTo>
                      <a:pt x="468" y="504"/>
                    </a:lnTo>
                    <a:lnTo>
                      <a:pt x="468" y="528"/>
                    </a:lnTo>
                    <a:lnTo>
                      <a:pt x="492" y="552"/>
                    </a:lnTo>
                    <a:lnTo>
                      <a:pt x="504" y="558"/>
                    </a:lnTo>
                    <a:close/>
                    <a:moveTo>
                      <a:pt x="462" y="666"/>
                    </a:moveTo>
                    <a:lnTo>
                      <a:pt x="474" y="750"/>
                    </a:lnTo>
                    <a:lnTo>
                      <a:pt x="486" y="672"/>
                    </a:lnTo>
                    <a:lnTo>
                      <a:pt x="462" y="618"/>
                    </a:lnTo>
                    <a:lnTo>
                      <a:pt x="438" y="618"/>
                    </a:lnTo>
                    <a:lnTo>
                      <a:pt x="462" y="666"/>
                    </a:lnTo>
                    <a:close/>
                    <a:moveTo>
                      <a:pt x="492" y="738"/>
                    </a:moveTo>
                    <a:lnTo>
                      <a:pt x="522" y="738"/>
                    </a:lnTo>
                    <a:lnTo>
                      <a:pt x="528" y="708"/>
                    </a:lnTo>
                    <a:lnTo>
                      <a:pt x="498" y="702"/>
                    </a:lnTo>
                    <a:lnTo>
                      <a:pt x="492" y="738"/>
                    </a:lnTo>
                    <a:close/>
                    <a:moveTo>
                      <a:pt x="570" y="660"/>
                    </a:moveTo>
                    <a:lnTo>
                      <a:pt x="546" y="648"/>
                    </a:lnTo>
                    <a:lnTo>
                      <a:pt x="528" y="630"/>
                    </a:lnTo>
                    <a:lnTo>
                      <a:pt x="528" y="624"/>
                    </a:lnTo>
                    <a:lnTo>
                      <a:pt x="522" y="618"/>
                    </a:lnTo>
                    <a:lnTo>
                      <a:pt x="486" y="618"/>
                    </a:lnTo>
                    <a:lnTo>
                      <a:pt x="492" y="660"/>
                    </a:lnTo>
                    <a:lnTo>
                      <a:pt x="510" y="654"/>
                    </a:lnTo>
                    <a:lnTo>
                      <a:pt x="522" y="678"/>
                    </a:lnTo>
                    <a:lnTo>
                      <a:pt x="570" y="714"/>
                    </a:lnTo>
                    <a:lnTo>
                      <a:pt x="570" y="660"/>
                    </a:lnTo>
                    <a:close/>
                    <a:moveTo>
                      <a:pt x="162" y="600"/>
                    </a:moveTo>
                    <a:lnTo>
                      <a:pt x="144" y="582"/>
                    </a:lnTo>
                    <a:lnTo>
                      <a:pt x="138" y="606"/>
                    </a:lnTo>
                    <a:lnTo>
                      <a:pt x="132" y="618"/>
                    </a:lnTo>
                    <a:lnTo>
                      <a:pt x="126" y="624"/>
                    </a:lnTo>
                    <a:lnTo>
                      <a:pt x="120" y="642"/>
                    </a:lnTo>
                    <a:lnTo>
                      <a:pt x="120" y="654"/>
                    </a:lnTo>
                    <a:lnTo>
                      <a:pt x="126" y="660"/>
                    </a:lnTo>
                    <a:lnTo>
                      <a:pt x="138" y="666"/>
                    </a:lnTo>
                    <a:lnTo>
                      <a:pt x="150" y="678"/>
                    </a:lnTo>
                    <a:lnTo>
                      <a:pt x="144" y="684"/>
                    </a:lnTo>
                    <a:lnTo>
                      <a:pt x="120" y="696"/>
                    </a:lnTo>
                    <a:lnTo>
                      <a:pt x="114" y="702"/>
                    </a:lnTo>
                    <a:lnTo>
                      <a:pt x="102" y="708"/>
                    </a:lnTo>
                    <a:lnTo>
                      <a:pt x="96" y="732"/>
                    </a:lnTo>
                    <a:lnTo>
                      <a:pt x="72" y="750"/>
                    </a:lnTo>
                    <a:lnTo>
                      <a:pt x="72" y="762"/>
                    </a:lnTo>
                    <a:lnTo>
                      <a:pt x="60" y="774"/>
                    </a:lnTo>
                    <a:lnTo>
                      <a:pt x="48" y="780"/>
                    </a:lnTo>
                    <a:lnTo>
                      <a:pt x="42" y="786"/>
                    </a:lnTo>
                    <a:lnTo>
                      <a:pt x="30" y="792"/>
                    </a:lnTo>
                    <a:lnTo>
                      <a:pt x="24" y="798"/>
                    </a:lnTo>
                    <a:lnTo>
                      <a:pt x="18" y="798"/>
                    </a:lnTo>
                    <a:lnTo>
                      <a:pt x="18" y="804"/>
                    </a:lnTo>
                    <a:lnTo>
                      <a:pt x="12" y="810"/>
                    </a:lnTo>
                    <a:lnTo>
                      <a:pt x="0" y="834"/>
                    </a:lnTo>
                    <a:lnTo>
                      <a:pt x="0" y="864"/>
                    </a:lnTo>
                    <a:lnTo>
                      <a:pt x="30" y="834"/>
                    </a:lnTo>
                    <a:lnTo>
                      <a:pt x="30" y="816"/>
                    </a:lnTo>
                    <a:lnTo>
                      <a:pt x="36" y="810"/>
                    </a:lnTo>
                    <a:lnTo>
                      <a:pt x="42" y="810"/>
                    </a:lnTo>
                    <a:lnTo>
                      <a:pt x="78" y="798"/>
                    </a:lnTo>
                    <a:lnTo>
                      <a:pt x="84" y="792"/>
                    </a:lnTo>
                    <a:lnTo>
                      <a:pt x="84" y="762"/>
                    </a:lnTo>
                    <a:lnTo>
                      <a:pt x="90" y="750"/>
                    </a:lnTo>
                    <a:lnTo>
                      <a:pt x="96" y="744"/>
                    </a:lnTo>
                    <a:lnTo>
                      <a:pt x="114" y="738"/>
                    </a:lnTo>
                    <a:lnTo>
                      <a:pt x="126" y="732"/>
                    </a:lnTo>
                    <a:lnTo>
                      <a:pt x="144" y="720"/>
                    </a:lnTo>
                    <a:lnTo>
                      <a:pt x="162" y="714"/>
                    </a:lnTo>
                    <a:lnTo>
                      <a:pt x="168" y="702"/>
                    </a:lnTo>
                    <a:lnTo>
                      <a:pt x="174" y="696"/>
                    </a:lnTo>
                    <a:lnTo>
                      <a:pt x="174" y="684"/>
                    </a:lnTo>
                    <a:lnTo>
                      <a:pt x="156" y="648"/>
                    </a:lnTo>
                    <a:lnTo>
                      <a:pt x="156" y="624"/>
                    </a:lnTo>
                    <a:lnTo>
                      <a:pt x="162" y="612"/>
                    </a:lnTo>
                    <a:lnTo>
                      <a:pt x="162" y="600"/>
                    </a:lnTo>
                    <a:close/>
                    <a:moveTo>
                      <a:pt x="330" y="1026"/>
                    </a:moveTo>
                    <a:lnTo>
                      <a:pt x="372" y="1056"/>
                    </a:lnTo>
                    <a:lnTo>
                      <a:pt x="372" y="1020"/>
                    </a:lnTo>
                    <a:lnTo>
                      <a:pt x="348" y="1002"/>
                    </a:lnTo>
                    <a:lnTo>
                      <a:pt x="330" y="1026"/>
                    </a:lnTo>
                    <a:close/>
                    <a:moveTo>
                      <a:pt x="660" y="840"/>
                    </a:moveTo>
                    <a:lnTo>
                      <a:pt x="660" y="816"/>
                    </a:lnTo>
                    <a:lnTo>
                      <a:pt x="654" y="804"/>
                    </a:lnTo>
                    <a:lnTo>
                      <a:pt x="654" y="792"/>
                    </a:lnTo>
                    <a:lnTo>
                      <a:pt x="642" y="780"/>
                    </a:lnTo>
                    <a:lnTo>
                      <a:pt x="630" y="774"/>
                    </a:lnTo>
                    <a:lnTo>
                      <a:pt x="600" y="744"/>
                    </a:lnTo>
                    <a:lnTo>
                      <a:pt x="588" y="738"/>
                    </a:lnTo>
                    <a:lnTo>
                      <a:pt x="582" y="738"/>
                    </a:lnTo>
                    <a:lnTo>
                      <a:pt x="576" y="744"/>
                    </a:lnTo>
                    <a:lnTo>
                      <a:pt x="582" y="750"/>
                    </a:lnTo>
                    <a:lnTo>
                      <a:pt x="588" y="762"/>
                    </a:lnTo>
                    <a:lnTo>
                      <a:pt x="594" y="768"/>
                    </a:lnTo>
                    <a:lnTo>
                      <a:pt x="606" y="774"/>
                    </a:lnTo>
                    <a:lnTo>
                      <a:pt x="606" y="786"/>
                    </a:lnTo>
                    <a:lnTo>
                      <a:pt x="600" y="786"/>
                    </a:lnTo>
                    <a:lnTo>
                      <a:pt x="588" y="792"/>
                    </a:lnTo>
                    <a:lnTo>
                      <a:pt x="570" y="792"/>
                    </a:lnTo>
                    <a:lnTo>
                      <a:pt x="558" y="798"/>
                    </a:lnTo>
                    <a:lnTo>
                      <a:pt x="546" y="798"/>
                    </a:lnTo>
                    <a:lnTo>
                      <a:pt x="546" y="828"/>
                    </a:lnTo>
                    <a:lnTo>
                      <a:pt x="528" y="828"/>
                    </a:lnTo>
                    <a:lnTo>
                      <a:pt x="522" y="846"/>
                    </a:lnTo>
                    <a:lnTo>
                      <a:pt x="498" y="864"/>
                    </a:lnTo>
                    <a:lnTo>
                      <a:pt x="492" y="864"/>
                    </a:lnTo>
                    <a:lnTo>
                      <a:pt x="486" y="858"/>
                    </a:lnTo>
                    <a:lnTo>
                      <a:pt x="474" y="852"/>
                    </a:lnTo>
                    <a:lnTo>
                      <a:pt x="462" y="852"/>
                    </a:lnTo>
                    <a:lnTo>
                      <a:pt x="450" y="846"/>
                    </a:lnTo>
                    <a:lnTo>
                      <a:pt x="438" y="858"/>
                    </a:lnTo>
                    <a:lnTo>
                      <a:pt x="432" y="870"/>
                    </a:lnTo>
                    <a:lnTo>
                      <a:pt x="420" y="882"/>
                    </a:lnTo>
                    <a:lnTo>
                      <a:pt x="414" y="894"/>
                    </a:lnTo>
                    <a:lnTo>
                      <a:pt x="408" y="900"/>
                    </a:lnTo>
                    <a:lnTo>
                      <a:pt x="408" y="906"/>
                    </a:lnTo>
                    <a:lnTo>
                      <a:pt x="408" y="900"/>
                    </a:lnTo>
                    <a:lnTo>
                      <a:pt x="396" y="888"/>
                    </a:lnTo>
                    <a:lnTo>
                      <a:pt x="384" y="888"/>
                    </a:lnTo>
                    <a:lnTo>
                      <a:pt x="378" y="900"/>
                    </a:lnTo>
                    <a:lnTo>
                      <a:pt x="378" y="912"/>
                    </a:lnTo>
                    <a:lnTo>
                      <a:pt x="372" y="924"/>
                    </a:lnTo>
                    <a:lnTo>
                      <a:pt x="366" y="930"/>
                    </a:lnTo>
                    <a:lnTo>
                      <a:pt x="360" y="942"/>
                    </a:lnTo>
                    <a:lnTo>
                      <a:pt x="384" y="960"/>
                    </a:lnTo>
                    <a:lnTo>
                      <a:pt x="402" y="942"/>
                    </a:lnTo>
                    <a:lnTo>
                      <a:pt x="414" y="966"/>
                    </a:lnTo>
                    <a:lnTo>
                      <a:pt x="420" y="960"/>
                    </a:lnTo>
                    <a:lnTo>
                      <a:pt x="432" y="954"/>
                    </a:lnTo>
                    <a:lnTo>
                      <a:pt x="450" y="936"/>
                    </a:lnTo>
                    <a:lnTo>
                      <a:pt x="462" y="930"/>
                    </a:lnTo>
                    <a:lnTo>
                      <a:pt x="474" y="930"/>
                    </a:lnTo>
                    <a:lnTo>
                      <a:pt x="498" y="954"/>
                    </a:lnTo>
                    <a:lnTo>
                      <a:pt x="510" y="960"/>
                    </a:lnTo>
                    <a:lnTo>
                      <a:pt x="492" y="978"/>
                    </a:lnTo>
                    <a:lnTo>
                      <a:pt x="492" y="990"/>
                    </a:lnTo>
                    <a:lnTo>
                      <a:pt x="510" y="1026"/>
                    </a:lnTo>
                    <a:lnTo>
                      <a:pt x="522" y="1044"/>
                    </a:lnTo>
                    <a:lnTo>
                      <a:pt x="534" y="1056"/>
                    </a:lnTo>
                    <a:lnTo>
                      <a:pt x="546" y="1062"/>
                    </a:lnTo>
                    <a:lnTo>
                      <a:pt x="558" y="1062"/>
                    </a:lnTo>
                    <a:lnTo>
                      <a:pt x="570" y="1068"/>
                    </a:lnTo>
                    <a:lnTo>
                      <a:pt x="582" y="1068"/>
                    </a:lnTo>
                    <a:lnTo>
                      <a:pt x="606" y="1050"/>
                    </a:lnTo>
                    <a:lnTo>
                      <a:pt x="606" y="1074"/>
                    </a:lnTo>
                    <a:lnTo>
                      <a:pt x="630" y="1074"/>
                    </a:lnTo>
                    <a:lnTo>
                      <a:pt x="630" y="1038"/>
                    </a:lnTo>
                    <a:lnTo>
                      <a:pt x="624" y="1032"/>
                    </a:lnTo>
                    <a:lnTo>
                      <a:pt x="606" y="996"/>
                    </a:lnTo>
                    <a:lnTo>
                      <a:pt x="606" y="984"/>
                    </a:lnTo>
                    <a:lnTo>
                      <a:pt x="612" y="972"/>
                    </a:lnTo>
                    <a:lnTo>
                      <a:pt x="624" y="960"/>
                    </a:lnTo>
                    <a:lnTo>
                      <a:pt x="654" y="1014"/>
                    </a:lnTo>
                    <a:lnTo>
                      <a:pt x="654" y="1008"/>
                    </a:lnTo>
                    <a:lnTo>
                      <a:pt x="660" y="1002"/>
                    </a:lnTo>
                    <a:lnTo>
                      <a:pt x="672" y="978"/>
                    </a:lnTo>
                    <a:lnTo>
                      <a:pt x="678" y="960"/>
                    </a:lnTo>
                    <a:lnTo>
                      <a:pt x="678" y="936"/>
                    </a:lnTo>
                    <a:lnTo>
                      <a:pt x="672" y="918"/>
                    </a:lnTo>
                    <a:lnTo>
                      <a:pt x="666" y="912"/>
                    </a:lnTo>
                    <a:lnTo>
                      <a:pt x="660" y="900"/>
                    </a:lnTo>
                    <a:lnTo>
                      <a:pt x="660" y="840"/>
                    </a:lnTo>
                    <a:close/>
                    <a:moveTo>
                      <a:pt x="330" y="384"/>
                    </a:moveTo>
                    <a:lnTo>
                      <a:pt x="348" y="384"/>
                    </a:lnTo>
                    <a:lnTo>
                      <a:pt x="354" y="390"/>
                    </a:lnTo>
                    <a:lnTo>
                      <a:pt x="366" y="396"/>
                    </a:lnTo>
                    <a:lnTo>
                      <a:pt x="366" y="408"/>
                    </a:lnTo>
                    <a:lnTo>
                      <a:pt x="372" y="420"/>
                    </a:lnTo>
                    <a:lnTo>
                      <a:pt x="384" y="438"/>
                    </a:lnTo>
                    <a:lnTo>
                      <a:pt x="396" y="450"/>
                    </a:lnTo>
                    <a:lnTo>
                      <a:pt x="414" y="462"/>
                    </a:lnTo>
                    <a:lnTo>
                      <a:pt x="432" y="462"/>
                    </a:lnTo>
                    <a:lnTo>
                      <a:pt x="444" y="438"/>
                    </a:lnTo>
                    <a:lnTo>
                      <a:pt x="444" y="426"/>
                    </a:lnTo>
                    <a:lnTo>
                      <a:pt x="432" y="402"/>
                    </a:lnTo>
                    <a:lnTo>
                      <a:pt x="420" y="396"/>
                    </a:lnTo>
                    <a:lnTo>
                      <a:pt x="408" y="396"/>
                    </a:lnTo>
                    <a:lnTo>
                      <a:pt x="408" y="390"/>
                    </a:lnTo>
                    <a:lnTo>
                      <a:pt x="414" y="384"/>
                    </a:lnTo>
                    <a:lnTo>
                      <a:pt x="414" y="378"/>
                    </a:lnTo>
                    <a:lnTo>
                      <a:pt x="420" y="372"/>
                    </a:lnTo>
                    <a:lnTo>
                      <a:pt x="408" y="372"/>
                    </a:lnTo>
                    <a:lnTo>
                      <a:pt x="396" y="366"/>
                    </a:lnTo>
                    <a:lnTo>
                      <a:pt x="390" y="360"/>
                    </a:lnTo>
                    <a:lnTo>
                      <a:pt x="372" y="360"/>
                    </a:lnTo>
                    <a:lnTo>
                      <a:pt x="366" y="366"/>
                    </a:lnTo>
                    <a:lnTo>
                      <a:pt x="354" y="372"/>
                    </a:lnTo>
                    <a:lnTo>
                      <a:pt x="342" y="360"/>
                    </a:lnTo>
                    <a:lnTo>
                      <a:pt x="330" y="354"/>
                    </a:lnTo>
                    <a:lnTo>
                      <a:pt x="312" y="354"/>
                    </a:lnTo>
                    <a:lnTo>
                      <a:pt x="300" y="366"/>
                    </a:lnTo>
                    <a:lnTo>
                      <a:pt x="288" y="372"/>
                    </a:lnTo>
                    <a:lnTo>
                      <a:pt x="282" y="372"/>
                    </a:lnTo>
                    <a:lnTo>
                      <a:pt x="264" y="354"/>
                    </a:lnTo>
                    <a:lnTo>
                      <a:pt x="258" y="342"/>
                    </a:lnTo>
                    <a:lnTo>
                      <a:pt x="258" y="252"/>
                    </a:lnTo>
                    <a:lnTo>
                      <a:pt x="270" y="228"/>
                    </a:lnTo>
                    <a:lnTo>
                      <a:pt x="270" y="222"/>
                    </a:lnTo>
                    <a:lnTo>
                      <a:pt x="288" y="204"/>
                    </a:lnTo>
                    <a:lnTo>
                      <a:pt x="288" y="174"/>
                    </a:lnTo>
                    <a:lnTo>
                      <a:pt x="276" y="150"/>
                    </a:lnTo>
                    <a:lnTo>
                      <a:pt x="276" y="126"/>
                    </a:lnTo>
                    <a:lnTo>
                      <a:pt x="282" y="108"/>
                    </a:lnTo>
                    <a:lnTo>
                      <a:pt x="282" y="72"/>
                    </a:lnTo>
                    <a:lnTo>
                      <a:pt x="264" y="54"/>
                    </a:lnTo>
                    <a:lnTo>
                      <a:pt x="264" y="36"/>
                    </a:lnTo>
                    <a:lnTo>
                      <a:pt x="258" y="30"/>
                    </a:lnTo>
                    <a:lnTo>
                      <a:pt x="258" y="6"/>
                    </a:lnTo>
                    <a:lnTo>
                      <a:pt x="252" y="0"/>
                    </a:lnTo>
                    <a:lnTo>
                      <a:pt x="240" y="0"/>
                    </a:lnTo>
                    <a:lnTo>
                      <a:pt x="234" y="6"/>
                    </a:lnTo>
                    <a:lnTo>
                      <a:pt x="234" y="12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204" y="24"/>
                    </a:lnTo>
                    <a:lnTo>
                      <a:pt x="192" y="18"/>
                    </a:lnTo>
                    <a:lnTo>
                      <a:pt x="186" y="12"/>
                    </a:lnTo>
                    <a:lnTo>
                      <a:pt x="174" y="12"/>
                    </a:lnTo>
                    <a:lnTo>
                      <a:pt x="162" y="18"/>
                    </a:lnTo>
                    <a:lnTo>
                      <a:pt x="162" y="36"/>
                    </a:lnTo>
                    <a:lnTo>
                      <a:pt x="156" y="42"/>
                    </a:lnTo>
                    <a:lnTo>
                      <a:pt x="156" y="48"/>
                    </a:lnTo>
                    <a:lnTo>
                      <a:pt x="144" y="72"/>
                    </a:lnTo>
                    <a:lnTo>
                      <a:pt x="132" y="84"/>
                    </a:lnTo>
                    <a:lnTo>
                      <a:pt x="132" y="96"/>
                    </a:lnTo>
                    <a:lnTo>
                      <a:pt x="138" y="102"/>
                    </a:lnTo>
                    <a:lnTo>
                      <a:pt x="144" y="114"/>
                    </a:lnTo>
                    <a:lnTo>
                      <a:pt x="150" y="132"/>
                    </a:lnTo>
                    <a:lnTo>
                      <a:pt x="156" y="138"/>
                    </a:lnTo>
                    <a:lnTo>
                      <a:pt x="156" y="150"/>
                    </a:lnTo>
                    <a:lnTo>
                      <a:pt x="150" y="162"/>
                    </a:lnTo>
                    <a:lnTo>
                      <a:pt x="150" y="168"/>
                    </a:lnTo>
                    <a:lnTo>
                      <a:pt x="144" y="174"/>
                    </a:lnTo>
                    <a:lnTo>
                      <a:pt x="138" y="186"/>
                    </a:lnTo>
                    <a:lnTo>
                      <a:pt x="138" y="198"/>
                    </a:lnTo>
                    <a:lnTo>
                      <a:pt x="150" y="210"/>
                    </a:lnTo>
                    <a:lnTo>
                      <a:pt x="150" y="216"/>
                    </a:lnTo>
                    <a:lnTo>
                      <a:pt x="144" y="222"/>
                    </a:lnTo>
                    <a:lnTo>
                      <a:pt x="138" y="222"/>
                    </a:lnTo>
                    <a:lnTo>
                      <a:pt x="126" y="228"/>
                    </a:lnTo>
                    <a:lnTo>
                      <a:pt x="120" y="228"/>
                    </a:lnTo>
                    <a:lnTo>
                      <a:pt x="120" y="210"/>
                    </a:lnTo>
                    <a:lnTo>
                      <a:pt x="114" y="204"/>
                    </a:lnTo>
                    <a:lnTo>
                      <a:pt x="114" y="252"/>
                    </a:lnTo>
                    <a:lnTo>
                      <a:pt x="150" y="306"/>
                    </a:lnTo>
                    <a:lnTo>
                      <a:pt x="174" y="330"/>
                    </a:lnTo>
                    <a:lnTo>
                      <a:pt x="186" y="348"/>
                    </a:lnTo>
                    <a:lnTo>
                      <a:pt x="204" y="384"/>
                    </a:lnTo>
                    <a:lnTo>
                      <a:pt x="216" y="402"/>
                    </a:lnTo>
                    <a:lnTo>
                      <a:pt x="228" y="408"/>
                    </a:lnTo>
                    <a:lnTo>
                      <a:pt x="252" y="408"/>
                    </a:lnTo>
                    <a:lnTo>
                      <a:pt x="258" y="396"/>
                    </a:lnTo>
                    <a:lnTo>
                      <a:pt x="270" y="390"/>
                    </a:lnTo>
                    <a:lnTo>
                      <a:pt x="276" y="384"/>
                    </a:lnTo>
                    <a:lnTo>
                      <a:pt x="288" y="384"/>
                    </a:lnTo>
                    <a:lnTo>
                      <a:pt x="294" y="396"/>
                    </a:lnTo>
                    <a:lnTo>
                      <a:pt x="306" y="402"/>
                    </a:lnTo>
                    <a:lnTo>
                      <a:pt x="324" y="420"/>
                    </a:lnTo>
                    <a:lnTo>
                      <a:pt x="342" y="420"/>
                    </a:lnTo>
                    <a:lnTo>
                      <a:pt x="342" y="402"/>
                    </a:lnTo>
                    <a:lnTo>
                      <a:pt x="336" y="396"/>
                    </a:lnTo>
                    <a:lnTo>
                      <a:pt x="330" y="384"/>
                    </a:lnTo>
                    <a:close/>
                    <a:moveTo>
                      <a:pt x="258" y="432"/>
                    </a:moveTo>
                    <a:lnTo>
                      <a:pt x="246" y="426"/>
                    </a:lnTo>
                    <a:lnTo>
                      <a:pt x="204" y="426"/>
                    </a:lnTo>
                    <a:lnTo>
                      <a:pt x="234" y="468"/>
                    </a:lnTo>
                    <a:lnTo>
                      <a:pt x="258" y="534"/>
                    </a:lnTo>
                    <a:lnTo>
                      <a:pt x="270" y="528"/>
                    </a:lnTo>
                    <a:lnTo>
                      <a:pt x="276" y="516"/>
                    </a:lnTo>
                    <a:lnTo>
                      <a:pt x="282" y="510"/>
                    </a:lnTo>
                    <a:lnTo>
                      <a:pt x="282" y="486"/>
                    </a:lnTo>
                    <a:lnTo>
                      <a:pt x="276" y="480"/>
                    </a:lnTo>
                    <a:lnTo>
                      <a:pt x="270" y="468"/>
                    </a:lnTo>
                    <a:lnTo>
                      <a:pt x="270" y="450"/>
                    </a:lnTo>
                    <a:lnTo>
                      <a:pt x="264" y="438"/>
                    </a:lnTo>
                    <a:lnTo>
                      <a:pt x="258" y="432"/>
                    </a:lnTo>
                    <a:close/>
                    <a:moveTo>
                      <a:pt x="330" y="648"/>
                    </a:moveTo>
                    <a:lnTo>
                      <a:pt x="336" y="660"/>
                    </a:lnTo>
                    <a:lnTo>
                      <a:pt x="354" y="678"/>
                    </a:lnTo>
                    <a:lnTo>
                      <a:pt x="360" y="672"/>
                    </a:lnTo>
                    <a:lnTo>
                      <a:pt x="372" y="666"/>
                    </a:lnTo>
                    <a:lnTo>
                      <a:pt x="378" y="660"/>
                    </a:lnTo>
                    <a:lnTo>
                      <a:pt x="384" y="660"/>
                    </a:lnTo>
                    <a:lnTo>
                      <a:pt x="390" y="666"/>
                    </a:lnTo>
                    <a:lnTo>
                      <a:pt x="390" y="696"/>
                    </a:lnTo>
                    <a:lnTo>
                      <a:pt x="402" y="708"/>
                    </a:lnTo>
                    <a:lnTo>
                      <a:pt x="396" y="720"/>
                    </a:lnTo>
                    <a:lnTo>
                      <a:pt x="390" y="726"/>
                    </a:lnTo>
                    <a:lnTo>
                      <a:pt x="372" y="762"/>
                    </a:lnTo>
                    <a:lnTo>
                      <a:pt x="372" y="786"/>
                    </a:lnTo>
                    <a:lnTo>
                      <a:pt x="378" y="792"/>
                    </a:lnTo>
                    <a:lnTo>
                      <a:pt x="384" y="804"/>
                    </a:lnTo>
                    <a:lnTo>
                      <a:pt x="396" y="804"/>
                    </a:lnTo>
                    <a:lnTo>
                      <a:pt x="408" y="798"/>
                    </a:lnTo>
                    <a:lnTo>
                      <a:pt x="420" y="798"/>
                    </a:lnTo>
                    <a:lnTo>
                      <a:pt x="432" y="792"/>
                    </a:lnTo>
                    <a:lnTo>
                      <a:pt x="438" y="786"/>
                    </a:lnTo>
                    <a:lnTo>
                      <a:pt x="438" y="768"/>
                    </a:lnTo>
                    <a:lnTo>
                      <a:pt x="432" y="756"/>
                    </a:lnTo>
                    <a:lnTo>
                      <a:pt x="426" y="738"/>
                    </a:lnTo>
                    <a:lnTo>
                      <a:pt x="426" y="726"/>
                    </a:lnTo>
                    <a:lnTo>
                      <a:pt x="432" y="714"/>
                    </a:lnTo>
                    <a:lnTo>
                      <a:pt x="444" y="678"/>
                    </a:lnTo>
                    <a:lnTo>
                      <a:pt x="444" y="660"/>
                    </a:lnTo>
                    <a:lnTo>
                      <a:pt x="438" y="648"/>
                    </a:lnTo>
                    <a:lnTo>
                      <a:pt x="432" y="642"/>
                    </a:lnTo>
                    <a:lnTo>
                      <a:pt x="426" y="642"/>
                    </a:lnTo>
                    <a:lnTo>
                      <a:pt x="414" y="654"/>
                    </a:lnTo>
                    <a:lnTo>
                      <a:pt x="402" y="660"/>
                    </a:lnTo>
                    <a:lnTo>
                      <a:pt x="396" y="660"/>
                    </a:lnTo>
                    <a:lnTo>
                      <a:pt x="396" y="648"/>
                    </a:lnTo>
                    <a:lnTo>
                      <a:pt x="408" y="624"/>
                    </a:lnTo>
                    <a:lnTo>
                      <a:pt x="408" y="612"/>
                    </a:lnTo>
                    <a:lnTo>
                      <a:pt x="414" y="600"/>
                    </a:lnTo>
                    <a:lnTo>
                      <a:pt x="414" y="594"/>
                    </a:lnTo>
                    <a:lnTo>
                      <a:pt x="408" y="588"/>
                    </a:lnTo>
                    <a:lnTo>
                      <a:pt x="372" y="570"/>
                    </a:lnTo>
                    <a:lnTo>
                      <a:pt x="366" y="564"/>
                    </a:lnTo>
                    <a:lnTo>
                      <a:pt x="330" y="564"/>
                    </a:lnTo>
                    <a:lnTo>
                      <a:pt x="324" y="570"/>
                    </a:lnTo>
                    <a:lnTo>
                      <a:pt x="324" y="576"/>
                    </a:lnTo>
                    <a:lnTo>
                      <a:pt x="330" y="582"/>
                    </a:lnTo>
                    <a:lnTo>
                      <a:pt x="336" y="582"/>
                    </a:lnTo>
                    <a:lnTo>
                      <a:pt x="342" y="594"/>
                    </a:lnTo>
                    <a:lnTo>
                      <a:pt x="342" y="600"/>
                    </a:lnTo>
                    <a:lnTo>
                      <a:pt x="336" y="606"/>
                    </a:lnTo>
                    <a:lnTo>
                      <a:pt x="336" y="618"/>
                    </a:lnTo>
                    <a:lnTo>
                      <a:pt x="330" y="630"/>
                    </a:lnTo>
                    <a:lnTo>
                      <a:pt x="330" y="64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57" name="Parcel Island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421CE53-9AA0-49B8-99FF-23A39AB2F30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019335" y="3895871"/>
                <a:ext cx="41932" cy="28342"/>
              </a:xfrm>
              <a:custGeom>
                <a:avLst/>
                <a:gdLst>
                  <a:gd name="T0" fmla="*/ 2147483647 w 96"/>
                  <a:gd name="T1" fmla="*/ 2147483647 h 66"/>
                  <a:gd name="T2" fmla="*/ 2147483647 w 96"/>
                  <a:gd name="T3" fmla="*/ 2147483647 h 66"/>
                  <a:gd name="T4" fmla="*/ 0 w 96"/>
                  <a:gd name="T5" fmla="*/ 2147483647 h 66"/>
                  <a:gd name="T6" fmla="*/ 0 w 96"/>
                  <a:gd name="T7" fmla="*/ 2147483647 h 66"/>
                  <a:gd name="T8" fmla="*/ 2147483647 w 96"/>
                  <a:gd name="T9" fmla="*/ 2147483647 h 66"/>
                  <a:gd name="T10" fmla="*/ 2147483647 w 96"/>
                  <a:gd name="T11" fmla="*/ 2147483647 h 66"/>
                  <a:gd name="T12" fmla="*/ 2147483647 w 96"/>
                  <a:gd name="T13" fmla="*/ 2147483647 h 66"/>
                  <a:gd name="T14" fmla="*/ 2147483647 w 96"/>
                  <a:gd name="T15" fmla="*/ 2147483647 h 66"/>
                  <a:gd name="T16" fmla="*/ 2147483647 w 96"/>
                  <a:gd name="T17" fmla="*/ 2147483647 h 66"/>
                  <a:gd name="T18" fmla="*/ 2147483647 w 96"/>
                  <a:gd name="T19" fmla="*/ 0 h 66"/>
                  <a:gd name="T20" fmla="*/ 2147483647 w 96"/>
                  <a:gd name="T21" fmla="*/ 2147483647 h 66"/>
                  <a:gd name="T22" fmla="*/ 2147483647 w 96"/>
                  <a:gd name="T23" fmla="*/ 2147483647 h 66"/>
                  <a:gd name="T24" fmla="*/ 2147483647 w 96"/>
                  <a:gd name="T25" fmla="*/ 2147483647 h 66"/>
                  <a:gd name="T26" fmla="*/ 2147483647 w 96"/>
                  <a:gd name="T27" fmla="*/ 2147483647 h 66"/>
                  <a:gd name="T28" fmla="*/ 2147483647 w 96"/>
                  <a:gd name="T29" fmla="*/ 0 h 66"/>
                  <a:gd name="T30" fmla="*/ 2147483647 w 96"/>
                  <a:gd name="T31" fmla="*/ 0 h 66"/>
                  <a:gd name="T32" fmla="*/ 2147483647 w 96"/>
                  <a:gd name="T33" fmla="*/ 2147483647 h 66"/>
                  <a:gd name="T34" fmla="*/ 2147483647 w 96"/>
                  <a:gd name="T35" fmla="*/ 2147483647 h 66"/>
                  <a:gd name="T36" fmla="*/ 2147483647 w 96"/>
                  <a:gd name="T37" fmla="*/ 2147483647 h 66"/>
                  <a:gd name="T38" fmla="*/ 2147483647 w 96"/>
                  <a:gd name="T39" fmla="*/ 2147483647 h 66"/>
                  <a:gd name="T40" fmla="*/ 2147483647 w 96"/>
                  <a:gd name="T41" fmla="*/ 2147483647 h 66"/>
                  <a:gd name="T42" fmla="*/ 2147483647 w 96"/>
                  <a:gd name="T43" fmla="*/ 2147483647 h 66"/>
                  <a:gd name="T44" fmla="*/ 2147483647 w 96"/>
                  <a:gd name="T45" fmla="*/ 2147483647 h 6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6"/>
                  <a:gd name="T70" fmla="*/ 0 h 66"/>
                  <a:gd name="T71" fmla="*/ 96 w 96"/>
                  <a:gd name="T72" fmla="*/ 66 h 6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6" h="66">
                    <a:moveTo>
                      <a:pt x="12" y="42"/>
                    </a:moveTo>
                    <a:lnTo>
                      <a:pt x="6" y="42"/>
                    </a:lnTo>
                    <a:lnTo>
                      <a:pt x="0" y="48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24" y="54"/>
                    </a:lnTo>
                    <a:lnTo>
                      <a:pt x="24" y="42"/>
                    </a:lnTo>
                    <a:lnTo>
                      <a:pt x="12" y="42"/>
                    </a:lnTo>
                    <a:close/>
                    <a:moveTo>
                      <a:pt x="42" y="0"/>
                    </a:moveTo>
                    <a:lnTo>
                      <a:pt x="42" y="18"/>
                    </a:lnTo>
                    <a:lnTo>
                      <a:pt x="54" y="30"/>
                    </a:lnTo>
                    <a:lnTo>
                      <a:pt x="60" y="30"/>
                    </a:lnTo>
                    <a:lnTo>
                      <a:pt x="72" y="24"/>
                    </a:lnTo>
                    <a:lnTo>
                      <a:pt x="48" y="0"/>
                    </a:lnTo>
                    <a:lnTo>
                      <a:pt x="42" y="0"/>
                    </a:lnTo>
                    <a:close/>
                    <a:moveTo>
                      <a:pt x="96" y="36"/>
                    </a:moveTo>
                    <a:lnTo>
                      <a:pt x="78" y="36"/>
                    </a:lnTo>
                    <a:lnTo>
                      <a:pt x="72" y="42"/>
                    </a:lnTo>
                    <a:lnTo>
                      <a:pt x="72" y="54"/>
                    </a:lnTo>
                    <a:lnTo>
                      <a:pt x="84" y="60"/>
                    </a:lnTo>
                    <a:lnTo>
                      <a:pt x="96" y="48"/>
                    </a:lnTo>
                    <a:lnTo>
                      <a:pt x="96" y="36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58" name="New Zea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14D0EA7-3BD4-4A9A-A997-EDF6EA76F83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252839" y="5762935"/>
                <a:ext cx="562590" cy="441082"/>
              </a:xfrm>
              <a:custGeom>
                <a:avLst/>
                <a:gdLst>
                  <a:gd name="T0" fmla="*/ 2147483647 w 1272"/>
                  <a:gd name="T1" fmla="*/ 2147483647 h 984"/>
                  <a:gd name="T2" fmla="*/ 2147483647 w 1272"/>
                  <a:gd name="T3" fmla="*/ 2147483647 h 984"/>
                  <a:gd name="T4" fmla="*/ 2147483647 w 1272"/>
                  <a:gd name="T5" fmla="*/ 2147483647 h 984"/>
                  <a:gd name="T6" fmla="*/ 2147483647 w 1272"/>
                  <a:gd name="T7" fmla="*/ 2147483647 h 984"/>
                  <a:gd name="T8" fmla="*/ 2147483647 w 1272"/>
                  <a:gd name="T9" fmla="*/ 2147483647 h 984"/>
                  <a:gd name="T10" fmla="*/ 2147483647 w 1272"/>
                  <a:gd name="T11" fmla="*/ 2147483647 h 984"/>
                  <a:gd name="T12" fmla="*/ 2147483647 w 1272"/>
                  <a:gd name="T13" fmla="*/ 2147483647 h 984"/>
                  <a:gd name="T14" fmla="*/ 2147483647 w 1272"/>
                  <a:gd name="T15" fmla="*/ 2147483647 h 984"/>
                  <a:gd name="T16" fmla="*/ 2147483647 w 1272"/>
                  <a:gd name="T17" fmla="*/ 2147483647 h 984"/>
                  <a:gd name="T18" fmla="*/ 2147483647 w 1272"/>
                  <a:gd name="T19" fmla="*/ 2147483647 h 984"/>
                  <a:gd name="T20" fmla="*/ 2147483647 w 1272"/>
                  <a:gd name="T21" fmla="*/ 2147483647 h 984"/>
                  <a:gd name="T22" fmla="*/ 2147483647 w 1272"/>
                  <a:gd name="T23" fmla="*/ 2147483647 h 984"/>
                  <a:gd name="T24" fmla="*/ 2147483647 w 1272"/>
                  <a:gd name="T25" fmla="*/ 2147483647 h 984"/>
                  <a:gd name="T26" fmla="*/ 2147483647 w 1272"/>
                  <a:gd name="T27" fmla="*/ 2147483647 h 984"/>
                  <a:gd name="T28" fmla="*/ 2147483647 w 1272"/>
                  <a:gd name="T29" fmla="*/ 2147483647 h 984"/>
                  <a:gd name="T30" fmla="*/ 2147483647 w 1272"/>
                  <a:gd name="T31" fmla="*/ 2147483647 h 984"/>
                  <a:gd name="T32" fmla="*/ 2147483647 w 1272"/>
                  <a:gd name="T33" fmla="*/ 2147483647 h 984"/>
                  <a:gd name="T34" fmla="*/ 2147483647 w 1272"/>
                  <a:gd name="T35" fmla="*/ 2147483647 h 984"/>
                  <a:gd name="T36" fmla="*/ 2147483647 w 1272"/>
                  <a:gd name="T37" fmla="*/ 2147483647 h 984"/>
                  <a:gd name="T38" fmla="*/ 2147483647 w 1272"/>
                  <a:gd name="T39" fmla="*/ 2147483647 h 984"/>
                  <a:gd name="T40" fmla="*/ 2147483647 w 1272"/>
                  <a:gd name="T41" fmla="*/ 2147483647 h 984"/>
                  <a:gd name="T42" fmla="*/ 2147483647 w 1272"/>
                  <a:gd name="T43" fmla="*/ 2147483647 h 984"/>
                  <a:gd name="T44" fmla="*/ 2147483647 w 1272"/>
                  <a:gd name="T45" fmla="*/ 2147483647 h 984"/>
                  <a:gd name="T46" fmla="*/ 2147483647 w 1272"/>
                  <a:gd name="T47" fmla="*/ 2147483647 h 984"/>
                  <a:gd name="T48" fmla="*/ 2147483647 w 1272"/>
                  <a:gd name="T49" fmla="*/ 2147483647 h 984"/>
                  <a:gd name="T50" fmla="*/ 2147483647 w 1272"/>
                  <a:gd name="T51" fmla="*/ 2147483647 h 984"/>
                  <a:gd name="T52" fmla="*/ 2147483647 w 1272"/>
                  <a:gd name="T53" fmla="*/ 2147483647 h 984"/>
                  <a:gd name="T54" fmla="*/ 2147483647 w 1272"/>
                  <a:gd name="T55" fmla="*/ 2147483647 h 984"/>
                  <a:gd name="T56" fmla="*/ 2147483647 w 1272"/>
                  <a:gd name="T57" fmla="*/ 2147483647 h 984"/>
                  <a:gd name="T58" fmla="*/ 2147483647 w 1272"/>
                  <a:gd name="T59" fmla="*/ 2147483647 h 984"/>
                  <a:gd name="T60" fmla="*/ 2147483647 w 1272"/>
                  <a:gd name="T61" fmla="*/ 2147483647 h 984"/>
                  <a:gd name="T62" fmla="*/ 2147483647 w 1272"/>
                  <a:gd name="T63" fmla="*/ 2147483647 h 984"/>
                  <a:gd name="T64" fmla="*/ 2147483647 w 1272"/>
                  <a:gd name="T65" fmla="*/ 2147483647 h 984"/>
                  <a:gd name="T66" fmla="*/ 2147483647 w 1272"/>
                  <a:gd name="T67" fmla="*/ 2147483647 h 984"/>
                  <a:gd name="T68" fmla="*/ 2147483647 w 1272"/>
                  <a:gd name="T69" fmla="*/ 2147483647 h 984"/>
                  <a:gd name="T70" fmla="*/ 2147483647 w 1272"/>
                  <a:gd name="T71" fmla="*/ 2147483647 h 984"/>
                  <a:gd name="T72" fmla="*/ 2147483647 w 1272"/>
                  <a:gd name="T73" fmla="*/ 2147483647 h 984"/>
                  <a:gd name="T74" fmla="*/ 2147483647 w 1272"/>
                  <a:gd name="T75" fmla="*/ 2147483647 h 984"/>
                  <a:gd name="T76" fmla="*/ 2147483647 w 1272"/>
                  <a:gd name="T77" fmla="*/ 2147483647 h 984"/>
                  <a:gd name="T78" fmla="*/ 2147483647 w 1272"/>
                  <a:gd name="T79" fmla="*/ 2147483647 h 984"/>
                  <a:gd name="T80" fmla="*/ 2147483647 w 1272"/>
                  <a:gd name="T81" fmla="*/ 2147483647 h 984"/>
                  <a:gd name="T82" fmla="*/ 2147483647 w 1272"/>
                  <a:gd name="T83" fmla="*/ 2147483647 h 984"/>
                  <a:gd name="T84" fmla="*/ 2147483647 w 1272"/>
                  <a:gd name="T85" fmla="*/ 2147483647 h 984"/>
                  <a:gd name="T86" fmla="*/ 2147483647 w 1272"/>
                  <a:gd name="T87" fmla="*/ 2147483647 h 984"/>
                  <a:gd name="T88" fmla="*/ 2147483647 w 1272"/>
                  <a:gd name="T89" fmla="*/ 2147483647 h 984"/>
                  <a:gd name="T90" fmla="*/ 2147483647 w 1272"/>
                  <a:gd name="T91" fmla="*/ 2147483647 h 984"/>
                  <a:gd name="T92" fmla="*/ 2147483647 w 1272"/>
                  <a:gd name="T93" fmla="*/ 2147483647 h 984"/>
                  <a:gd name="T94" fmla="*/ 2147483647 w 1272"/>
                  <a:gd name="T95" fmla="*/ 2147483647 h 984"/>
                  <a:gd name="T96" fmla="*/ 2147483647 w 1272"/>
                  <a:gd name="T97" fmla="*/ 2147483647 h 984"/>
                  <a:gd name="T98" fmla="*/ 2147483647 w 1272"/>
                  <a:gd name="T99" fmla="*/ 2147483647 h 984"/>
                  <a:gd name="T100" fmla="*/ 2147483647 w 1272"/>
                  <a:gd name="T101" fmla="*/ 2147483647 h 984"/>
                  <a:gd name="T102" fmla="*/ 2147483647 w 1272"/>
                  <a:gd name="T103" fmla="*/ 2147483647 h 984"/>
                  <a:gd name="T104" fmla="*/ 2147483647 w 1272"/>
                  <a:gd name="T105" fmla="*/ 2147483647 h 984"/>
                  <a:gd name="T106" fmla="*/ 2147483647 w 1272"/>
                  <a:gd name="T107" fmla="*/ 2147483647 h 984"/>
                  <a:gd name="T108" fmla="*/ 2147483647 w 1272"/>
                  <a:gd name="T109" fmla="*/ 2147483647 h 984"/>
                  <a:gd name="T110" fmla="*/ 2147483647 w 1272"/>
                  <a:gd name="T111" fmla="*/ 2147483647 h 984"/>
                  <a:gd name="T112" fmla="*/ 2147483647 w 1272"/>
                  <a:gd name="T113" fmla="*/ 2147483647 h 984"/>
                  <a:gd name="T114" fmla="*/ 2147483647 w 1272"/>
                  <a:gd name="T115" fmla="*/ 2147483647 h 984"/>
                  <a:gd name="T116" fmla="*/ 2147483647 w 1272"/>
                  <a:gd name="T117" fmla="*/ 2147483647 h 984"/>
                  <a:gd name="T118" fmla="*/ 2147483647 w 1272"/>
                  <a:gd name="T119" fmla="*/ 2147483647 h 984"/>
                  <a:gd name="T120" fmla="*/ 2147483647 w 1272"/>
                  <a:gd name="T121" fmla="*/ 2147483647 h 98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272"/>
                  <a:gd name="T184" fmla="*/ 0 h 984"/>
                  <a:gd name="T185" fmla="*/ 1272 w 1272"/>
                  <a:gd name="T186" fmla="*/ 984 h 98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272" h="984">
                    <a:moveTo>
                      <a:pt x="750" y="564"/>
                    </a:moveTo>
                    <a:lnTo>
                      <a:pt x="738" y="564"/>
                    </a:lnTo>
                    <a:lnTo>
                      <a:pt x="744" y="528"/>
                    </a:lnTo>
                    <a:lnTo>
                      <a:pt x="720" y="546"/>
                    </a:lnTo>
                    <a:lnTo>
                      <a:pt x="726" y="540"/>
                    </a:lnTo>
                    <a:lnTo>
                      <a:pt x="726" y="504"/>
                    </a:lnTo>
                    <a:lnTo>
                      <a:pt x="708" y="504"/>
                    </a:lnTo>
                    <a:lnTo>
                      <a:pt x="702" y="510"/>
                    </a:lnTo>
                    <a:lnTo>
                      <a:pt x="696" y="522"/>
                    </a:lnTo>
                    <a:lnTo>
                      <a:pt x="690" y="528"/>
                    </a:lnTo>
                    <a:lnTo>
                      <a:pt x="672" y="540"/>
                    </a:lnTo>
                    <a:lnTo>
                      <a:pt x="660" y="546"/>
                    </a:lnTo>
                    <a:lnTo>
                      <a:pt x="654" y="558"/>
                    </a:lnTo>
                    <a:lnTo>
                      <a:pt x="642" y="570"/>
                    </a:lnTo>
                    <a:lnTo>
                      <a:pt x="630" y="576"/>
                    </a:lnTo>
                    <a:lnTo>
                      <a:pt x="618" y="588"/>
                    </a:lnTo>
                    <a:lnTo>
                      <a:pt x="606" y="588"/>
                    </a:lnTo>
                    <a:lnTo>
                      <a:pt x="588" y="600"/>
                    </a:lnTo>
                    <a:lnTo>
                      <a:pt x="576" y="606"/>
                    </a:lnTo>
                    <a:lnTo>
                      <a:pt x="546" y="636"/>
                    </a:lnTo>
                    <a:lnTo>
                      <a:pt x="540" y="648"/>
                    </a:lnTo>
                    <a:lnTo>
                      <a:pt x="534" y="648"/>
                    </a:lnTo>
                    <a:lnTo>
                      <a:pt x="528" y="654"/>
                    </a:lnTo>
                    <a:lnTo>
                      <a:pt x="510" y="660"/>
                    </a:lnTo>
                    <a:lnTo>
                      <a:pt x="498" y="666"/>
                    </a:lnTo>
                    <a:lnTo>
                      <a:pt x="462" y="678"/>
                    </a:lnTo>
                    <a:lnTo>
                      <a:pt x="438" y="690"/>
                    </a:lnTo>
                    <a:lnTo>
                      <a:pt x="426" y="702"/>
                    </a:lnTo>
                    <a:lnTo>
                      <a:pt x="414" y="708"/>
                    </a:lnTo>
                    <a:lnTo>
                      <a:pt x="408" y="720"/>
                    </a:lnTo>
                    <a:lnTo>
                      <a:pt x="396" y="726"/>
                    </a:lnTo>
                    <a:lnTo>
                      <a:pt x="378" y="726"/>
                    </a:lnTo>
                    <a:lnTo>
                      <a:pt x="366" y="732"/>
                    </a:lnTo>
                    <a:lnTo>
                      <a:pt x="312" y="750"/>
                    </a:lnTo>
                    <a:lnTo>
                      <a:pt x="288" y="762"/>
                    </a:lnTo>
                    <a:lnTo>
                      <a:pt x="270" y="774"/>
                    </a:lnTo>
                    <a:lnTo>
                      <a:pt x="246" y="786"/>
                    </a:lnTo>
                    <a:lnTo>
                      <a:pt x="222" y="792"/>
                    </a:lnTo>
                    <a:lnTo>
                      <a:pt x="198" y="804"/>
                    </a:lnTo>
                    <a:lnTo>
                      <a:pt x="180" y="810"/>
                    </a:lnTo>
                    <a:lnTo>
                      <a:pt x="174" y="816"/>
                    </a:lnTo>
                    <a:lnTo>
                      <a:pt x="168" y="828"/>
                    </a:lnTo>
                    <a:lnTo>
                      <a:pt x="168" y="846"/>
                    </a:lnTo>
                    <a:lnTo>
                      <a:pt x="156" y="834"/>
                    </a:lnTo>
                    <a:lnTo>
                      <a:pt x="150" y="834"/>
                    </a:lnTo>
                    <a:lnTo>
                      <a:pt x="144" y="840"/>
                    </a:lnTo>
                    <a:lnTo>
                      <a:pt x="120" y="852"/>
                    </a:lnTo>
                    <a:lnTo>
                      <a:pt x="108" y="864"/>
                    </a:lnTo>
                    <a:lnTo>
                      <a:pt x="72" y="882"/>
                    </a:lnTo>
                    <a:lnTo>
                      <a:pt x="66" y="882"/>
                    </a:lnTo>
                    <a:lnTo>
                      <a:pt x="54" y="888"/>
                    </a:lnTo>
                    <a:lnTo>
                      <a:pt x="36" y="888"/>
                    </a:lnTo>
                    <a:lnTo>
                      <a:pt x="18" y="894"/>
                    </a:lnTo>
                    <a:lnTo>
                      <a:pt x="12" y="906"/>
                    </a:lnTo>
                    <a:lnTo>
                      <a:pt x="0" y="912"/>
                    </a:lnTo>
                    <a:lnTo>
                      <a:pt x="18" y="912"/>
                    </a:lnTo>
                    <a:lnTo>
                      <a:pt x="24" y="918"/>
                    </a:lnTo>
                    <a:lnTo>
                      <a:pt x="30" y="918"/>
                    </a:lnTo>
                    <a:lnTo>
                      <a:pt x="24" y="924"/>
                    </a:lnTo>
                    <a:lnTo>
                      <a:pt x="24" y="942"/>
                    </a:lnTo>
                    <a:lnTo>
                      <a:pt x="30" y="948"/>
                    </a:lnTo>
                    <a:lnTo>
                      <a:pt x="42" y="948"/>
                    </a:lnTo>
                    <a:lnTo>
                      <a:pt x="54" y="942"/>
                    </a:lnTo>
                    <a:lnTo>
                      <a:pt x="60" y="936"/>
                    </a:lnTo>
                    <a:lnTo>
                      <a:pt x="72" y="948"/>
                    </a:lnTo>
                    <a:lnTo>
                      <a:pt x="96" y="948"/>
                    </a:lnTo>
                    <a:lnTo>
                      <a:pt x="102" y="954"/>
                    </a:lnTo>
                    <a:lnTo>
                      <a:pt x="132" y="954"/>
                    </a:lnTo>
                    <a:lnTo>
                      <a:pt x="150" y="972"/>
                    </a:lnTo>
                    <a:lnTo>
                      <a:pt x="180" y="966"/>
                    </a:lnTo>
                    <a:lnTo>
                      <a:pt x="192" y="972"/>
                    </a:lnTo>
                    <a:lnTo>
                      <a:pt x="198" y="978"/>
                    </a:lnTo>
                    <a:lnTo>
                      <a:pt x="216" y="984"/>
                    </a:lnTo>
                    <a:lnTo>
                      <a:pt x="228" y="984"/>
                    </a:lnTo>
                    <a:lnTo>
                      <a:pt x="252" y="972"/>
                    </a:lnTo>
                    <a:lnTo>
                      <a:pt x="264" y="948"/>
                    </a:lnTo>
                    <a:lnTo>
                      <a:pt x="288" y="936"/>
                    </a:lnTo>
                    <a:lnTo>
                      <a:pt x="312" y="936"/>
                    </a:lnTo>
                    <a:lnTo>
                      <a:pt x="336" y="924"/>
                    </a:lnTo>
                    <a:lnTo>
                      <a:pt x="342" y="912"/>
                    </a:lnTo>
                    <a:lnTo>
                      <a:pt x="342" y="894"/>
                    </a:lnTo>
                    <a:lnTo>
                      <a:pt x="348" y="882"/>
                    </a:lnTo>
                    <a:lnTo>
                      <a:pt x="372" y="870"/>
                    </a:lnTo>
                    <a:lnTo>
                      <a:pt x="396" y="870"/>
                    </a:lnTo>
                    <a:lnTo>
                      <a:pt x="408" y="858"/>
                    </a:lnTo>
                    <a:lnTo>
                      <a:pt x="408" y="846"/>
                    </a:lnTo>
                    <a:lnTo>
                      <a:pt x="402" y="840"/>
                    </a:lnTo>
                    <a:lnTo>
                      <a:pt x="420" y="840"/>
                    </a:lnTo>
                    <a:lnTo>
                      <a:pt x="480" y="792"/>
                    </a:lnTo>
                    <a:lnTo>
                      <a:pt x="462" y="774"/>
                    </a:lnTo>
                    <a:lnTo>
                      <a:pt x="504" y="792"/>
                    </a:lnTo>
                    <a:lnTo>
                      <a:pt x="504" y="774"/>
                    </a:lnTo>
                    <a:lnTo>
                      <a:pt x="510" y="768"/>
                    </a:lnTo>
                    <a:lnTo>
                      <a:pt x="540" y="768"/>
                    </a:lnTo>
                    <a:lnTo>
                      <a:pt x="546" y="774"/>
                    </a:lnTo>
                    <a:lnTo>
                      <a:pt x="558" y="780"/>
                    </a:lnTo>
                    <a:lnTo>
                      <a:pt x="570" y="780"/>
                    </a:lnTo>
                    <a:lnTo>
                      <a:pt x="576" y="774"/>
                    </a:lnTo>
                    <a:lnTo>
                      <a:pt x="576" y="768"/>
                    </a:lnTo>
                    <a:lnTo>
                      <a:pt x="582" y="762"/>
                    </a:lnTo>
                    <a:lnTo>
                      <a:pt x="582" y="756"/>
                    </a:lnTo>
                    <a:lnTo>
                      <a:pt x="570" y="744"/>
                    </a:lnTo>
                    <a:lnTo>
                      <a:pt x="612" y="702"/>
                    </a:lnTo>
                    <a:lnTo>
                      <a:pt x="618" y="702"/>
                    </a:lnTo>
                    <a:lnTo>
                      <a:pt x="624" y="696"/>
                    </a:lnTo>
                    <a:lnTo>
                      <a:pt x="660" y="678"/>
                    </a:lnTo>
                    <a:lnTo>
                      <a:pt x="666" y="666"/>
                    </a:lnTo>
                    <a:lnTo>
                      <a:pt x="672" y="660"/>
                    </a:lnTo>
                    <a:lnTo>
                      <a:pt x="672" y="654"/>
                    </a:lnTo>
                    <a:lnTo>
                      <a:pt x="696" y="654"/>
                    </a:lnTo>
                    <a:lnTo>
                      <a:pt x="708" y="648"/>
                    </a:lnTo>
                    <a:lnTo>
                      <a:pt x="738" y="618"/>
                    </a:lnTo>
                    <a:lnTo>
                      <a:pt x="738" y="612"/>
                    </a:lnTo>
                    <a:lnTo>
                      <a:pt x="744" y="612"/>
                    </a:lnTo>
                    <a:lnTo>
                      <a:pt x="750" y="606"/>
                    </a:lnTo>
                    <a:lnTo>
                      <a:pt x="768" y="594"/>
                    </a:lnTo>
                    <a:lnTo>
                      <a:pt x="780" y="582"/>
                    </a:lnTo>
                    <a:lnTo>
                      <a:pt x="786" y="570"/>
                    </a:lnTo>
                    <a:lnTo>
                      <a:pt x="786" y="546"/>
                    </a:lnTo>
                    <a:lnTo>
                      <a:pt x="780" y="540"/>
                    </a:lnTo>
                    <a:lnTo>
                      <a:pt x="780" y="534"/>
                    </a:lnTo>
                    <a:lnTo>
                      <a:pt x="750" y="564"/>
                    </a:lnTo>
                    <a:close/>
                    <a:moveTo>
                      <a:pt x="1224" y="324"/>
                    </a:moveTo>
                    <a:lnTo>
                      <a:pt x="1236" y="318"/>
                    </a:lnTo>
                    <a:lnTo>
                      <a:pt x="1242" y="318"/>
                    </a:lnTo>
                    <a:lnTo>
                      <a:pt x="1266" y="306"/>
                    </a:lnTo>
                    <a:lnTo>
                      <a:pt x="1272" y="300"/>
                    </a:lnTo>
                    <a:lnTo>
                      <a:pt x="1272" y="282"/>
                    </a:lnTo>
                    <a:lnTo>
                      <a:pt x="1266" y="270"/>
                    </a:lnTo>
                    <a:lnTo>
                      <a:pt x="1260" y="264"/>
                    </a:lnTo>
                    <a:lnTo>
                      <a:pt x="1248" y="264"/>
                    </a:lnTo>
                    <a:lnTo>
                      <a:pt x="1236" y="276"/>
                    </a:lnTo>
                    <a:lnTo>
                      <a:pt x="1236" y="282"/>
                    </a:lnTo>
                    <a:lnTo>
                      <a:pt x="1224" y="282"/>
                    </a:lnTo>
                    <a:lnTo>
                      <a:pt x="1212" y="276"/>
                    </a:lnTo>
                    <a:lnTo>
                      <a:pt x="1200" y="276"/>
                    </a:lnTo>
                    <a:lnTo>
                      <a:pt x="1194" y="282"/>
                    </a:lnTo>
                    <a:lnTo>
                      <a:pt x="1176" y="288"/>
                    </a:lnTo>
                    <a:lnTo>
                      <a:pt x="1158" y="288"/>
                    </a:lnTo>
                    <a:lnTo>
                      <a:pt x="1146" y="276"/>
                    </a:lnTo>
                    <a:lnTo>
                      <a:pt x="1146" y="222"/>
                    </a:lnTo>
                    <a:lnTo>
                      <a:pt x="1170" y="180"/>
                    </a:lnTo>
                    <a:lnTo>
                      <a:pt x="1170" y="174"/>
                    </a:lnTo>
                    <a:lnTo>
                      <a:pt x="1164" y="162"/>
                    </a:lnTo>
                    <a:lnTo>
                      <a:pt x="1158" y="156"/>
                    </a:lnTo>
                    <a:lnTo>
                      <a:pt x="1146" y="156"/>
                    </a:lnTo>
                    <a:lnTo>
                      <a:pt x="1140" y="168"/>
                    </a:lnTo>
                    <a:lnTo>
                      <a:pt x="1134" y="174"/>
                    </a:lnTo>
                    <a:lnTo>
                      <a:pt x="1134" y="204"/>
                    </a:lnTo>
                    <a:lnTo>
                      <a:pt x="1128" y="216"/>
                    </a:lnTo>
                    <a:lnTo>
                      <a:pt x="1116" y="222"/>
                    </a:lnTo>
                    <a:lnTo>
                      <a:pt x="1116" y="192"/>
                    </a:lnTo>
                    <a:lnTo>
                      <a:pt x="1092" y="174"/>
                    </a:lnTo>
                    <a:lnTo>
                      <a:pt x="1104" y="150"/>
                    </a:lnTo>
                    <a:lnTo>
                      <a:pt x="1116" y="138"/>
                    </a:lnTo>
                    <a:lnTo>
                      <a:pt x="1122" y="126"/>
                    </a:lnTo>
                    <a:lnTo>
                      <a:pt x="1128" y="108"/>
                    </a:lnTo>
                    <a:lnTo>
                      <a:pt x="1128" y="84"/>
                    </a:lnTo>
                    <a:lnTo>
                      <a:pt x="1116" y="78"/>
                    </a:lnTo>
                    <a:lnTo>
                      <a:pt x="1110" y="72"/>
                    </a:lnTo>
                    <a:lnTo>
                      <a:pt x="1098" y="66"/>
                    </a:lnTo>
                    <a:lnTo>
                      <a:pt x="1092" y="60"/>
                    </a:lnTo>
                    <a:lnTo>
                      <a:pt x="1080" y="60"/>
                    </a:lnTo>
                    <a:lnTo>
                      <a:pt x="1086" y="42"/>
                    </a:lnTo>
                    <a:lnTo>
                      <a:pt x="1062" y="42"/>
                    </a:lnTo>
                    <a:lnTo>
                      <a:pt x="1044" y="18"/>
                    </a:lnTo>
                    <a:lnTo>
                      <a:pt x="1050" y="0"/>
                    </a:lnTo>
                    <a:lnTo>
                      <a:pt x="1020" y="18"/>
                    </a:lnTo>
                    <a:lnTo>
                      <a:pt x="1044" y="54"/>
                    </a:lnTo>
                    <a:lnTo>
                      <a:pt x="1032" y="90"/>
                    </a:lnTo>
                    <a:lnTo>
                      <a:pt x="1056" y="102"/>
                    </a:lnTo>
                    <a:lnTo>
                      <a:pt x="1044" y="108"/>
                    </a:lnTo>
                    <a:lnTo>
                      <a:pt x="1044" y="126"/>
                    </a:lnTo>
                    <a:lnTo>
                      <a:pt x="1068" y="132"/>
                    </a:lnTo>
                    <a:lnTo>
                      <a:pt x="1044" y="150"/>
                    </a:lnTo>
                    <a:lnTo>
                      <a:pt x="1062" y="156"/>
                    </a:lnTo>
                    <a:lnTo>
                      <a:pt x="1062" y="168"/>
                    </a:lnTo>
                    <a:lnTo>
                      <a:pt x="1056" y="174"/>
                    </a:lnTo>
                    <a:lnTo>
                      <a:pt x="1056" y="192"/>
                    </a:lnTo>
                    <a:lnTo>
                      <a:pt x="1068" y="198"/>
                    </a:lnTo>
                    <a:lnTo>
                      <a:pt x="1074" y="204"/>
                    </a:lnTo>
                    <a:lnTo>
                      <a:pt x="1056" y="210"/>
                    </a:lnTo>
                    <a:lnTo>
                      <a:pt x="1044" y="222"/>
                    </a:lnTo>
                    <a:lnTo>
                      <a:pt x="1062" y="234"/>
                    </a:lnTo>
                    <a:lnTo>
                      <a:pt x="1038" y="258"/>
                    </a:lnTo>
                    <a:lnTo>
                      <a:pt x="1032" y="270"/>
                    </a:lnTo>
                    <a:lnTo>
                      <a:pt x="1026" y="276"/>
                    </a:lnTo>
                    <a:lnTo>
                      <a:pt x="1026" y="288"/>
                    </a:lnTo>
                    <a:lnTo>
                      <a:pt x="1038" y="300"/>
                    </a:lnTo>
                    <a:lnTo>
                      <a:pt x="1026" y="300"/>
                    </a:lnTo>
                    <a:lnTo>
                      <a:pt x="1014" y="306"/>
                    </a:lnTo>
                    <a:lnTo>
                      <a:pt x="1002" y="306"/>
                    </a:lnTo>
                    <a:lnTo>
                      <a:pt x="978" y="318"/>
                    </a:lnTo>
                    <a:lnTo>
                      <a:pt x="948" y="348"/>
                    </a:lnTo>
                    <a:lnTo>
                      <a:pt x="930" y="360"/>
                    </a:lnTo>
                    <a:lnTo>
                      <a:pt x="894" y="372"/>
                    </a:lnTo>
                    <a:lnTo>
                      <a:pt x="870" y="384"/>
                    </a:lnTo>
                    <a:lnTo>
                      <a:pt x="858" y="396"/>
                    </a:lnTo>
                    <a:lnTo>
                      <a:pt x="858" y="432"/>
                    </a:lnTo>
                    <a:lnTo>
                      <a:pt x="864" y="444"/>
                    </a:lnTo>
                    <a:lnTo>
                      <a:pt x="870" y="450"/>
                    </a:lnTo>
                    <a:lnTo>
                      <a:pt x="870" y="456"/>
                    </a:lnTo>
                    <a:lnTo>
                      <a:pt x="924" y="456"/>
                    </a:lnTo>
                    <a:lnTo>
                      <a:pt x="924" y="474"/>
                    </a:lnTo>
                    <a:lnTo>
                      <a:pt x="918" y="486"/>
                    </a:lnTo>
                    <a:lnTo>
                      <a:pt x="918" y="522"/>
                    </a:lnTo>
                    <a:lnTo>
                      <a:pt x="894" y="534"/>
                    </a:lnTo>
                    <a:lnTo>
                      <a:pt x="882" y="534"/>
                    </a:lnTo>
                    <a:lnTo>
                      <a:pt x="864" y="540"/>
                    </a:lnTo>
                    <a:lnTo>
                      <a:pt x="852" y="546"/>
                    </a:lnTo>
                    <a:lnTo>
                      <a:pt x="852" y="558"/>
                    </a:lnTo>
                    <a:lnTo>
                      <a:pt x="840" y="570"/>
                    </a:lnTo>
                    <a:lnTo>
                      <a:pt x="852" y="576"/>
                    </a:lnTo>
                    <a:lnTo>
                      <a:pt x="858" y="582"/>
                    </a:lnTo>
                    <a:lnTo>
                      <a:pt x="876" y="588"/>
                    </a:lnTo>
                    <a:lnTo>
                      <a:pt x="888" y="588"/>
                    </a:lnTo>
                    <a:lnTo>
                      <a:pt x="912" y="576"/>
                    </a:lnTo>
                    <a:lnTo>
                      <a:pt x="924" y="558"/>
                    </a:lnTo>
                    <a:lnTo>
                      <a:pt x="972" y="510"/>
                    </a:lnTo>
                    <a:lnTo>
                      <a:pt x="996" y="498"/>
                    </a:lnTo>
                    <a:lnTo>
                      <a:pt x="1014" y="492"/>
                    </a:lnTo>
                    <a:lnTo>
                      <a:pt x="1026" y="486"/>
                    </a:lnTo>
                    <a:lnTo>
                      <a:pt x="1032" y="480"/>
                    </a:lnTo>
                    <a:lnTo>
                      <a:pt x="1038" y="480"/>
                    </a:lnTo>
                    <a:lnTo>
                      <a:pt x="1044" y="474"/>
                    </a:lnTo>
                    <a:lnTo>
                      <a:pt x="1050" y="462"/>
                    </a:lnTo>
                    <a:lnTo>
                      <a:pt x="1056" y="462"/>
                    </a:lnTo>
                    <a:lnTo>
                      <a:pt x="1062" y="456"/>
                    </a:lnTo>
                    <a:lnTo>
                      <a:pt x="1074" y="450"/>
                    </a:lnTo>
                    <a:lnTo>
                      <a:pt x="1080" y="444"/>
                    </a:lnTo>
                    <a:lnTo>
                      <a:pt x="1080" y="420"/>
                    </a:lnTo>
                    <a:lnTo>
                      <a:pt x="1074" y="414"/>
                    </a:lnTo>
                    <a:lnTo>
                      <a:pt x="1080" y="414"/>
                    </a:lnTo>
                    <a:lnTo>
                      <a:pt x="1086" y="408"/>
                    </a:lnTo>
                    <a:lnTo>
                      <a:pt x="1110" y="396"/>
                    </a:lnTo>
                    <a:lnTo>
                      <a:pt x="1140" y="396"/>
                    </a:lnTo>
                    <a:lnTo>
                      <a:pt x="1152" y="402"/>
                    </a:lnTo>
                    <a:lnTo>
                      <a:pt x="1164" y="402"/>
                    </a:lnTo>
                    <a:lnTo>
                      <a:pt x="1176" y="390"/>
                    </a:lnTo>
                    <a:lnTo>
                      <a:pt x="1176" y="360"/>
                    </a:lnTo>
                    <a:lnTo>
                      <a:pt x="1200" y="360"/>
                    </a:lnTo>
                    <a:lnTo>
                      <a:pt x="1212" y="354"/>
                    </a:lnTo>
                    <a:lnTo>
                      <a:pt x="1218" y="354"/>
                    </a:lnTo>
                    <a:lnTo>
                      <a:pt x="1224" y="348"/>
                    </a:lnTo>
                    <a:lnTo>
                      <a:pt x="1224" y="32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59" name="Namib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04FC084-6BAD-4D3D-91E2-6A71528356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14601" y="5134086"/>
                <a:ext cx="422816" cy="437540"/>
              </a:xfrm>
              <a:custGeom>
                <a:avLst/>
                <a:gdLst>
                  <a:gd name="T0" fmla="*/ 2147483647 w 954"/>
                  <a:gd name="T1" fmla="*/ 2147483647 h 972"/>
                  <a:gd name="T2" fmla="*/ 2147483647 w 954"/>
                  <a:gd name="T3" fmla="*/ 2147483647 h 972"/>
                  <a:gd name="T4" fmla="*/ 2147483647 w 954"/>
                  <a:gd name="T5" fmla="*/ 2147483647 h 972"/>
                  <a:gd name="T6" fmla="*/ 2147483647 w 954"/>
                  <a:gd name="T7" fmla="*/ 2147483647 h 972"/>
                  <a:gd name="T8" fmla="*/ 2147483647 w 954"/>
                  <a:gd name="T9" fmla="*/ 2147483647 h 972"/>
                  <a:gd name="T10" fmla="*/ 2147483647 w 954"/>
                  <a:gd name="T11" fmla="*/ 2147483647 h 972"/>
                  <a:gd name="T12" fmla="*/ 2147483647 w 954"/>
                  <a:gd name="T13" fmla="*/ 2147483647 h 972"/>
                  <a:gd name="T14" fmla="*/ 2147483647 w 954"/>
                  <a:gd name="T15" fmla="*/ 2147483647 h 972"/>
                  <a:gd name="T16" fmla="*/ 2147483647 w 954"/>
                  <a:gd name="T17" fmla="*/ 2147483647 h 972"/>
                  <a:gd name="T18" fmla="*/ 2147483647 w 954"/>
                  <a:gd name="T19" fmla="*/ 2147483647 h 972"/>
                  <a:gd name="T20" fmla="*/ 2147483647 w 954"/>
                  <a:gd name="T21" fmla="*/ 2147483647 h 972"/>
                  <a:gd name="T22" fmla="*/ 2147483647 w 954"/>
                  <a:gd name="T23" fmla="*/ 2147483647 h 972"/>
                  <a:gd name="T24" fmla="*/ 2147483647 w 954"/>
                  <a:gd name="T25" fmla="*/ 2147483647 h 972"/>
                  <a:gd name="T26" fmla="*/ 2147483647 w 954"/>
                  <a:gd name="T27" fmla="*/ 2147483647 h 972"/>
                  <a:gd name="T28" fmla="*/ 2147483647 w 954"/>
                  <a:gd name="T29" fmla="*/ 2147483647 h 972"/>
                  <a:gd name="T30" fmla="*/ 2147483647 w 954"/>
                  <a:gd name="T31" fmla="*/ 2147483647 h 972"/>
                  <a:gd name="T32" fmla="*/ 2147483647 w 954"/>
                  <a:gd name="T33" fmla="*/ 2147483647 h 972"/>
                  <a:gd name="T34" fmla="*/ 2147483647 w 954"/>
                  <a:gd name="T35" fmla="*/ 2147483647 h 972"/>
                  <a:gd name="T36" fmla="*/ 2147483647 w 954"/>
                  <a:gd name="T37" fmla="*/ 2147483647 h 972"/>
                  <a:gd name="T38" fmla="*/ 2147483647 w 954"/>
                  <a:gd name="T39" fmla="*/ 2147483647 h 972"/>
                  <a:gd name="T40" fmla="*/ 2147483647 w 954"/>
                  <a:gd name="T41" fmla="*/ 2147483647 h 972"/>
                  <a:gd name="T42" fmla="*/ 2147483647 w 954"/>
                  <a:gd name="T43" fmla="*/ 2147483647 h 972"/>
                  <a:gd name="T44" fmla="*/ 2147483647 w 954"/>
                  <a:gd name="T45" fmla="*/ 2147483647 h 972"/>
                  <a:gd name="T46" fmla="*/ 2147483647 w 954"/>
                  <a:gd name="T47" fmla="*/ 2147483647 h 972"/>
                  <a:gd name="T48" fmla="*/ 2147483647 w 954"/>
                  <a:gd name="T49" fmla="*/ 2147483647 h 972"/>
                  <a:gd name="T50" fmla="*/ 2147483647 w 954"/>
                  <a:gd name="T51" fmla="*/ 2147483647 h 972"/>
                  <a:gd name="T52" fmla="*/ 2147483647 w 954"/>
                  <a:gd name="T53" fmla="*/ 2147483647 h 972"/>
                  <a:gd name="T54" fmla="*/ 2147483647 w 954"/>
                  <a:gd name="T55" fmla="*/ 2147483647 h 972"/>
                  <a:gd name="T56" fmla="*/ 2147483647 w 954"/>
                  <a:gd name="T57" fmla="*/ 2147483647 h 972"/>
                  <a:gd name="T58" fmla="*/ 2147483647 w 954"/>
                  <a:gd name="T59" fmla="*/ 2147483647 h 972"/>
                  <a:gd name="T60" fmla="*/ 2147483647 w 954"/>
                  <a:gd name="T61" fmla="*/ 2147483647 h 972"/>
                  <a:gd name="T62" fmla="*/ 2147483647 w 954"/>
                  <a:gd name="T63" fmla="*/ 2147483647 h 972"/>
                  <a:gd name="T64" fmla="*/ 2147483647 w 954"/>
                  <a:gd name="T65" fmla="*/ 2147483647 h 972"/>
                  <a:gd name="T66" fmla="*/ 2147483647 w 954"/>
                  <a:gd name="T67" fmla="*/ 0 h 972"/>
                  <a:gd name="T68" fmla="*/ 2147483647 w 954"/>
                  <a:gd name="T69" fmla="*/ 2147483647 h 972"/>
                  <a:gd name="T70" fmla="*/ 2147483647 w 954"/>
                  <a:gd name="T71" fmla="*/ 2147483647 h 972"/>
                  <a:gd name="T72" fmla="*/ 0 w 954"/>
                  <a:gd name="T73" fmla="*/ 2147483647 h 972"/>
                  <a:gd name="T74" fmla="*/ 2147483647 w 954"/>
                  <a:gd name="T75" fmla="*/ 2147483647 h 972"/>
                  <a:gd name="T76" fmla="*/ 2147483647 w 954"/>
                  <a:gd name="T77" fmla="*/ 2147483647 h 972"/>
                  <a:gd name="T78" fmla="*/ 2147483647 w 954"/>
                  <a:gd name="T79" fmla="*/ 2147483647 h 972"/>
                  <a:gd name="T80" fmla="*/ 2147483647 w 954"/>
                  <a:gd name="T81" fmla="*/ 2147483647 h 972"/>
                  <a:gd name="T82" fmla="*/ 2147483647 w 954"/>
                  <a:gd name="T83" fmla="*/ 2147483647 h 972"/>
                  <a:gd name="T84" fmla="*/ 2147483647 w 954"/>
                  <a:gd name="T85" fmla="*/ 2147483647 h 972"/>
                  <a:gd name="T86" fmla="*/ 2147483647 w 954"/>
                  <a:gd name="T87" fmla="*/ 2147483647 h 972"/>
                  <a:gd name="T88" fmla="*/ 2147483647 w 954"/>
                  <a:gd name="T89" fmla="*/ 2147483647 h 972"/>
                  <a:gd name="T90" fmla="*/ 2147483647 w 954"/>
                  <a:gd name="T91" fmla="*/ 2147483647 h 972"/>
                  <a:gd name="T92" fmla="*/ 2147483647 w 954"/>
                  <a:gd name="T93" fmla="*/ 2147483647 h 972"/>
                  <a:gd name="T94" fmla="*/ 2147483647 w 954"/>
                  <a:gd name="T95" fmla="*/ 2147483647 h 972"/>
                  <a:gd name="T96" fmla="*/ 2147483647 w 954"/>
                  <a:gd name="T97" fmla="*/ 2147483647 h 972"/>
                  <a:gd name="T98" fmla="*/ 2147483647 w 954"/>
                  <a:gd name="T99" fmla="*/ 2147483647 h 972"/>
                  <a:gd name="T100" fmla="*/ 2147483647 w 954"/>
                  <a:gd name="T101" fmla="*/ 2147483647 h 972"/>
                  <a:gd name="T102" fmla="*/ 2147483647 w 954"/>
                  <a:gd name="T103" fmla="*/ 2147483647 h 972"/>
                  <a:gd name="T104" fmla="*/ 2147483647 w 954"/>
                  <a:gd name="T105" fmla="*/ 2147483647 h 972"/>
                  <a:gd name="T106" fmla="*/ 2147483647 w 954"/>
                  <a:gd name="T107" fmla="*/ 2147483647 h 972"/>
                  <a:gd name="T108" fmla="*/ 2147483647 w 954"/>
                  <a:gd name="T109" fmla="*/ 2147483647 h 972"/>
                  <a:gd name="T110" fmla="*/ 2147483647 w 954"/>
                  <a:gd name="T111" fmla="*/ 2147483647 h 972"/>
                  <a:gd name="T112" fmla="*/ 2147483647 w 954"/>
                  <a:gd name="T113" fmla="*/ 2147483647 h 972"/>
                  <a:gd name="T114" fmla="*/ 2147483647 w 954"/>
                  <a:gd name="T115" fmla="*/ 2147483647 h 972"/>
                  <a:gd name="T116" fmla="*/ 2147483647 w 954"/>
                  <a:gd name="T117" fmla="*/ 2147483647 h 972"/>
                  <a:gd name="T118" fmla="*/ 2147483647 w 954"/>
                  <a:gd name="T119" fmla="*/ 2147483647 h 9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54"/>
                  <a:gd name="T181" fmla="*/ 0 h 972"/>
                  <a:gd name="T182" fmla="*/ 954 w 954"/>
                  <a:gd name="T183" fmla="*/ 972 h 972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54" h="972">
                    <a:moveTo>
                      <a:pt x="366" y="894"/>
                    </a:moveTo>
                    <a:lnTo>
                      <a:pt x="372" y="894"/>
                    </a:lnTo>
                    <a:lnTo>
                      <a:pt x="390" y="912"/>
                    </a:lnTo>
                    <a:lnTo>
                      <a:pt x="390" y="936"/>
                    </a:lnTo>
                    <a:lnTo>
                      <a:pt x="396" y="948"/>
                    </a:lnTo>
                    <a:lnTo>
                      <a:pt x="402" y="954"/>
                    </a:lnTo>
                    <a:lnTo>
                      <a:pt x="426" y="954"/>
                    </a:lnTo>
                    <a:lnTo>
                      <a:pt x="432" y="960"/>
                    </a:lnTo>
                    <a:lnTo>
                      <a:pt x="432" y="966"/>
                    </a:lnTo>
                    <a:lnTo>
                      <a:pt x="438" y="972"/>
                    </a:lnTo>
                    <a:lnTo>
                      <a:pt x="462" y="972"/>
                    </a:lnTo>
                    <a:lnTo>
                      <a:pt x="474" y="960"/>
                    </a:lnTo>
                    <a:lnTo>
                      <a:pt x="486" y="960"/>
                    </a:lnTo>
                    <a:lnTo>
                      <a:pt x="498" y="972"/>
                    </a:lnTo>
                    <a:lnTo>
                      <a:pt x="522" y="972"/>
                    </a:lnTo>
                    <a:lnTo>
                      <a:pt x="522" y="948"/>
                    </a:lnTo>
                    <a:lnTo>
                      <a:pt x="534" y="948"/>
                    </a:lnTo>
                    <a:lnTo>
                      <a:pt x="534" y="942"/>
                    </a:lnTo>
                    <a:lnTo>
                      <a:pt x="540" y="936"/>
                    </a:lnTo>
                    <a:lnTo>
                      <a:pt x="552" y="930"/>
                    </a:lnTo>
                    <a:lnTo>
                      <a:pt x="570" y="930"/>
                    </a:lnTo>
                    <a:lnTo>
                      <a:pt x="582" y="414"/>
                    </a:lnTo>
                    <a:lnTo>
                      <a:pt x="654" y="414"/>
                    </a:lnTo>
                    <a:lnTo>
                      <a:pt x="648" y="288"/>
                    </a:lnTo>
                    <a:lnTo>
                      <a:pt x="654" y="282"/>
                    </a:lnTo>
                    <a:lnTo>
                      <a:pt x="654" y="108"/>
                    </a:lnTo>
                    <a:lnTo>
                      <a:pt x="690" y="108"/>
                    </a:lnTo>
                    <a:lnTo>
                      <a:pt x="708" y="102"/>
                    </a:lnTo>
                    <a:lnTo>
                      <a:pt x="744" y="102"/>
                    </a:lnTo>
                    <a:lnTo>
                      <a:pt x="792" y="90"/>
                    </a:lnTo>
                    <a:lnTo>
                      <a:pt x="804" y="84"/>
                    </a:lnTo>
                    <a:lnTo>
                      <a:pt x="822" y="84"/>
                    </a:lnTo>
                    <a:lnTo>
                      <a:pt x="828" y="90"/>
                    </a:lnTo>
                    <a:lnTo>
                      <a:pt x="828" y="108"/>
                    </a:lnTo>
                    <a:lnTo>
                      <a:pt x="834" y="108"/>
                    </a:lnTo>
                    <a:lnTo>
                      <a:pt x="834" y="126"/>
                    </a:lnTo>
                    <a:lnTo>
                      <a:pt x="840" y="126"/>
                    </a:lnTo>
                    <a:lnTo>
                      <a:pt x="882" y="84"/>
                    </a:lnTo>
                    <a:lnTo>
                      <a:pt x="906" y="84"/>
                    </a:lnTo>
                    <a:lnTo>
                      <a:pt x="918" y="72"/>
                    </a:lnTo>
                    <a:lnTo>
                      <a:pt x="954" y="66"/>
                    </a:lnTo>
                    <a:lnTo>
                      <a:pt x="936" y="48"/>
                    </a:lnTo>
                    <a:lnTo>
                      <a:pt x="906" y="54"/>
                    </a:lnTo>
                    <a:lnTo>
                      <a:pt x="906" y="48"/>
                    </a:lnTo>
                    <a:lnTo>
                      <a:pt x="900" y="42"/>
                    </a:lnTo>
                    <a:lnTo>
                      <a:pt x="882" y="42"/>
                    </a:lnTo>
                    <a:lnTo>
                      <a:pt x="876" y="48"/>
                    </a:lnTo>
                    <a:lnTo>
                      <a:pt x="870" y="48"/>
                    </a:lnTo>
                    <a:lnTo>
                      <a:pt x="846" y="60"/>
                    </a:lnTo>
                    <a:lnTo>
                      <a:pt x="828" y="54"/>
                    </a:lnTo>
                    <a:lnTo>
                      <a:pt x="816" y="60"/>
                    </a:lnTo>
                    <a:lnTo>
                      <a:pt x="780" y="72"/>
                    </a:lnTo>
                    <a:lnTo>
                      <a:pt x="732" y="78"/>
                    </a:lnTo>
                    <a:lnTo>
                      <a:pt x="696" y="84"/>
                    </a:lnTo>
                    <a:lnTo>
                      <a:pt x="624" y="84"/>
                    </a:lnTo>
                    <a:lnTo>
                      <a:pt x="618" y="72"/>
                    </a:lnTo>
                    <a:lnTo>
                      <a:pt x="546" y="78"/>
                    </a:lnTo>
                    <a:lnTo>
                      <a:pt x="540" y="66"/>
                    </a:lnTo>
                    <a:lnTo>
                      <a:pt x="504" y="66"/>
                    </a:lnTo>
                    <a:lnTo>
                      <a:pt x="480" y="42"/>
                    </a:lnTo>
                    <a:lnTo>
                      <a:pt x="480" y="36"/>
                    </a:lnTo>
                    <a:lnTo>
                      <a:pt x="174" y="36"/>
                    </a:lnTo>
                    <a:lnTo>
                      <a:pt x="168" y="30"/>
                    </a:lnTo>
                    <a:lnTo>
                      <a:pt x="156" y="30"/>
                    </a:lnTo>
                    <a:lnTo>
                      <a:pt x="132" y="18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90" y="0"/>
                    </a:lnTo>
                    <a:lnTo>
                      <a:pt x="90" y="6"/>
                    </a:lnTo>
                    <a:lnTo>
                      <a:pt x="72" y="24"/>
                    </a:lnTo>
                    <a:lnTo>
                      <a:pt x="42" y="24"/>
                    </a:lnTo>
                    <a:lnTo>
                      <a:pt x="36" y="18"/>
                    </a:lnTo>
                    <a:lnTo>
                      <a:pt x="18" y="24"/>
                    </a:lnTo>
                    <a:lnTo>
                      <a:pt x="0" y="24"/>
                    </a:lnTo>
                    <a:lnTo>
                      <a:pt x="6" y="96"/>
                    </a:lnTo>
                    <a:lnTo>
                      <a:pt x="12" y="108"/>
                    </a:lnTo>
                    <a:lnTo>
                      <a:pt x="30" y="126"/>
                    </a:lnTo>
                    <a:lnTo>
                      <a:pt x="36" y="138"/>
                    </a:lnTo>
                    <a:lnTo>
                      <a:pt x="54" y="162"/>
                    </a:lnTo>
                    <a:lnTo>
                      <a:pt x="72" y="192"/>
                    </a:lnTo>
                    <a:lnTo>
                      <a:pt x="96" y="228"/>
                    </a:lnTo>
                    <a:lnTo>
                      <a:pt x="102" y="258"/>
                    </a:lnTo>
                    <a:lnTo>
                      <a:pt x="102" y="276"/>
                    </a:lnTo>
                    <a:lnTo>
                      <a:pt x="114" y="294"/>
                    </a:lnTo>
                    <a:lnTo>
                      <a:pt x="120" y="312"/>
                    </a:lnTo>
                    <a:lnTo>
                      <a:pt x="138" y="348"/>
                    </a:lnTo>
                    <a:lnTo>
                      <a:pt x="156" y="366"/>
                    </a:lnTo>
                    <a:lnTo>
                      <a:pt x="156" y="390"/>
                    </a:lnTo>
                    <a:lnTo>
                      <a:pt x="162" y="396"/>
                    </a:lnTo>
                    <a:lnTo>
                      <a:pt x="174" y="402"/>
                    </a:lnTo>
                    <a:lnTo>
                      <a:pt x="180" y="414"/>
                    </a:lnTo>
                    <a:lnTo>
                      <a:pt x="192" y="420"/>
                    </a:lnTo>
                    <a:lnTo>
                      <a:pt x="198" y="432"/>
                    </a:lnTo>
                    <a:lnTo>
                      <a:pt x="198" y="582"/>
                    </a:lnTo>
                    <a:lnTo>
                      <a:pt x="222" y="630"/>
                    </a:lnTo>
                    <a:lnTo>
                      <a:pt x="222" y="678"/>
                    </a:lnTo>
                    <a:lnTo>
                      <a:pt x="216" y="678"/>
                    </a:lnTo>
                    <a:lnTo>
                      <a:pt x="228" y="726"/>
                    </a:lnTo>
                    <a:lnTo>
                      <a:pt x="228" y="762"/>
                    </a:lnTo>
                    <a:lnTo>
                      <a:pt x="240" y="762"/>
                    </a:lnTo>
                    <a:lnTo>
                      <a:pt x="240" y="804"/>
                    </a:lnTo>
                    <a:lnTo>
                      <a:pt x="252" y="810"/>
                    </a:lnTo>
                    <a:lnTo>
                      <a:pt x="258" y="816"/>
                    </a:lnTo>
                    <a:lnTo>
                      <a:pt x="258" y="846"/>
                    </a:lnTo>
                    <a:lnTo>
                      <a:pt x="264" y="858"/>
                    </a:lnTo>
                    <a:lnTo>
                      <a:pt x="270" y="864"/>
                    </a:lnTo>
                    <a:lnTo>
                      <a:pt x="276" y="876"/>
                    </a:lnTo>
                    <a:lnTo>
                      <a:pt x="282" y="894"/>
                    </a:lnTo>
                    <a:lnTo>
                      <a:pt x="282" y="900"/>
                    </a:lnTo>
                    <a:lnTo>
                      <a:pt x="288" y="912"/>
                    </a:lnTo>
                    <a:lnTo>
                      <a:pt x="294" y="918"/>
                    </a:lnTo>
                    <a:lnTo>
                      <a:pt x="318" y="930"/>
                    </a:lnTo>
                    <a:lnTo>
                      <a:pt x="324" y="936"/>
                    </a:lnTo>
                    <a:lnTo>
                      <a:pt x="330" y="936"/>
                    </a:lnTo>
                    <a:lnTo>
                      <a:pt x="330" y="942"/>
                    </a:lnTo>
                    <a:lnTo>
                      <a:pt x="348" y="930"/>
                    </a:lnTo>
                    <a:lnTo>
                      <a:pt x="348" y="924"/>
                    </a:lnTo>
                    <a:lnTo>
                      <a:pt x="354" y="918"/>
                    </a:lnTo>
                    <a:lnTo>
                      <a:pt x="360" y="906"/>
                    </a:lnTo>
                    <a:lnTo>
                      <a:pt x="360" y="900"/>
                    </a:lnTo>
                    <a:lnTo>
                      <a:pt x="366" y="89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0" name="Malay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DDCF711-70F0-4AC3-85BE-990FA35A5E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96103" y="4276723"/>
                <a:ext cx="136279" cy="196627"/>
              </a:xfrm>
              <a:custGeom>
                <a:avLst/>
                <a:gdLst>
                  <a:gd name="T0" fmla="*/ 2147483647 w 306"/>
                  <a:gd name="T1" fmla="*/ 2147483647 h 438"/>
                  <a:gd name="T2" fmla="*/ 2147483647 w 306"/>
                  <a:gd name="T3" fmla="*/ 2147483647 h 438"/>
                  <a:gd name="T4" fmla="*/ 2147483647 w 306"/>
                  <a:gd name="T5" fmla="*/ 2147483647 h 438"/>
                  <a:gd name="T6" fmla="*/ 2147483647 w 306"/>
                  <a:gd name="T7" fmla="*/ 2147483647 h 438"/>
                  <a:gd name="T8" fmla="*/ 2147483647 w 306"/>
                  <a:gd name="T9" fmla="*/ 2147483647 h 438"/>
                  <a:gd name="T10" fmla="*/ 2147483647 w 306"/>
                  <a:gd name="T11" fmla="*/ 2147483647 h 438"/>
                  <a:gd name="T12" fmla="*/ 2147483647 w 306"/>
                  <a:gd name="T13" fmla="*/ 2147483647 h 438"/>
                  <a:gd name="T14" fmla="*/ 2147483647 w 306"/>
                  <a:gd name="T15" fmla="*/ 2147483647 h 438"/>
                  <a:gd name="T16" fmla="*/ 2147483647 w 306"/>
                  <a:gd name="T17" fmla="*/ 2147483647 h 438"/>
                  <a:gd name="T18" fmla="*/ 2147483647 w 306"/>
                  <a:gd name="T19" fmla="*/ 2147483647 h 438"/>
                  <a:gd name="T20" fmla="*/ 2147483647 w 306"/>
                  <a:gd name="T21" fmla="*/ 2147483647 h 438"/>
                  <a:gd name="T22" fmla="*/ 2147483647 w 306"/>
                  <a:gd name="T23" fmla="*/ 2147483647 h 438"/>
                  <a:gd name="T24" fmla="*/ 2147483647 w 306"/>
                  <a:gd name="T25" fmla="*/ 2147483647 h 438"/>
                  <a:gd name="T26" fmla="*/ 2147483647 w 306"/>
                  <a:gd name="T27" fmla="*/ 2147483647 h 438"/>
                  <a:gd name="T28" fmla="*/ 2147483647 w 306"/>
                  <a:gd name="T29" fmla="*/ 2147483647 h 438"/>
                  <a:gd name="T30" fmla="*/ 2147483647 w 306"/>
                  <a:gd name="T31" fmla="*/ 2147483647 h 438"/>
                  <a:gd name="T32" fmla="*/ 2147483647 w 306"/>
                  <a:gd name="T33" fmla="*/ 2147483647 h 438"/>
                  <a:gd name="T34" fmla="*/ 2147483647 w 306"/>
                  <a:gd name="T35" fmla="*/ 2147483647 h 438"/>
                  <a:gd name="T36" fmla="*/ 2147483647 w 306"/>
                  <a:gd name="T37" fmla="*/ 2147483647 h 438"/>
                  <a:gd name="T38" fmla="*/ 2147483647 w 306"/>
                  <a:gd name="T39" fmla="*/ 2147483647 h 438"/>
                  <a:gd name="T40" fmla="*/ 2147483647 w 306"/>
                  <a:gd name="T41" fmla="*/ 2147483647 h 438"/>
                  <a:gd name="T42" fmla="*/ 2147483647 w 306"/>
                  <a:gd name="T43" fmla="*/ 2147483647 h 438"/>
                  <a:gd name="T44" fmla="*/ 2147483647 w 306"/>
                  <a:gd name="T45" fmla="*/ 2147483647 h 438"/>
                  <a:gd name="T46" fmla="*/ 2147483647 w 306"/>
                  <a:gd name="T47" fmla="*/ 2147483647 h 438"/>
                  <a:gd name="T48" fmla="*/ 2147483647 w 306"/>
                  <a:gd name="T49" fmla="*/ 2147483647 h 438"/>
                  <a:gd name="T50" fmla="*/ 2147483647 w 306"/>
                  <a:gd name="T51" fmla="*/ 2147483647 h 438"/>
                  <a:gd name="T52" fmla="*/ 2147483647 w 306"/>
                  <a:gd name="T53" fmla="*/ 2147483647 h 438"/>
                  <a:gd name="T54" fmla="*/ 2147483647 w 306"/>
                  <a:gd name="T55" fmla="*/ 2147483647 h 438"/>
                  <a:gd name="T56" fmla="*/ 2147483647 w 306"/>
                  <a:gd name="T57" fmla="*/ 2147483647 h 438"/>
                  <a:gd name="T58" fmla="*/ 2147483647 w 306"/>
                  <a:gd name="T59" fmla="*/ 2147483647 h 438"/>
                  <a:gd name="T60" fmla="*/ 2147483647 w 306"/>
                  <a:gd name="T61" fmla="*/ 2147483647 h 438"/>
                  <a:gd name="T62" fmla="*/ 2147483647 w 306"/>
                  <a:gd name="T63" fmla="*/ 2147483647 h 438"/>
                  <a:gd name="T64" fmla="*/ 2147483647 w 306"/>
                  <a:gd name="T65" fmla="*/ 2147483647 h 438"/>
                  <a:gd name="T66" fmla="*/ 2147483647 w 306"/>
                  <a:gd name="T67" fmla="*/ 2147483647 h 438"/>
                  <a:gd name="T68" fmla="*/ 2147483647 w 306"/>
                  <a:gd name="T69" fmla="*/ 2147483647 h 438"/>
                  <a:gd name="T70" fmla="*/ 2147483647 w 306"/>
                  <a:gd name="T71" fmla="*/ 2147483647 h 438"/>
                  <a:gd name="T72" fmla="*/ 2147483647 w 306"/>
                  <a:gd name="T73" fmla="*/ 2147483647 h 438"/>
                  <a:gd name="T74" fmla="*/ 2147483647 w 306"/>
                  <a:gd name="T75" fmla="*/ 2147483647 h 438"/>
                  <a:gd name="T76" fmla="*/ 2147483647 w 306"/>
                  <a:gd name="T77" fmla="*/ 0 h 438"/>
                  <a:gd name="T78" fmla="*/ 2147483647 w 306"/>
                  <a:gd name="T79" fmla="*/ 2147483647 h 438"/>
                  <a:gd name="T80" fmla="*/ 2147483647 w 306"/>
                  <a:gd name="T81" fmla="*/ 2147483647 h 43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6"/>
                  <a:gd name="T124" fmla="*/ 0 h 438"/>
                  <a:gd name="T125" fmla="*/ 306 w 306"/>
                  <a:gd name="T126" fmla="*/ 438 h 43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6" h="438">
                    <a:moveTo>
                      <a:pt x="0" y="42"/>
                    </a:moveTo>
                    <a:lnTo>
                      <a:pt x="6" y="138"/>
                    </a:lnTo>
                    <a:lnTo>
                      <a:pt x="18" y="138"/>
                    </a:lnTo>
                    <a:lnTo>
                      <a:pt x="24" y="132"/>
                    </a:lnTo>
                    <a:lnTo>
                      <a:pt x="42" y="132"/>
                    </a:lnTo>
                    <a:lnTo>
                      <a:pt x="54" y="138"/>
                    </a:lnTo>
                    <a:lnTo>
                      <a:pt x="54" y="168"/>
                    </a:lnTo>
                    <a:lnTo>
                      <a:pt x="48" y="180"/>
                    </a:lnTo>
                    <a:lnTo>
                      <a:pt x="48" y="198"/>
                    </a:lnTo>
                    <a:lnTo>
                      <a:pt x="54" y="216"/>
                    </a:lnTo>
                    <a:lnTo>
                      <a:pt x="60" y="228"/>
                    </a:lnTo>
                    <a:lnTo>
                      <a:pt x="66" y="234"/>
                    </a:lnTo>
                    <a:lnTo>
                      <a:pt x="84" y="234"/>
                    </a:lnTo>
                    <a:lnTo>
                      <a:pt x="90" y="228"/>
                    </a:lnTo>
                    <a:lnTo>
                      <a:pt x="90" y="240"/>
                    </a:lnTo>
                    <a:lnTo>
                      <a:pt x="84" y="252"/>
                    </a:lnTo>
                    <a:lnTo>
                      <a:pt x="84" y="282"/>
                    </a:lnTo>
                    <a:lnTo>
                      <a:pt x="96" y="306"/>
                    </a:lnTo>
                    <a:lnTo>
                      <a:pt x="102" y="312"/>
                    </a:lnTo>
                    <a:lnTo>
                      <a:pt x="114" y="318"/>
                    </a:lnTo>
                    <a:lnTo>
                      <a:pt x="132" y="330"/>
                    </a:lnTo>
                    <a:lnTo>
                      <a:pt x="144" y="336"/>
                    </a:lnTo>
                    <a:lnTo>
                      <a:pt x="162" y="354"/>
                    </a:lnTo>
                    <a:lnTo>
                      <a:pt x="168" y="354"/>
                    </a:lnTo>
                    <a:lnTo>
                      <a:pt x="168" y="366"/>
                    </a:lnTo>
                    <a:lnTo>
                      <a:pt x="174" y="372"/>
                    </a:lnTo>
                    <a:lnTo>
                      <a:pt x="174" y="378"/>
                    </a:lnTo>
                    <a:lnTo>
                      <a:pt x="180" y="384"/>
                    </a:lnTo>
                    <a:lnTo>
                      <a:pt x="186" y="384"/>
                    </a:lnTo>
                    <a:lnTo>
                      <a:pt x="198" y="390"/>
                    </a:lnTo>
                    <a:lnTo>
                      <a:pt x="204" y="396"/>
                    </a:lnTo>
                    <a:lnTo>
                      <a:pt x="216" y="396"/>
                    </a:lnTo>
                    <a:lnTo>
                      <a:pt x="222" y="402"/>
                    </a:lnTo>
                    <a:lnTo>
                      <a:pt x="228" y="402"/>
                    </a:lnTo>
                    <a:lnTo>
                      <a:pt x="252" y="438"/>
                    </a:lnTo>
                    <a:lnTo>
                      <a:pt x="300" y="432"/>
                    </a:lnTo>
                    <a:lnTo>
                      <a:pt x="300" y="420"/>
                    </a:lnTo>
                    <a:lnTo>
                      <a:pt x="306" y="408"/>
                    </a:lnTo>
                    <a:lnTo>
                      <a:pt x="306" y="378"/>
                    </a:lnTo>
                    <a:lnTo>
                      <a:pt x="294" y="354"/>
                    </a:lnTo>
                    <a:lnTo>
                      <a:pt x="270" y="330"/>
                    </a:lnTo>
                    <a:lnTo>
                      <a:pt x="264" y="318"/>
                    </a:lnTo>
                    <a:lnTo>
                      <a:pt x="258" y="312"/>
                    </a:lnTo>
                    <a:lnTo>
                      <a:pt x="258" y="288"/>
                    </a:lnTo>
                    <a:lnTo>
                      <a:pt x="252" y="276"/>
                    </a:lnTo>
                    <a:lnTo>
                      <a:pt x="246" y="270"/>
                    </a:lnTo>
                    <a:lnTo>
                      <a:pt x="246" y="258"/>
                    </a:lnTo>
                    <a:lnTo>
                      <a:pt x="252" y="252"/>
                    </a:lnTo>
                    <a:lnTo>
                      <a:pt x="252" y="126"/>
                    </a:lnTo>
                    <a:lnTo>
                      <a:pt x="246" y="114"/>
                    </a:lnTo>
                    <a:lnTo>
                      <a:pt x="222" y="90"/>
                    </a:lnTo>
                    <a:lnTo>
                      <a:pt x="204" y="84"/>
                    </a:lnTo>
                    <a:lnTo>
                      <a:pt x="192" y="72"/>
                    </a:lnTo>
                    <a:lnTo>
                      <a:pt x="180" y="66"/>
                    </a:lnTo>
                    <a:lnTo>
                      <a:pt x="156" y="42"/>
                    </a:lnTo>
                    <a:lnTo>
                      <a:pt x="150" y="54"/>
                    </a:lnTo>
                    <a:lnTo>
                      <a:pt x="144" y="60"/>
                    </a:lnTo>
                    <a:lnTo>
                      <a:pt x="138" y="72"/>
                    </a:lnTo>
                    <a:lnTo>
                      <a:pt x="138" y="78"/>
                    </a:lnTo>
                    <a:lnTo>
                      <a:pt x="132" y="84"/>
                    </a:lnTo>
                    <a:lnTo>
                      <a:pt x="114" y="66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90" y="72"/>
                    </a:lnTo>
                    <a:lnTo>
                      <a:pt x="90" y="78"/>
                    </a:lnTo>
                    <a:lnTo>
                      <a:pt x="72" y="78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78" y="54"/>
                    </a:lnTo>
                    <a:lnTo>
                      <a:pt x="78" y="42"/>
                    </a:lnTo>
                    <a:lnTo>
                      <a:pt x="66" y="42"/>
                    </a:lnTo>
                    <a:lnTo>
                      <a:pt x="66" y="30"/>
                    </a:lnTo>
                    <a:lnTo>
                      <a:pt x="60" y="24"/>
                    </a:lnTo>
                    <a:lnTo>
                      <a:pt x="48" y="18"/>
                    </a:lnTo>
                    <a:lnTo>
                      <a:pt x="30" y="18"/>
                    </a:lnTo>
                    <a:lnTo>
                      <a:pt x="30" y="12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6" y="18"/>
                    </a:lnTo>
                    <a:lnTo>
                      <a:pt x="12" y="24"/>
                    </a:lnTo>
                    <a:lnTo>
                      <a:pt x="6" y="36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1" name="Malay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99F0991-6A91-48E9-BCD4-4F8E6EF8E2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14092" y="4253697"/>
                <a:ext cx="304007" cy="237368"/>
              </a:xfrm>
              <a:custGeom>
                <a:avLst/>
                <a:gdLst>
                  <a:gd name="T0" fmla="*/ 2147483647 w 690"/>
                  <a:gd name="T1" fmla="*/ 2147483647 h 528"/>
                  <a:gd name="T2" fmla="*/ 2147483647 w 690"/>
                  <a:gd name="T3" fmla="*/ 2147483647 h 528"/>
                  <a:gd name="T4" fmla="*/ 2147483647 w 690"/>
                  <a:gd name="T5" fmla="*/ 2147483647 h 528"/>
                  <a:gd name="T6" fmla="*/ 2147483647 w 690"/>
                  <a:gd name="T7" fmla="*/ 2147483647 h 528"/>
                  <a:gd name="T8" fmla="*/ 2147483647 w 690"/>
                  <a:gd name="T9" fmla="*/ 2147483647 h 528"/>
                  <a:gd name="T10" fmla="*/ 2147483647 w 690"/>
                  <a:gd name="T11" fmla="*/ 2147483647 h 528"/>
                  <a:gd name="T12" fmla="*/ 2147483647 w 690"/>
                  <a:gd name="T13" fmla="*/ 2147483647 h 528"/>
                  <a:gd name="T14" fmla="*/ 2147483647 w 690"/>
                  <a:gd name="T15" fmla="*/ 2147483647 h 528"/>
                  <a:gd name="T16" fmla="*/ 2147483647 w 690"/>
                  <a:gd name="T17" fmla="*/ 2147483647 h 528"/>
                  <a:gd name="T18" fmla="*/ 2147483647 w 690"/>
                  <a:gd name="T19" fmla="*/ 2147483647 h 528"/>
                  <a:gd name="T20" fmla="*/ 2147483647 w 690"/>
                  <a:gd name="T21" fmla="*/ 2147483647 h 528"/>
                  <a:gd name="T22" fmla="*/ 2147483647 w 690"/>
                  <a:gd name="T23" fmla="*/ 2147483647 h 528"/>
                  <a:gd name="T24" fmla="*/ 2147483647 w 690"/>
                  <a:gd name="T25" fmla="*/ 2147483647 h 528"/>
                  <a:gd name="T26" fmla="*/ 2147483647 w 690"/>
                  <a:gd name="T27" fmla="*/ 2147483647 h 528"/>
                  <a:gd name="T28" fmla="*/ 2147483647 w 690"/>
                  <a:gd name="T29" fmla="*/ 2147483647 h 528"/>
                  <a:gd name="T30" fmla="*/ 2147483647 w 690"/>
                  <a:gd name="T31" fmla="*/ 2147483647 h 528"/>
                  <a:gd name="T32" fmla="*/ 2147483647 w 690"/>
                  <a:gd name="T33" fmla="*/ 2147483647 h 528"/>
                  <a:gd name="T34" fmla="*/ 2147483647 w 690"/>
                  <a:gd name="T35" fmla="*/ 2147483647 h 528"/>
                  <a:gd name="T36" fmla="*/ 2147483647 w 690"/>
                  <a:gd name="T37" fmla="*/ 2147483647 h 528"/>
                  <a:gd name="T38" fmla="*/ 2147483647 w 690"/>
                  <a:gd name="T39" fmla="*/ 2147483647 h 528"/>
                  <a:gd name="T40" fmla="*/ 2147483647 w 690"/>
                  <a:gd name="T41" fmla="*/ 2147483647 h 528"/>
                  <a:gd name="T42" fmla="*/ 2147483647 w 690"/>
                  <a:gd name="T43" fmla="*/ 2147483647 h 528"/>
                  <a:gd name="T44" fmla="*/ 2147483647 w 690"/>
                  <a:gd name="T45" fmla="*/ 2147483647 h 528"/>
                  <a:gd name="T46" fmla="*/ 2147483647 w 690"/>
                  <a:gd name="T47" fmla="*/ 2147483647 h 528"/>
                  <a:gd name="T48" fmla="*/ 2147483647 w 690"/>
                  <a:gd name="T49" fmla="*/ 2147483647 h 528"/>
                  <a:gd name="T50" fmla="*/ 2147483647 w 690"/>
                  <a:gd name="T51" fmla="*/ 2147483647 h 528"/>
                  <a:gd name="T52" fmla="*/ 2147483647 w 690"/>
                  <a:gd name="T53" fmla="*/ 2147483647 h 528"/>
                  <a:gd name="T54" fmla="*/ 2147483647 w 690"/>
                  <a:gd name="T55" fmla="*/ 2147483647 h 528"/>
                  <a:gd name="T56" fmla="*/ 2147483647 w 690"/>
                  <a:gd name="T57" fmla="*/ 2147483647 h 528"/>
                  <a:gd name="T58" fmla="*/ 2147483647 w 690"/>
                  <a:gd name="T59" fmla="*/ 2147483647 h 528"/>
                  <a:gd name="T60" fmla="*/ 2147483647 w 690"/>
                  <a:gd name="T61" fmla="*/ 2147483647 h 528"/>
                  <a:gd name="T62" fmla="*/ 2147483647 w 690"/>
                  <a:gd name="T63" fmla="*/ 2147483647 h 528"/>
                  <a:gd name="T64" fmla="*/ 2147483647 w 690"/>
                  <a:gd name="T65" fmla="*/ 2147483647 h 528"/>
                  <a:gd name="T66" fmla="*/ 2147483647 w 690"/>
                  <a:gd name="T67" fmla="*/ 2147483647 h 528"/>
                  <a:gd name="T68" fmla="*/ 2147483647 w 690"/>
                  <a:gd name="T69" fmla="*/ 2147483647 h 528"/>
                  <a:gd name="T70" fmla="*/ 2147483647 w 690"/>
                  <a:gd name="T71" fmla="*/ 0 h 528"/>
                  <a:gd name="T72" fmla="*/ 2147483647 w 690"/>
                  <a:gd name="T73" fmla="*/ 0 h 528"/>
                  <a:gd name="T74" fmla="*/ 2147483647 w 690"/>
                  <a:gd name="T75" fmla="*/ 2147483647 h 528"/>
                  <a:gd name="T76" fmla="*/ 2147483647 w 690"/>
                  <a:gd name="T77" fmla="*/ 2147483647 h 528"/>
                  <a:gd name="T78" fmla="*/ 2147483647 w 690"/>
                  <a:gd name="T79" fmla="*/ 2147483647 h 528"/>
                  <a:gd name="T80" fmla="*/ 2147483647 w 690"/>
                  <a:gd name="T81" fmla="*/ 2147483647 h 528"/>
                  <a:gd name="T82" fmla="*/ 2147483647 w 690"/>
                  <a:gd name="T83" fmla="*/ 2147483647 h 528"/>
                  <a:gd name="T84" fmla="*/ 2147483647 w 690"/>
                  <a:gd name="T85" fmla="*/ 2147483647 h 528"/>
                  <a:gd name="T86" fmla="*/ 2147483647 w 690"/>
                  <a:gd name="T87" fmla="*/ 2147483647 h 528"/>
                  <a:gd name="T88" fmla="*/ 2147483647 w 690"/>
                  <a:gd name="T89" fmla="*/ 2147483647 h 528"/>
                  <a:gd name="T90" fmla="*/ 2147483647 w 690"/>
                  <a:gd name="T91" fmla="*/ 2147483647 h 528"/>
                  <a:gd name="T92" fmla="*/ 2147483647 w 690"/>
                  <a:gd name="T93" fmla="*/ 2147483647 h 528"/>
                  <a:gd name="T94" fmla="*/ 2147483647 w 690"/>
                  <a:gd name="T95" fmla="*/ 2147483647 h 528"/>
                  <a:gd name="T96" fmla="*/ 2147483647 w 690"/>
                  <a:gd name="T97" fmla="*/ 2147483647 h 528"/>
                  <a:gd name="T98" fmla="*/ 2147483647 w 690"/>
                  <a:gd name="T99" fmla="*/ 2147483647 h 528"/>
                  <a:gd name="T100" fmla="*/ 2147483647 w 690"/>
                  <a:gd name="T101" fmla="*/ 2147483647 h 528"/>
                  <a:gd name="T102" fmla="*/ 2147483647 w 690"/>
                  <a:gd name="T103" fmla="*/ 2147483647 h 528"/>
                  <a:gd name="T104" fmla="*/ 2147483647 w 690"/>
                  <a:gd name="T105" fmla="*/ 2147483647 h 528"/>
                  <a:gd name="T106" fmla="*/ 2147483647 w 690"/>
                  <a:gd name="T107" fmla="*/ 2147483647 h 528"/>
                  <a:gd name="T108" fmla="*/ 2147483647 w 690"/>
                  <a:gd name="T109" fmla="*/ 2147483647 h 528"/>
                  <a:gd name="T110" fmla="*/ 2147483647 w 690"/>
                  <a:gd name="T111" fmla="*/ 2147483647 h 528"/>
                  <a:gd name="T112" fmla="*/ 2147483647 w 690"/>
                  <a:gd name="T113" fmla="*/ 2147483647 h 528"/>
                  <a:gd name="T114" fmla="*/ 0 w 690"/>
                  <a:gd name="T115" fmla="*/ 2147483647 h 5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90"/>
                  <a:gd name="T175" fmla="*/ 0 h 528"/>
                  <a:gd name="T176" fmla="*/ 690 w 690"/>
                  <a:gd name="T177" fmla="*/ 528 h 52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90" h="528">
                    <a:moveTo>
                      <a:pt x="12" y="504"/>
                    </a:moveTo>
                    <a:lnTo>
                      <a:pt x="24" y="510"/>
                    </a:lnTo>
                    <a:lnTo>
                      <a:pt x="30" y="516"/>
                    </a:lnTo>
                    <a:lnTo>
                      <a:pt x="54" y="528"/>
                    </a:lnTo>
                    <a:lnTo>
                      <a:pt x="60" y="528"/>
                    </a:lnTo>
                    <a:lnTo>
                      <a:pt x="78" y="510"/>
                    </a:lnTo>
                    <a:lnTo>
                      <a:pt x="102" y="510"/>
                    </a:lnTo>
                    <a:lnTo>
                      <a:pt x="120" y="516"/>
                    </a:lnTo>
                    <a:lnTo>
                      <a:pt x="144" y="516"/>
                    </a:lnTo>
                    <a:lnTo>
                      <a:pt x="174" y="486"/>
                    </a:lnTo>
                    <a:lnTo>
                      <a:pt x="180" y="474"/>
                    </a:lnTo>
                    <a:lnTo>
                      <a:pt x="222" y="474"/>
                    </a:lnTo>
                    <a:lnTo>
                      <a:pt x="234" y="486"/>
                    </a:lnTo>
                    <a:lnTo>
                      <a:pt x="258" y="498"/>
                    </a:lnTo>
                    <a:lnTo>
                      <a:pt x="264" y="504"/>
                    </a:lnTo>
                    <a:lnTo>
                      <a:pt x="270" y="504"/>
                    </a:lnTo>
                    <a:lnTo>
                      <a:pt x="282" y="492"/>
                    </a:lnTo>
                    <a:lnTo>
                      <a:pt x="294" y="486"/>
                    </a:lnTo>
                    <a:lnTo>
                      <a:pt x="300" y="480"/>
                    </a:lnTo>
                    <a:lnTo>
                      <a:pt x="324" y="480"/>
                    </a:lnTo>
                    <a:lnTo>
                      <a:pt x="354" y="444"/>
                    </a:lnTo>
                    <a:lnTo>
                      <a:pt x="348" y="432"/>
                    </a:lnTo>
                    <a:lnTo>
                      <a:pt x="384" y="402"/>
                    </a:lnTo>
                    <a:lnTo>
                      <a:pt x="378" y="390"/>
                    </a:lnTo>
                    <a:lnTo>
                      <a:pt x="372" y="384"/>
                    </a:lnTo>
                    <a:lnTo>
                      <a:pt x="372" y="360"/>
                    </a:lnTo>
                    <a:lnTo>
                      <a:pt x="378" y="354"/>
                    </a:lnTo>
                    <a:lnTo>
                      <a:pt x="396" y="354"/>
                    </a:lnTo>
                    <a:lnTo>
                      <a:pt x="402" y="342"/>
                    </a:lnTo>
                    <a:lnTo>
                      <a:pt x="402" y="336"/>
                    </a:lnTo>
                    <a:lnTo>
                      <a:pt x="408" y="318"/>
                    </a:lnTo>
                    <a:lnTo>
                      <a:pt x="408" y="264"/>
                    </a:lnTo>
                    <a:lnTo>
                      <a:pt x="414" y="252"/>
                    </a:lnTo>
                    <a:lnTo>
                      <a:pt x="420" y="246"/>
                    </a:lnTo>
                    <a:lnTo>
                      <a:pt x="516" y="246"/>
                    </a:lnTo>
                    <a:lnTo>
                      <a:pt x="540" y="270"/>
                    </a:lnTo>
                    <a:lnTo>
                      <a:pt x="552" y="276"/>
                    </a:lnTo>
                    <a:lnTo>
                      <a:pt x="558" y="282"/>
                    </a:lnTo>
                    <a:lnTo>
                      <a:pt x="576" y="276"/>
                    </a:lnTo>
                    <a:lnTo>
                      <a:pt x="564" y="216"/>
                    </a:lnTo>
                    <a:lnTo>
                      <a:pt x="576" y="222"/>
                    </a:lnTo>
                    <a:lnTo>
                      <a:pt x="582" y="234"/>
                    </a:lnTo>
                    <a:lnTo>
                      <a:pt x="594" y="240"/>
                    </a:lnTo>
                    <a:lnTo>
                      <a:pt x="636" y="240"/>
                    </a:lnTo>
                    <a:lnTo>
                      <a:pt x="630" y="234"/>
                    </a:lnTo>
                    <a:lnTo>
                      <a:pt x="624" y="222"/>
                    </a:lnTo>
                    <a:lnTo>
                      <a:pt x="618" y="216"/>
                    </a:lnTo>
                    <a:lnTo>
                      <a:pt x="606" y="192"/>
                    </a:lnTo>
                    <a:lnTo>
                      <a:pt x="606" y="186"/>
                    </a:lnTo>
                    <a:lnTo>
                      <a:pt x="612" y="180"/>
                    </a:lnTo>
                    <a:lnTo>
                      <a:pt x="624" y="180"/>
                    </a:lnTo>
                    <a:lnTo>
                      <a:pt x="642" y="186"/>
                    </a:lnTo>
                    <a:lnTo>
                      <a:pt x="654" y="186"/>
                    </a:lnTo>
                    <a:lnTo>
                      <a:pt x="660" y="192"/>
                    </a:lnTo>
                    <a:lnTo>
                      <a:pt x="666" y="192"/>
                    </a:lnTo>
                    <a:lnTo>
                      <a:pt x="690" y="162"/>
                    </a:lnTo>
                    <a:lnTo>
                      <a:pt x="666" y="156"/>
                    </a:lnTo>
                    <a:lnTo>
                      <a:pt x="660" y="144"/>
                    </a:lnTo>
                    <a:lnTo>
                      <a:pt x="642" y="126"/>
                    </a:lnTo>
                    <a:lnTo>
                      <a:pt x="630" y="120"/>
                    </a:lnTo>
                    <a:lnTo>
                      <a:pt x="612" y="120"/>
                    </a:lnTo>
                    <a:lnTo>
                      <a:pt x="600" y="114"/>
                    </a:lnTo>
                    <a:lnTo>
                      <a:pt x="588" y="114"/>
                    </a:lnTo>
                    <a:lnTo>
                      <a:pt x="588" y="108"/>
                    </a:lnTo>
                    <a:lnTo>
                      <a:pt x="582" y="102"/>
                    </a:lnTo>
                    <a:lnTo>
                      <a:pt x="582" y="90"/>
                    </a:lnTo>
                    <a:lnTo>
                      <a:pt x="576" y="78"/>
                    </a:lnTo>
                    <a:lnTo>
                      <a:pt x="564" y="66"/>
                    </a:lnTo>
                    <a:lnTo>
                      <a:pt x="540" y="54"/>
                    </a:lnTo>
                    <a:lnTo>
                      <a:pt x="534" y="60"/>
                    </a:lnTo>
                    <a:lnTo>
                      <a:pt x="528" y="60"/>
                    </a:lnTo>
                    <a:lnTo>
                      <a:pt x="510" y="0"/>
                    </a:lnTo>
                    <a:lnTo>
                      <a:pt x="504" y="18"/>
                    </a:lnTo>
                    <a:lnTo>
                      <a:pt x="492" y="0"/>
                    </a:lnTo>
                    <a:lnTo>
                      <a:pt x="480" y="60"/>
                    </a:lnTo>
                    <a:lnTo>
                      <a:pt x="468" y="66"/>
                    </a:lnTo>
                    <a:lnTo>
                      <a:pt x="462" y="66"/>
                    </a:lnTo>
                    <a:lnTo>
                      <a:pt x="450" y="72"/>
                    </a:lnTo>
                    <a:lnTo>
                      <a:pt x="438" y="96"/>
                    </a:lnTo>
                    <a:lnTo>
                      <a:pt x="438" y="114"/>
                    </a:lnTo>
                    <a:lnTo>
                      <a:pt x="408" y="126"/>
                    </a:lnTo>
                    <a:lnTo>
                      <a:pt x="420" y="162"/>
                    </a:lnTo>
                    <a:lnTo>
                      <a:pt x="408" y="162"/>
                    </a:lnTo>
                    <a:lnTo>
                      <a:pt x="390" y="156"/>
                    </a:lnTo>
                    <a:lnTo>
                      <a:pt x="378" y="156"/>
                    </a:lnTo>
                    <a:lnTo>
                      <a:pt x="360" y="150"/>
                    </a:lnTo>
                    <a:lnTo>
                      <a:pt x="354" y="150"/>
                    </a:lnTo>
                    <a:lnTo>
                      <a:pt x="342" y="156"/>
                    </a:lnTo>
                    <a:lnTo>
                      <a:pt x="342" y="168"/>
                    </a:lnTo>
                    <a:lnTo>
                      <a:pt x="336" y="180"/>
                    </a:lnTo>
                    <a:lnTo>
                      <a:pt x="336" y="204"/>
                    </a:lnTo>
                    <a:lnTo>
                      <a:pt x="294" y="246"/>
                    </a:lnTo>
                    <a:lnTo>
                      <a:pt x="294" y="258"/>
                    </a:lnTo>
                    <a:lnTo>
                      <a:pt x="282" y="294"/>
                    </a:lnTo>
                    <a:lnTo>
                      <a:pt x="276" y="306"/>
                    </a:lnTo>
                    <a:lnTo>
                      <a:pt x="264" y="318"/>
                    </a:lnTo>
                    <a:lnTo>
                      <a:pt x="228" y="336"/>
                    </a:lnTo>
                    <a:lnTo>
                      <a:pt x="186" y="342"/>
                    </a:lnTo>
                    <a:lnTo>
                      <a:pt x="162" y="348"/>
                    </a:lnTo>
                    <a:lnTo>
                      <a:pt x="156" y="354"/>
                    </a:lnTo>
                    <a:lnTo>
                      <a:pt x="132" y="366"/>
                    </a:lnTo>
                    <a:lnTo>
                      <a:pt x="114" y="384"/>
                    </a:lnTo>
                    <a:lnTo>
                      <a:pt x="102" y="390"/>
                    </a:lnTo>
                    <a:lnTo>
                      <a:pt x="84" y="426"/>
                    </a:lnTo>
                    <a:lnTo>
                      <a:pt x="102" y="444"/>
                    </a:lnTo>
                    <a:lnTo>
                      <a:pt x="102" y="462"/>
                    </a:lnTo>
                    <a:lnTo>
                      <a:pt x="96" y="474"/>
                    </a:lnTo>
                    <a:lnTo>
                      <a:pt x="84" y="480"/>
                    </a:lnTo>
                    <a:lnTo>
                      <a:pt x="72" y="480"/>
                    </a:lnTo>
                    <a:lnTo>
                      <a:pt x="48" y="468"/>
                    </a:lnTo>
                    <a:lnTo>
                      <a:pt x="42" y="462"/>
                    </a:lnTo>
                    <a:lnTo>
                      <a:pt x="30" y="456"/>
                    </a:lnTo>
                    <a:lnTo>
                      <a:pt x="24" y="456"/>
                    </a:lnTo>
                    <a:lnTo>
                      <a:pt x="12" y="462"/>
                    </a:lnTo>
                    <a:lnTo>
                      <a:pt x="0" y="474"/>
                    </a:lnTo>
                    <a:lnTo>
                      <a:pt x="0" y="492"/>
                    </a:lnTo>
                    <a:lnTo>
                      <a:pt x="12" y="50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2" name="Indones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8EA5400-4BC1-4F15-AE88-676F422376B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547594" y="4315693"/>
                <a:ext cx="1446661" cy="584566"/>
              </a:xfrm>
              <a:custGeom>
                <a:avLst/>
                <a:gdLst>
                  <a:gd name="T0" fmla="*/ 2147483647 w 3264"/>
                  <a:gd name="T1" fmla="*/ 2147483647 h 1302"/>
                  <a:gd name="T2" fmla="*/ 2147483647 w 3264"/>
                  <a:gd name="T3" fmla="*/ 2147483647 h 1302"/>
                  <a:gd name="T4" fmla="*/ 2147483647 w 3264"/>
                  <a:gd name="T5" fmla="*/ 2147483647 h 1302"/>
                  <a:gd name="T6" fmla="*/ 2147483647 w 3264"/>
                  <a:gd name="T7" fmla="*/ 2147483647 h 1302"/>
                  <a:gd name="T8" fmla="*/ 2147483647 w 3264"/>
                  <a:gd name="T9" fmla="*/ 2147483647 h 1302"/>
                  <a:gd name="T10" fmla="*/ 2147483647 w 3264"/>
                  <a:gd name="T11" fmla="*/ 2147483647 h 1302"/>
                  <a:gd name="T12" fmla="*/ 2147483647 w 3264"/>
                  <a:gd name="T13" fmla="*/ 2147483647 h 1302"/>
                  <a:gd name="T14" fmla="*/ 2147483647 w 3264"/>
                  <a:gd name="T15" fmla="*/ 2147483647 h 1302"/>
                  <a:gd name="T16" fmla="*/ 2147483647 w 3264"/>
                  <a:gd name="T17" fmla="*/ 2147483647 h 1302"/>
                  <a:gd name="T18" fmla="*/ 2147483647 w 3264"/>
                  <a:gd name="T19" fmla="*/ 2147483647 h 1302"/>
                  <a:gd name="T20" fmla="*/ 2147483647 w 3264"/>
                  <a:gd name="T21" fmla="*/ 2147483647 h 1302"/>
                  <a:gd name="T22" fmla="*/ 2147483647 w 3264"/>
                  <a:gd name="T23" fmla="*/ 2147483647 h 1302"/>
                  <a:gd name="T24" fmla="*/ 2147483647 w 3264"/>
                  <a:gd name="T25" fmla="*/ 2147483647 h 1302"/>
                  <a:gd name="T26" fmla="*/ 2147483647 w 3264"/>
                  <a:gd name="T27" fmla="*/ 2147483647 h 1302"/>
                  <a:gd name="T28" fmla="*/ 2147483647 w 3264"/>
                  <a:gd name="T29" fmla="*/ 2147483647 h 1302"/>
                  <a:gd name="T30" fmla="*/ 2147483647 w 3264"/>
                  <a:gd name="T31" fmla="*/ 2147483647 h 1302"/>
                  <a:gd name="T32" fmla="*/ 2147483647 w 3264"/>
                  <a:gd name="T33" fmla="*/ 2147483647 h 1302"/>
                  <a:gd name="T34" fmla="*/ 2147483647 w 3264"/>
                  <a:gd name="T35" fmla="*/ 2147483647 h 1302"/>
                  <a:gd name="T36" fmla="*/ 2147483647 w 3264"/>
                  <a:gd name="T37" fmla="*/ 2147483647 h 1302"/>
                  <a:gd name="T38" fmla="*/ 2147483647 w 3264"/>
                  <a:gd name="T39" fmla="*/ 2147483647 h 1302"/>
                  <a:gd name="T40" fmla="*/ 2147483647 w 3264"/>
                  <a:gd name="T41" fmla="*/ 2147483647 h 1302"/>
                  <a:gd name="T42" fmla="*/ 2147483647 w 3264"/>
                  <a:gd name="T43" fmla="*/ 2147483647 h 1302"/>
                  <a:gd name="T44" fmla="*/ 2147483647 w 3264"/>
                  <a:gd name="T45" fmla="*/ 2147483647 h 1302"/>
                  <a:gd name="T46" fmla="*/ 2147483647 w 3264"/>
                  <a:gd name="T47" fmla="*/ 2147483647 h 1302"/>
                  <a:gd name="T48" fmla="*/ 2147483647 w 3264"/>
                  <a:gd name="T49" fmla="*/ 2147483647 h 1302"/>
                  <a:gd name="T50" fmla="*/ 2147483647 w 3264"/>
                  <a:gd name="T51" fmla="*/ 2147483647 h 1302"/>
                  <a:gd name="T52" fmla="*/ 2147483647 w 3264"/>
                  <a:gd name="T53" fmla="*/ 2147483647 h 1302"/>
                  <a:gd name="T54" fmla="*/ 2147483647 w 3264"/>
                  <a:gd name="T55" fmla="*/ 2147483647 h 1302"/>
                  <a:gd name="T56" fmla="*/ 2147483647 w 3264"/>
                  <a:gd name="T57" fmla="*/ 2147483647 h 1302"/>
                  <a:gd name="T58" fmla="*/ 2147483647 w 3264"/>
                  <a:gd name="T59" fmla="*/ 2147483647 h 1302"/>
                  <a:gd name="T60" fmla="*/ 2147483647 w 3264"/>
                  <a:gd name="T61" fmla="*/ 2147483647 h 1302"/>
                  <a:gd name="T62" fmla="*/ 2147483647 w 3264"/>
                  <a:gd name="T63" fmla="*/ 2147483647 h 1302"/>
                  <a:gd name="T64" fmla="*/ 2147483647 w 3264"/>
                  <a:gd name="T65" fmla="*/ 2147483647 h 1302"/>
                  <a:gd name="T66" fmla="*/ 2147483647 w 3264"/>
                  <a:gd name="T67" fmla="*/ 2147483647 h 1302"/>
                  <a:gd name="T68" fmla="*/ 2147483647 w 3264"/>
                  <a:gd name="T69" fmla="*/ 2147483647 h 1302"/>
                  <a:gd name="T70" fmla="*/ 2147483647 w 3264"/>
                  <a:gd name="T71" fmla="*/ 2147483647 h 1302"/>
                  <a:gd name="T72" fmla="*/ 2147483647 w 3264"/>
                  <a:gd name="T73" fmla="*/ 2147483647 h 1302"/>
                  <a:gd name="T74" fmla="*/ 2147483647 w 3264"/>
                  <a:gd name="T75" fmla="*/ 2147483647 h 1302"/>
                  <a:gd name="T76" fmla="*/ 2147483647 w 3264"/>
                  <a:gd name="T77" fmla="*/ 2147483647 h 1302"/>
                  <a:gd name="T78" fmla="*/ 2147483647 w 3264"/>
                  <a:gd name="T79" fmla="*/ 2147483647 h 1302"/>
                  <a:gd name="T80" fmla="*/ 2147483647 w 3264"/>
                  <a:gd name="T81" fmla="*/ 2147483647 h 1302"/>
                  <a:gd name="T82" fmla="*/ 2147483647 w 3264"/>
                  <a:gd name="T83" fmla="*/ 2147483647 h 1302"/>
                  <a:gd name="T84" fmla="*/ 2147483647 w 3264"/>
                  <a:gd name="T85" fmla="*/ 2147483647 h 1302"/>
                  <a:gd name="T86" fmla="*/ 2147483647 w 3264"/>
                  <a:gd name="T87" fmla="*/ 2147483647 h 1302"/>
                  <a:gd name="T88" fmla="*/ 2147483647 w 3264"/>
                  <a:gd name="T89" fmla="*/ 2147483647 h 1302"/>
                  <a:gd name="T90" fmla="*/ 2147483647 w 3264"/>
                  <a:gd name="T91" fmla="*/ 2147483647 h 1302"/>
                  <a:gd name="T92" fmla="*/ 2147483647 w 3264"/>
                  <a:gd name="T93" fmla="*/ 2147483647 h 1302"/>
                  <a:gd name="T94" fmla="*/ 2147483647 w 3264"/>
                  <a:gd name="T95" fmla="*/ 2147483647 h 1302"/>
                  <a:gd name="T96" fmla="*/ 2147483647 w 3264"/>
                  <a:gd name="T97" fmla="*/ 2147483647 h 1302"/>
                  <a:gd name="T98" fmla="*/ 2147483647 w 3264"/>
                  <a:gd name="T99" fmla="*/ 2147483647 h 1302"/>
                  <a:gd name="T100" fmla="*/ 2147483647 w 3264"/>
                  <a:gd name="T101" fmla="*/ 2147483647 h 1302"/>
                  <a:gd name="T102" fmla="*/ 2147483647 w 3264"/>
                  <a:gd name="T103" fmla="*/ 2147483647 h 1302"/>
                  <a:gd name="T104" fmla="*/ 2147483647 w 3264"/>
                  <a:gd name="T105" fmla="*/ 2147483647 h 1302"/>
                  <a:gd name="T106" fmla="*/ 2147483647 w 3264"/>
                  <a:gd name="T107" fmla="*/ 2147483647 h 1302"/>
                  <a:gd name="T108" fmla="*/ 2147483647 w 3264"/>
                  <a:gd name="T109" fmla="*/ 2147483647 h 1302"/>
                  <a:gd name="T110" fmla="*/ 2147483647 w 3264"/>
                  <a:gd name="T111" fmla="*/ 2147483647 h 1302"/>
                  <a:gd name="T112" fmla="*/ 2147483647 w 3264"/>
                  <a:gd name="T113" fmla="*/ 2147483647 h 1302"/>
                  <a:gd name="T114" fmla="*/ 2147483647 w 3264"/>
                  <a:gd name="T115" fmla="*/ 2147483647 h 1302"/>
                  <a:gd name="T116" fmla="*/ 2147483647 w 3264"/>
                  <a:gd name="T117" fmla="*/ 2147483647 h 1302"/>
                  <a:gd name="T118" fmla="*/ 2147483647 w 3264"/>
                  <a:gd name="T119" fmla="*/ 2147483647 h 1302"/>
                  <a:gd name="T120" fmla="*/ 2147483647 w 3264"/>
                  <a:gd name="T121" fmla="*/ 2147483647 h 1302"/>
                  <a:gd name="T122" fmla="*/ 2147483647 w 3264"/>
                  <a:gd name="T123" fmla="*/ 2147483647 h 1302"/>
                  <a:gd name="T124" fmla="*/ 2147483647 w 3264"/>
                  <a:gd name="T125" fmla="*/ 2147483647 h 130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264"/>
                  <a:gd name="T190" fmla="*/ 0 h 1302"/>
                  <a:gd name="T191" fmla="*/ 3264 w 3264"/>
                  <a:gd name="T192" fmla="*/ 1302 h 130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264" h="1302">
                    <a:moveTo>
                      <a:pt x="1788" y="984"/>
                    </a:moveTo>
                    <a:lnTo>
                      <a:pt x="1806" y="978"/>
                    </a:lnTo>
                    <a:lnTo>
                      <a:pt x="1818" y="954"/>
                    </a:lnTo>
                    <a:lnTo>
                      <a:pt x="1812" y="930"/>
                    </a:lnTo>
                    <a:lnTo>
                      <a:pt x="1788" y="984"/>
                    </a:lnTo>
                    <a:close/>
                    <a:moveTo>
                      <a:pt x="672" y="462"/>
                    </a:moveTo>
                    <a:lnTo>
                      <a:pt x="702" y="480"/>
                    </a:lnTo>
                    <a:lnTo>
                      <a:pt x="702" y="450"/>
                    </a:lnTo>
                    <a:lnTo>
                      <a:pt x="672" y="426"/>
                    </a:lnTo>
                    <a:lnTo>
                      <a:pt x="672" y="462"/>
                    </a:lnTo>
                    <a:close/>
                    <a:moveTo>
                      <a:pt x="678" y="492"/>
                    </a:moveTo>
                    <a:lnTo>
                      <a:pt x="654" y="516"/>
                    </a:lnTo>
                    <a:lnTo>
                      <a:pt x="678" y="546"/>
                    </a:lnTo>
                    <a:lnTo>
                      <a:pt x="678" y="492"/>
                    </a:lnTo>
                    <a:close/>
                    <a:moveTo>
                      <a:pt x="906" y="714"/>
                    </a:moveTo>
                    <a:lnTo>
                      <a:pt x="930" y="732"/>
                    </a:lnTo>
                    <a:lnTo>
                      <a:pt x="936" y="708"/>
                    </a:lnTo>
                    <a:lnTo>
                      <a:pt x="936" y="702"/>
                    </a:lnTo>
                    <a:lnTo>
                      <a:pt x="930" y="696"/>
                    </a:lnTo>
                    <a:lnTo>
                      <a:pt x="930" y="690"/>
                    </a:lnTo>
                    <a:lnTo>
                      <a:pt x="912" y="672"/>
                    </a:lnTo>
                    <a:lnTo>
                      <a:pt x="900" y="666"/>
                    </a:lnTo>
                    <a:lnTo>
                      <a:pt x="888" y="666"/>
                    </a:lnTo>
                    <a:lnTo>
                      <a:pt x="882" y="672"/>
                    </a:lnTo>
                    <a:lnTo>
                      <a:pt x="876" y="684"/>
                    </a:lnTo>
                    <a:lnTo>
                      <a:pt x="882" y="696"/>
                    </a:lnTo>
                    <a:lnTo>
                      <a:pt x="882" y="708"/>
                    </a:lnTo>
                    <a:lnTo>
                      <a:pt x="888" y="720"/>
                    </a:lnTo>
                    <a:lnTo>
                      <a:pt x="906" y="714"/>
                    </a:lnTo>
                    <a:close/>
                    <a:moveTo>
                      <a:pt x="684" y="372"/>
                    </a:moveTo>
                    <a:lnTo>
                      <a:pt x="672" y="360"/>
                    </a:lnTo>
                    <a:lnTo>
                      <a:pt x="660" y="372"/>
                    </a:lnTo>
                    <a:lnTo>
                      <a:pt x="672" y="396"/>
                    </a:lnTo>
                    <a:lnTo>
                      <a:pt x="684" y="396"/>
                    </a:lnTo>
                    <a:lnTo>
                      <a:pt x="684" y="372"/>
                    </a:lnTo>
                    <a:close/>
                    <a:moveTo>
                      <a:pt x="750" y="624"/>
                    </a:moveTo>
                    <a:lnTo>
                      <a:pt x="750" y="630"/>
                    </a:lnTo>
                    <a:lnTo>
                      <a:pt x="756" y="636"/>
                    </a:lnTo>
                    <a:lnTo>
                      <a:pt x="756" y="648"/>
                    </a:lnTo>
                    <a:lnTo>
                      <a:pt x="774" y="684"/>
                    </a:lnTo>
                    <a:lnTo>
                      <a:pt x="786" y="690"/>
                    </a:lnTo>
                    <a:lnTo>
                      <a:pt x="804" y="696"/>
                    </a:lnTo>
                    <a:lnTo>
                      <a:pt x="816" y="702"/>
                    </a:lnTo>
                    <a:lnTo>
                      <a:pt x="834" y="702"/>
                    </a:lnTo>
                    <a:lnTo>
                      <a:pt x="828" y="660"/>
                    </a:lnTo>
                    <a:lnTo>
                      <a:pt x="810" y="648"/>
                    </a:lnTo>
                    <a:lnTo>
                      <a:pt x="810" y="618"/>
                    </a:lnTo>
                    <a:lnTo>
                      <a:pt x="804" y="606"/>
                    </a:lnTo>
                    <a:lnTo>
                      <a:pt x="792" y="600"/>
                    </a:lnTo>
                    <a:lnTo>
                      <a:pt x="786" y="588"/>
                    </a:lnTo>
                    <a:lnTo>
                      <a:pt x="768" y="582"/>
                    </a:lnTo>
                    <a:lnTo>
                      <a:pt x="756" y="576"/>
                    </a:lnTo>
                    <a:lnTo>
                      <a:pt x="732" y="576"/>
                    </a:lnTo>
                    <a:lnTo>
                      <a:pt x="732" y="582"/>
                    </a:lnTo>
                    <a:lnTo>
                      <a:pt x="726" y="588"/>
                    </a:lnTo>
                    <a:lnTo>
                      <a:pt x="726" y="600"/>
                    </a:lnTo>
                    <a:lnTo>
                      <a:pt x="714" y="600"/>
                    </a:lnTo>
                    <a:lnTo>
                      <a:pt x="714" y="606"/>
                    </a:lnTo>
                    <a:lnTo>
                      <a:pt x="708" y="612"/>
                    </a:lnTo>
                    <a:lnTo>
                      <a:pt x="714" y="624"/>
                    </a:lnTo>
                    <a:lnTo>
                      <a:pt x="750" y="624"/>
                    </a:lnTo>
                    <a:close/>
                    <a:moveTo>
                      <a:pt x="246" y="438"/>
                    </a:moveTo>
                    <a:lnTo>
                      <a:pt x="222" y="462"/>
                    </a:lnTo>
                    <a:lnTo>
                      <a:pt x="234" y="492"/>
                    </a:lnTo>
                    <a:lnTo>
                      <a:pt x="234" y="498"/>
                    </a:lnTo>
                    <a:lnTo>
                      <a:pt x="228" y="504"/>
                    </a:lnTo>
                    <a:lnTo>
                      <a:pt x="228" y="510"/>
                    </a:lnTo>
                    <a:lnTo>
                      <a:pt x="240" y="510"/>
                    </a:lnTo>
                    <a:lnTo>
                      <a:pt x="246" y="504"/>
                    </a:lnTo>
                    <a:lnTo>
                      <a:pt x="246" y="468"/>
                    </a:lnTo>
                    <a:lnTo>
                      <a:pt x="252" y="456"/>
                    </a:lnTo>
                    <a:lnTo>
                      <a:pt x="246" y="438"/>
                    </a:lnTo>
                    <a:close/>
                    <a:moveTo>
                      <a:pt x="264" y="534"/>
                    </a:moveTo>
                    <a:lnTo>
                      <a:pt x="258" y="546"/>
                    </a:lnTo>
                    <a:lnTo>
                      <a:pt x="258" y="588"/>
                    </a:lnTo>
                    <a:lnTo>
                      <a:pt x="264" y="600"/>
                    </a:lnTo>
                    <a:lnTo>
                      <a:pt x="276" y="612"/>
                    </a:lnTo>
                    <a:lnTo>
                      <a:pt x="288" y="612"/>
                    </a:lnTo>
                    <a:lnTo>
                      <a:pt x="294" y="606"/>
                    </a:lnTo>
                    <a:lnTo>
                      <a:pt x="294" y="588"/>
                    </a:lnTo>
                    <a:lnTo>
                      <a:pt x="288" y="576"/>
                    </a:lnTo>
                    <a:lnTo>
                      <a:pt x="282" y="558"/>
                    </a:lnTo>
                    <a:lnTo>
                      <a:pt x="282" y="546"/>
                    </a:lnTo>
                    <a:lnTo>
                      <a:pt x="276" y="534"/>
                    </a:lnTo>
                    <a:lnTo>
                      <a:pt x="264" y="534"/>
                    </a:lnTo>
                    <a:close/>
                    <a:moveTo>
                      <a:pt x="48" y="222"/>
                    </a:moveTo>
                    <a:lnTo>
                      <a:pt x="42" y="228"/>
                    </a:lnTo>
                    <a:lnTo>
                      <a:pt x="42" y="246"/>
                    </a:lnTo>
                    <a:lnTo>
                      <a:pt x="48" y="258"/>
                    </a:lnTo>
                    <a:lnTo>
                      <a:pt x="66" y="258"/>
                    </a:lnTo>
                    <a:lnTo>
                      <a:pt x="84" y="276"/>
                    </a:lnTo>
                    <a:lnTo>
                      <a:pt x="90" y="270"/>
                    </a:lnTo>
                    <a:lnTo>
                      <a:pt x="90" y="252"/>
                    </a:lnTo>
                    <a:lnTo>
                      <a:pt x="78" y="246"/>
                    </a:lnTo>
                    <a:lnTo>
                      <a:pt x="72" y="234"/>
                    </a:lnTo>
                    <a:lnTo>
                      <a:pt x="60" y="228"/>
                    </a:lnTo>
                    <a:lnTo>
                      <a:pt x="54" y="222"/>
                    </a:lnTo>
                    <a:lnTo>
                      <a:pt x="48" y="222"/>
                    </a:lnTo>
                    <a:close/>
                    <a:moveTo>
                      <a:pt x="162" y="330"/>
                    </a:moveTo>
                    <a:lnTo>
                      <a:pt x="156" y="330"/>
                    </a:lnTo>
                    <a:lnTo>
                      <a:pt x="144" y="342"/>
                    </a:lnTo>
                    <a:lnTo>
                      <a:pt x="144" y="354"/>
                    </a:lnTo>
                    <a:lnTo>
                      <a:pt x="156" y="366"/>
                    </a:lnTo>
                    <a:lnTo>
                      <a:pt x="162" y="378"/>
                    </a:lnTo>
                    <a:lnTo>
                      <a:pt x="174" y="390"/>
                    </a:lnTo>
                    <a:lnTo>
                      <a:pt x="180" y="402"/>
                    </a:lnTo>
                    <a:lnTo>
                      <a:pt x="192" y="414"/>
                    </a:lnTo>
                    <a:lnTo>
                      <a:pt x="198" y="408"/>
                    </a:lnTo>
                    <a:lnTo>
                      <a:pt x="198" y="402"/>
                    </a:lnTo>
                    <a:lnTo>
                      <a:pt x="204" y="390"/>
                    </a:lnTo>
                    <a:lnTo>
                      <a:pt x="204" y="384"/>
                    </a:lnTo>
                    <a:lnTo>
                      <a:pt x="198" y="372"/>
                    </a:lnTo>
                    <a:lnTo>
                      <a:pt x="198" y="366"/>
                    </a:lnTo>
                    <a:lnTo>
                      <a:pt x="192" y="360"/>
                    </a:lnTo>
                    <a:lnTo>
                      <a:pt x="186" y="348"/>
                    </a:lnTo>
                    <a:lnTo>
                      <a:pt x="180" y="342"/>
                    </a:lnTo>
                    <a:lnTo>
                      <a:pt x="168" y="336"/>
                    </a:lnTo>
                    <a:lnTo>
                      <a:pt x="162" y="330"/>
                    </a:lnTo>
                    <a:close/>
                    <a:moveTo>
                      <a:pt x="2574" y="486"/>
                    </a:moveTo>
                    <a:lnTo>
                      <a:pt x="2574" y="474"/>
                    </a:lnTo>
                    <a:lnTo>
                      <a:pt x="2568" y="474"/>
                    </a:lnTo>
                    <a:lnTo>
                      <a:pt x="2556" y="468"/>
                    </a:lnTo>
                    <a:lnTo>
                      <a:pt x="2520" y="468"/>
                    </a:lnTo>
                    <a:lnTo>
                      <a:pt x="2514" y="474"/>
                    </a:lnTo>
                    <a:lnTo>
                      <a:pt x="2520" y="498"/>
                    </a:lnTo>
                    <a:lnTo>
                      <a:pt x="2526" y="498"/>
                    </a:lnTo>
                    <a:lnTo>
                      <a:pt x="2538" y="492"/>
                    </a:lnTo>
                    <a:lnTo>
                      <a:pt x="2562" y="492"/>
                    </a:lnTo>
                    <a:lnTo>
                      <a:pt x="2568" y="486"/>
                    </a:lnTo>
                    <a:lnTo>
                      <a:pt x="2574" y="486"/>
                    </a:lnTo>
                    <a:close/>
                    <a:moveTo>
                      <a:pt x="336" y="648"/>
                    </a:moveTo>
                    <a:lnTo>
                      <a:pt x="342" y="648"/>
                    </a:lnTo>
                    <a:lnTo>
                      <a:pt x="342" y="636"/>
                    </a:lnTo>
                    <a:lnTo>
                      <a:pt x="330" y="624"/>
                    </a:lnTo>
                    <a:lnTo>
                      <a:pt x="318" y="624"/>
                    </a:lnTo>
                    <a:lnTo>
                      <a:pt x="318" y="636"/>
                    </a:lnTo>
                    <a:lnTo>
                      <a:pt x="330" y="648"/>
                    </a:lnTo>
                    <a:lnTo>
                      <a:pt x="336" y="648"/>
                    </a:lnTo>
                    <a:close/>
                    <a:moveTo>
                      <a:pt x="2472" y="654"/>
                    </a:moveTo>
                    <a:lnTo>
                      <a:pt x="2484" y="648"/>
                    </a:lnTo>
                    <a:lnTo>
                      <a:pt x="2502" y="630"/>
                    </a:lnTo>
                    <a:lnTo>
                      <a:pt x="2502" y="618"/>
                    </a:lnTo>
                    <a:lnTo>
                      <a:pt x="2430" y="612"/>
                    </a:lnTo>
                    <a:lnTo>
                      <a:pt x="2430" y="624"/>
                    </a:lnTo>
                    <a:lnTo>
                      <a:pt x="2436" y="630"/>
                    </a:lnTo>
                    <a:lnTo>
                      <a:pt x="2442" y="642"/>
                    </a:lnTo>
                    <a:lnTo>
                      <a:pt x="2448" y="648"/>
                    </a:lnTo>
                    <a:lnTo>
                      <a:pt x="2460" y="654"/>
                    </a:lnTo>
                    <a:lnTo>
                      <a:pt x="2472" y="654"/>
                    </a:lnTo>
                    <a:close/>
                    <a:moveTo>
                      <a:pt x="2406" y="288"/>
                    </a:moveTo>
                    <a:lnTo>
                      <a:pt x="2418" y="276"/>
                    </a:lnTo>
                    <a:lnTo>
                      <a:pt x="2418" y="264"/>
                    </a:lnTo>
                    <a:lnTo>
                      <a:pt x="2412" y="258"/>
                    </a:lnTo>
                    <a:lnTo>
                      <a:pt x="2400" y="252"/>
                    </a:lnTo>
                    <a:lnTo>
                      <a:pt x="2376" y="252"/>
                    </a:lnTo>
                    <a:lnTo>
                      <a:pt x="2370" y="258"/>
                    </a:lnTo>
                    <a:lnTo>
                      <a:pt x="2370" y="264"/>
                    </a:lnTo>
                    <a:lnTo>
                      <a:pt x="2394" y="288"/>
                    </a:lnTo>
                    <a:lnTo>
                      <a:pt x="2406" y="288"/>
                    </a:lnTo>
                    <a:close/>
                    <a:moveTo>
                      <a:pt x="2868" y="528"/>
                    </a:moveTo>
                    <a:lnTo>
                      <a:pt x="2886" y="534"/>
                    </a:lnTo>
                    <a:lnTo>
                      <a:pt x="2892" y="534"/>
                    </a:lnTo>
                    <a:lnTo>
                      <a:pt x="2898" y="528"/>
                    </a:lnTo>
                    <a:lnTo>
                      <a:pt x="2898" y="522"/>
                    </a:lnTo>
                    <a:lnTo>
                      <a:pt x="2874" y="510"/>
                    </a:lnTo>
                    <a:lnTo>
                      <a:pt x="2868" y="516"/>
                    </a:lnTo>
                    <a:lnTo>
                      <a:pt x="2862" y="516"/>
                    </a:lnTo>
                    <a:lnTo>
                      <a:pt x="2862" y="522"/>
                    </a:lnTo>
                    <a:lnTo>
                      <a:pt x="2868" y="528"/>
                    </a:lnTo>
                    <a:close/>
                    <a:moveTo>
                      <a:pt x="2916" y="618"/>
                    </a:moveTo>
                    <a:lnTo>
                      <a:pt x="2928" y="618"/>
                    </a:lnTo>
                    <a:lnTo>
                      <a:pt x="2940" y="612"/>
                    </a:lnTo>
                    <a:lnTo>
                      <a:pt x="2958" y="612"/>
                    </a:lnTo>
                    <a:lnTo>
                      <a:pt x="2964" y="606"/>
                    </a:lnTo>
                    <a:lnTo>
                      <a:pt x="2970" y="606"/>
                    </a:lnTo>
                    <a:lnTo>
                      <a:pt x="2964" y="606"/>
                    </a:lnTo>
                    <a:lnTo>
                      <a:pt x="2958" y="600"/>
                    </a:lnTo>
                    <a:lnTo>
                      <a:pt x="2946" y="594"/>
                    </a:lnTo>
                    <a:lnTo>
                      <a:pt x="2934" y="594"/>
                    </a:lnTo>
                    <a:lnTo>
                      <a:pt x="2928" y="588"/>
                    </a:lnTo>
                    <a:lnTo>
                      <a:pt x="2922" y="588"/>
                    </a:lnTo>
                    <a:lnTo>
                      <a:pt x="2910" y="594"/>
                    </a:lnTo>
                    <a:lnTo>
                      <a:pt x="2892" y="594"/>
                    </a:lnTo>
                    <a:lnTo>
                      <a:pt x="2886" y="600"/>
                    </a:lnTo>
                    <a:lnTo>
                      <a:pt x="2880" y="600"/>
                    </a:lnTo>
                    <a:lnTo>
                      <a:pt x="2892" y="606"/>
                    </a:lnTo>
                    <a:lnTo>
                      <a:pt x="2898" y="612"/>
                    </a:lnTo>
                    <a:lnTo>
                      <a:pt x="2910" y="618"/>
                    </a:lnTo>
                    <a:lnTo>
                      <a:pt x="2916" y="618"/>
                    </a:lnTo>
                    <a:close/>
                    <a:moveTo>
                      <a:pt x="1710" y="552"/>
                    </a:moveTo>
                    <a:lnTo>
                      <a:pt x="1710" y="564"/>
                    </a:lnTo>
                    <a:lnTo>
                      <a:pt x="1716" y="570"/>
                    </a:lnTo>
                    <a:lnTo>
                      <a:pt x="1716" y="582"/>
                    </a:lnTo>
                    <a:lnTo>
                      <a:pt x="1722" y="594"/>
                    </a:lnTo>
                    <a:lnTo>
                      <a:pt x="1722" y="612"/>
                    </a:lnTo>
                    <a:lnTo>
                      <a:pt x="1716" y="618"/>
                    </a:lnTo>
                    <a:lnTo>
                      <a:pt x="1692" y="630"/>
                    </a:lnTo>
                    <a:lnTo>
                      <a:pt x="1686" y="636"/>
                    </a:lnTo>
                    <a:lnTo>
                      <a:pt x="1674" y="642"/>
                    </a:lnTo>
                    <a:lnTo>
                      <a:pt x="1674" y="678"/>
                    </a:lnTo>
                    <a:lnTo>
                      <a:pt x="1680" y="684"/>
                    </a:lnTo>
                    <a:lnTo>
                      <a:pt x="1686" y="696"/>
                    </a:lnTo>
                    <a:lnTo>
                      <a:pt x="1674" y="708"/>
                    </a:lnTo>
                    <a:lnTo>
                      <a:pt x="1674" y="720"/>
                    </a:lnTo>
                    <a:lnTo>
                      <a:pt x="1680" y="726"/>
                    </a:lnTo>
                    <a:lnTo>
                      <a:pt x="1692" y="732"/>
                    </a:lnTo>
                    <a:lnTo>
                      <a:pt x="1698" y="726"/>
                    </a:lnTo>
                    <a:lnTo>
                      <a:pt x="1722" y="726"/>
                    </a:lnTo>
                    <a:lnTo>
                      <a:pt x="1728" y="732"/>
                    </a:lnTo>
                    <a:lnTo>
                      <a:pt x="1728" y="756"/>
                    </a:lnTo>
                    <a:lnTo>
                      <a:pt x="1722" y="762"/>
                    </a:lnTo>
                    <a:lnTo>
                      <a:pt x="1740" y="780"/>
                    </a:lnTo>
                    <a:lnTo>
                      <a:pt x="1728" y="846"/>
                    </a:lnTo>
                    <a:lnTo>
                      <a:pt x="1710" y="864"/>
                    </a:lnTo>
                    <a:lnTo>
                      <a:pt x="1704" y="876"/>
                    </a:lnTo>
                    <a:lnTo>
                      <a:pt x="1704" y="888"/>
                    </a:lnTo>
                    <a:lnTo>
                      <a:pt x="1710" y="906"/>
                    </a:lnTo>
                    <a:lnTo>
                      <a:pt x="1722" y="924"/>
                    </a:lnTo>
                    <a:lnTo>
                      <a:pt x="1746" y="936"/>
                    </a:lnTo>
                    <a:lnTo>
                      <a:pt x="1764" y="930"/>
                    </a:lnTo>
                    <a:lnTo>
                      <a:pt x="1788" y="906"/>
                    </a:lnTo>
                    <a:lnTo>
                      <a:pt x="1788" y="864"/>
                    </a:lnTo>
                    <a:lnTo>
                      <a:pt x="1782" y="858"/>
                    </a:lnTo>
                    <a:lnTo>
                      <a:pt x="1776" y="846"/>
                    </a:lnTo>
                    <a:lnTo>
                      <a:pt x="1800" y="822"/>
                    </a:lnTo>
                    <a:lnTo>
                      <a:pt x="1806" y="804"/>
                    </a:lnTo>
                    <a:lnTo>
                      <a:pt x="1806" y="774"/>
                    </a:lnTo>
                    <a:lnTo>
                      <a:pt x="1812" y="756"/>
                    </a:lnTo>
                    <a:lnTo>
                      <a:pt x="1812" y="726"/>
                    </a:lnTo>
                    <a:lnTo>
                      <a:pt x="1806" y="714"/>
                    </a:lnTo>
                    <a:lnTo>
                      <a:pt x="1800" y="696"/>
                    </a:lnTo>
                    <a:lnTo>
                      <a:pt x="1794" y="684"/>
                    </a:lnTo>
                    <a:lnTo>
                      <a:pt x="1794" y="636"/>
                    </a:lnTo>
                    <a:lnTo>
                      <a:pt x="1800" y="630"/>
                    </a:lnTo>
                    <a:lnTo>
                      <a:pt x="1800" y="624"/>
                    </a:lnTo>
                    <a:lnTo>
                      <a:pt x="1806" y="618"/>
                    </a:lnTo>
                    <a:lnTo>
                      <a:pt x="1812" y="618"/>
                    </a:lnTo>
                    <a:lnTo>
                      <a:pt x="1818" y="624"/>
                    </a:lnTo>
                    <a:lnTo>
                      <a:pt x="1824" y="642"/>
                    </a:lnTo>
                    <a:lnTo>
                      <a:pt x="1830" y="666"/>
                    </a:lnTo>
                    <a:lnTo>
                      <a:pt x="1836" y="684"/>
                    </a:lnTo>
                    <a:lnTo>
                      <a:pt x="1836" y="702"/>
                    </a:lnTo>
                    <a:lnTo>
                      <a:pt x="1866" y="738"/>
                    </a:lnTo>
                    <a:lnTo>
                      <a:pt x="1866" y="792"/>
                    </a:lnTo>
                    <a:lnTo>
                      <a:pt x="1890" y="822"/>
                    </a:lnTo>
                    <a:lnTo>
                      <a:pt x="1890" y="858"/>
                    </a:lnTo>
                    <a:lnTo>
                      <a:pt x="1902" y="930"/>
                    </a:lnTo>
                    <a:lnTo>
                      <a:pt x="1920" y="918"/>
                    </a:lnTo>
                    <a:lnTo>
                      <a:pt x="1962" y="930"/>
                    </a:lnTo>
                    <a:lnTo>
                      <a:pt x="1962" y="870"/>
                    </a:lnTo>
                    <a:lnTo>
                      <a:pt x="1968" y="864"/>
                    </a:lnTo>
                    <a:lnTo>
                      <a:pt x="1974" y="852"/>
                    </a:lnTo>
                    <a:lnTo>
                      <a:pt x="1980" y="876"/>
                    </a:lnTo>
                    <a:lnTo>
                      <a:pt x="1998" y="876"/>
                    </a:lnTo>
                    <a:lnTo>
                      <a:pt x="2004" y="870"/>
                    </a:lnTo>
                    <a:lnTo>
                      <a:pt x="2010" y="858"/>
                    </a:lnTo>
                    <a:lnTo>
                      <a:pt x="2010" y="828"/>
                    </a:lnTo>
                    <a:lnTo>
                      <a:pt x="2004" y="822"/>
                    </a:lnTo>
                    <a:lnTo>
                      <a:pt x="2004" y="816"/>
                    </a:lnTo>
                    <a:lnTo>
                      <a:pt x="1992" y="810"/>
                    </a:lnTo>
                    <a:lnTo>
                      <a:pt x="1986" y="798"/>
                    </a:lnTo>
                    <a:lnTo>
                      <a:pt x="1974" y="792"/>
                    </a:lnTo>
                    <a:lnTo>
                      <a:pt x="1962" y="780"/>
                    </a:lnTo>
                    <a:lnTo>
                      <a:pt x="1956" y="768"/>
                    </a:lnTo>
                    <a:lnTo>
                      <a:pt x="1944" y="756"/>
                    </a:lnTo>
                    <a:lnTo>
                      <a:pt x="1944" y="750"/>
                    </a:lnTo>
                    <a:lnTo>
                      <a:pt x="1956" y="726"/>
                    </a:lnTo>
                    <a:lnTo>
                      <a:pt x="1968" y="720"/>
                    </a:lnTo>
                    <a:lnTo>
                      <a:pt x="1968" y="708"/>
                    </a:lnTo>
                    <a:lnTo>
                      <a:pt x="1962" y="696"/>
                    </a:lnTo>
                    <a:lnTo>
                      <a:pt x="1938" y="684"/>
                    </a:lnTo>
                    <a:lnTo>
                      <a:pt x="1932" y="672"/>
                    </a:lnTo>
                    <a:lnTo>
                      <a:pt x="1932" y="642"/>
                    </a:lnTo>
                    <a:lnTo>
                      <a:pt x="1938" y="636"/>
                    </a:lnTo>
                    <a:lnTo>
                      <a:pt x="1938" y="630"/>
                    </a:lnTo>
                    <a:lnTo>
                      <a:pt x="1926" y="618"/>
                    </a:lnTo>
                    <a:lnTo>
                      <a:pt x="1914" y="612"/>
                    </a:lnTo>
                    <a:lnTo>
                      <a:pt x="1896" y="594"/>
                    </a:lnTo>
                    <a:lnTo>
                      <a:pt x="1884" y="588"/>
                    </a:lnTo>
                    <a:lnTo>
                      <a:pt x="1878" y="582"/>
                    </a:lnTo>
                    <a:lnTo>
                      <a:pt x="1914" y="582"/>
                    </a:lnTo>
                    <a:lnTo>
                      <a:pt x="1926" y="576"/>
                    </a:lnTo>
                    <a:lnTo>
                      <a:pt x="1932" y="570"/>
                    </a:lnTo>
                    <a:lnTo>
                      <a:pt x="1944" y="546"/>
                    </a:lnTo>
                    <a:lnTo>
                      <a:pt x="1950" y="540"/>
                    </a:lnTo>
                    <a:lnTo>
                      <a:pt x="1956" y="528"/>
                    </a:lnTo>
                    <a:lnTo>
                      <a:pt x="1992" y="528"/>
                    </a:lnTo>
                    <a:lnTo>
                      <a:pt x="2004" y="522"/>
                    </a:lnTo>
                    <a:lnTo>
                      <a:pt x="2010" y="522"/>
                    </a:lnTo>
                    <a:lnTo>
                      <a:pt x="2016" y="516"/>
                    </a:lnTo>
                    <a:lnTo>
                      <a:pt x="2016" y="504"/>
                    </a:lnTo>
                    <a:lnTo>
                      <a:pt x="1998" y="486"/>
                    </a:lnTo>
                    <a:lnTo>
                      <a:pt x="1986" y="480"/>
                    </a:lnTo>
                    <a:lnTo>
                      <a:pt x="1974" y="486"/>
                    </a:lnTo>
                    <a:lnTo>
                      <a:pt x="1956" y="504"/>
                    </a:lnTo>
                    <a:lnTo>
                      <a:pt x="1956" y="510"/>
                    </a:lnTo>
                    <a:lnTo>
                      <a:pt x="1944" y="510"/>
                    </a:lnTo>
                    <a:lnTo>
                      <a:pt x="1932" y="504"/>
                    </a:lnTo>
                    <a:lnTo>
                      <a:pt x="1896" y="504"/>
                    </a:lnTo>
                    <a:lnTo>
                      <a:pt x="1890" y="510"/>
                    </a:lnTo>
                    <a:lnTo>
                      <a:pt x="1884" y="522"/>
                    </a:lnTo>
                    <a:lnTo>
                      <a:pt x="1854" y="552"/>
                    </a:lnTo>
                    <a:lnTo>
                      <a:pt x="1848" y="546"/>
                    </a:lnTo>
                    <a:lnTo>
                      <a:pt x="1836" y="540"/>
                    </a:lnTo>
                    <a:lnTo>
                      <a:pt x="1824" y="516"/>
                    </a:lnTo>
                    <a:lnTo>
                      <a:pt x="1788" y="498"/>
                    </a:lnTo>
                    <a:lnTo>
                      <a:pt x="1776" y="498"/>
                    </a:lnTo>
                    <a:lnTo>
                      <a:pt x="1776" y="486"/>
                    </a:lnTo>
                    <a:lnTo>
                      <a:pt x="1782" y="468"/>
                    </a:lnTo>
                    <a:lnTo>
                      <a:pt x="1782" y="456"/>
                    </a:lnTo>
                    <a:lnTo>
                      <a:pt x="1794" y="420"/>
                    </a:lnTo>
                    <a:lnTo>
                      <a:pt x="1806" y="408"/>
                    </a:lnTo>
                    <a:lnTo>
                      <a:pt x="1824" y="408"/>
                    </a:lnTo>
                    <a:lnTo>
                      <a:pt x="1842" y="414"/>
                    </a:lnTo>
                    <a:lnTo>
                      <a:pt x="1896" y="414"/>
                    </a:lnTo>
                    <a:lnTo>
                      <a:pt x="1902" y="408"/>
                    </a:lnTo>
                    <a:lnTo>
                      <a:pt x="1908" y="408"/>
                    </a:lnTo>
                    <a:lnTo>
                      <a:pt x="1908" y="402"/>
                    </a:lnTo>
                    <a:lnTo>
                      <a:pt x="1914" y="396"/>
                    </a:lnTo>
                    <a:lnTo>
                      <a:pt x="1920" y="396"/>
                    </a:lnTo>
                    <a:lnTo>
                      <a:pt x="1944" y="402"/>
                    </a:lnTo>
                    <a:lnTo>
                      <a:pt x="1980" y="420"/>
                    </a:lnTo>
                    <a:lnTo>
                      <a:pt x="2010" y="432"/>
                    </a:lnTo>
                    <a:lnTo>
                      <a:pt x="2034" y="438"/>
                    </a:lnTo>
                    <a:lnTo>
                      <a:pt x="2040" y="438"/>
                    </a:lnTo>
                    <a:lnTo>
                      <a:pt x="2052" y="432"/>
                    </a:lnTo>
                    <a:lnTo>
                      <a:pt x="2064" y="420"/>
                    </a:lnTo>
                    <a:lnTo>
                      <a:pt x="2082" y="420"/>
                    </a:lnTo>
                    <a:lnTo>
                      <a:pt x="2094" y="414"/>
                    </a:lnTo>
                    <a:lnTo>
                      <a:pt x="2106" y="414"/>
                    </a:lnTo>
                    <a:lnTo>
                      <a:pt x="2112" y="408"/>
                    </a:lnTo>
                    <a:lnTo>
                      <a:pt x="2112" y="402"/>
                    </a:lnTo>
                    <a:lnTo>
                      <a:pt x="2106" y="396"/>
                    </a:lnTo>
                    <a:lnTo>
                      <a:pt x="2106" y="390"/>
                    </a:lnTo>
                    <a:lnTo>
                      <a:pt x="2118" y="378"/>
                    </a:lnTo>
                    <a:lnTo>
                      <a:pt x="2142" y="366"/>
                    </a:lnTo>
                    <a:lnTo>
                      <a:pt x="2148" y="360"/>
                    </a:lnTo>
                    <a:lnTo>
                      <a:pt x="2160" y="354"/>
                    </a:lnTo>
                    <a:lnTo>
                      <a:pt x="2148" y="324"/>
                    </a:lnTo>
                    <a:lnTo>
                      <a:pt x="2070" y="360"/>
                    </a:lnTo>
                    <a:lnTo>
                      <a:pt x="2076" y="366"/>
                    </a:lnTo>
                    <a:lnTo>
                      <a:pt x="2076" y="372"/>
                    </a:lnTo>
                    <a:lnTo>
                      <a:pt x="2070" y="378"/>
                    </a:lnTo>
                    <a:lnTo>
                      <a:pt x="2046" y="378"/>
                    </a:lnTo>
                    <a:lnTo>
                      <a:pt x="2022" y="366"/>
                    </a:lnTo>
                    <a:lnTo>
                      <a:pt x="2004" y="366"/>
                    </a:lnTo>
                    <a:lnTo>
                      <a:pt x="1968" y="384"/>
                    </a:lnTo>
                    <a:lnTo>
                      <a:pt x="1950" y="384"/>
                    </a:lnTo>
                    <a:lnTo>
                      <a:pt x="1938" y="378"/>
                    </a:lnTo>
                    <a:lnTo>
                      <a:pt x="1926" y="378"/>
                    </a:lnTo>
                    <a:lnTo>
                      <a:pt x="1902" y="366"/>
                    </a:lnTo>
                    <a:lnTo>
                      <a:pt x="1860" y="366"/>
                    </a:lnTo>
                    <a:lnTo>
                      <a:pt x="1872" y="348"/>
                    </a:lnTo>
                    <a:lnTo>
                      <a:pt x="1860" y="348"/>
                    </a:lnTo>
                    <a:lnTo>
                      <a:pt x="1848" y="342"/>
                    </a:lnTo>
                    <a:lnTo>
                      <a:pt x="1824" y="342"/>
                    </a:lnTo>
                    <a:lnTo>
                      <a:pt x="1824" y="366"/>
                    </a:lnTo>
                    <a:lnTo>
                      <a:pt x="1812" y="378"/>
                    </a:lnTo>
                    <a:lnTo>
                      <a:pt x="1788" y="390"/>
                    </a:lnTo>
                    <a:lnTo>
                      <a:pt x="1764" y="390"/>
                    </a:lnTo>
                    <a:lnTo>
                      <a:pt x="1758" y="396"/>
                    </a:lnTo>
                    <a:lnTo>
                      <a:pt x="1758" y="426"/>
                    </a:lnTo>
                    <a:lnTo>
                      <a:pt x="1740" y="432"/>
                    </a:lnTo>
                    <a:lnTo>
                      <a:pt x="1752" y="498"/>
                    </a:lnTo>
                    <a:lnTo>
                      <a:pt x="1740" y="498"/>
                    </a:lnTo>
                    <a:lnTo>
                      <a:pt x="1734" y="510"/>
                    </a:lnTo>
                    <a:lnTo>
                      <a:pt x="1728" y="516"/>
                    </a:lnTo>
                    <a:lnTo>
                      <a:pt x="1710" y="552"/>
                    </a:lnTo>
                    <a:close/>
                    <a:moveTo>
                      <a:pt x="1986" y="576"/>
                    </a:moveTo>
                    <a:lnTo>
                      <a:pt x="1986" y="594"/>
                    </a:lnTo>
                    <a:lnTo>
                      <a:pt x="1992" y="600"/>
                    </a:lnTo>
                    <a:lnTo>
                      <a:pt x="2004" y="600"/>
                    </a:lnTo>
                    <a:lnTo>
                      <a:pt x="2016" y="588"/>
                    </a:lnTo>
                    <a:lnTo>
                      <a:pt x="2016" y="576"/>
                    </a:lnTo>
                    <a:lnTo>
                      <a:pt x="1986" y="576"/>
                    </a:lnTo>
                    <a:close/>
                    <a:moveTo>
                      <a:pt x="1686" y="1110"/>
                    </a:moveTo>
                    <a:lnTo>
                      <a:pt x="1674" y="1110"/>
                    </a:lnTo>
                    <a:lnTo>
                      <a:pt x="1668" y="1116"/>
                    </a:lnTo>
                    <a:lnTo>
                      <a:pt x="1662" y="1116"/>
                    </a:lnTo>
                    <a:lnTo>
                      <a:pt x="1614" y="1104"/>
                    </a:lnTo>
                    <a:lnTo>
                      <a:pt x="1644" y="1146"/>
                    </a:lnTo>
                    <a:lnTo>
                      <a:pt x="1650" y="1152"/>
                    </a:lnTo>
                    <a:lnTo>
                      <a:pt x="1662" y="1158"/>
                    </a:lnTo>
                    <a:lnTo>
                      <a:pt x="1668" y="1164"/>
                    </a:lnTo>
                    <a:lnTo>
                      <a:pt x="1680" y="1170"/>
                    </a:lnTo>
                    <a:lnTo>
                      <a:pt x="1692" y="1158"/>
                    </a:lnTo>
                    <a:lnTo>
                      <a:pt x="1698" y="1140"/>
                    </a:lnTo>
                    <a:lnTo>
                      <a:pt x="1698" y="1128"/>
                    </a:lnTo>
                    <a:lnTo>
                      <a:pt x="1692" y="1116"/>
                    </a:lnTo>
                    <a:lnTo>
                      <a:pt x="1686" y="1110"/>
                    </a:lnTo>
                    <a:close/>
                    <a:moveTo>
                      <a:pt x="2094" y="1104"/>
                    </a:moveTo>
                    <a:lnTo>
                      <a:pt x="2064" y="1128"/>
                    </a:lnTo>
                    <a:lnTo>
                      <a:pt x="2094" y="1134"/>
                    </a:lnTo>
                    <a:lnTo>
                      <a:pt x="2094" y="1104"/>
                    </a:lnTo>
                    <a:close/>
                    <a:moveTo>
                      <a:pt x="486" y="294"/>
                    </a:moveTo>
                    <a:lnTo>
                      <a:pt x="474" y="288"/>
                    </a:lnTo>
                    <a:lnTo>
                      <a:pt x="468" y="288"/>
                    </a:lnTo>
                    <a:lnTo>
                      <a:pt x="456" y="294"/>
                    </a:lnTo>
                    <a:lnTo>
                      <a:pt x="456" y="312"/>
                    </a:lnTo>
                    <a:lnTo>
                      <a:pt x="468" y="324"/>
                    </a:lnTo>
                    <a:lnTo>
                      <a:pt x="474" y="318"/>
                    </a:lnTo>
                    <a:lnTo>
                      <a:pt x="486" y="318"/>
                    </a:lnTo>
                    <a:lnTo>
                      <a:pt x="486" y="312"/>
                    </a:lnTo>
                    <a:lnTo>
                      <a:pt x="492" y="300"/>
                    </a:lnTo>
                    <a:lnTo>
                      <a:pt x="486" y="294"/>
                    </a:lnTo>
                    <a:close/>
                    <a:moveTo>
                      <a:pt x="2346" y="588"/>
                    </a:moveTo>
                    <a:lnTo>
                      <a:pt x="2340" y="576"/>
                    </a:lnTo>
                    <a:lnTo>
                      <a:pt x="2328" y="570"/>
                    </a:lnTo>
                    <a:lnTo>
                      <a:pt x="2310" y="552"/>
                    </a:lnTo>
                    <a:lnTo>
                      <a:pt x="2304" y="552"/>
                    </a:lnTo>
                    <a:lnTo>
                      <a:pt x="2304" y="600"/>
                    </a:lnTo>
                    <a:lnTo>
                      <a:pt x="2316" y="600"/>
                    </a:lnTo>
                    <a:lnTo>
                      <a:pt x="2328" y="606"/>
                    </a:lnTo>
                    <a:lnTo>
                      <a:pt x="2334" y="606"/>
                    </a:lnTo>
                    <a:lnTo>
                      <a:pt x="2346" y="600"/>
                    </a:lnTo>
                    <a:lnTo>
                      <a:pt x="2346" y="588"/>
                    </a:lnTo>
                    <a:close/>
                    <a:moveTo>
                      <a:pt x="2310" y="474"/>
                    </a:moveTo>
                    <a:lnTo>
                      <a:pt x="2340" y="504"/>
                    </a:lnTo>
                    <a:lnTo>
                      <a:pt x="2358" y="516"/>
                    </a:lnTo>
                    <a:lnTo>
                      <a:pt x="2382" y="528"/>
                    </a:lnTo>
                    <a:lnTo>
                      <a:pt x="2400" y="528"/>
                    </a:lnTo>
                    <a:lnTo>
                      <a:pt x="2400" y="522"/>
                    </a:lnTo>
                    <a:lnTo>
                      <a:pt x="2358" y="480"/>
                    </a:lnTo>
                    <a:lnTo>
                      <a:pt x="2358" y="468"/>
                    </a:lnTo>
                    <a:lnTo>
                      <a:pt x="2364" y="456"/>
                    </a:lnTo>
                    <a:lnTo>
                      <a:pt x="2376" y="450"/>
                    </a:lnTo>
                    <a:lnTo>
                      <a:pt x="2394" y="450"/>
                    </a:lnTo>
                    <a:lnTo>
                      <a:pt x="2406" y="456"/>
                    </a:lnTo>
                    <a:lnTo>
                      <a:pt x="2424" y="444"/>
                    </a:lnTo>
                    <a:lnTo>
                      <a:pt x="2400" y="432"/>
                    </a:lnTo>
                    <a:lnTo>
                      <a:pt x="2412" y="426"/>
                    </a:lnTo>
                    <a:lnTo>
                      <a:pt x="2424" y="402"/>
                    </a:lnTo>
                    <a:lnTo>
                      <a:pt x="2412" y="378"/>
                    </a:lnTo>
                    <a:lnTo>
                      <a:pt x="2400" y="372"/>
                    </a:lnTo>
                    <a:lnTo>
                      <a:pt x="2382" y="372"/>
                    </a:lnTo>
                    <a:lnTo>
                      <a:pt x="2358" y="396"/>
                    </a:lnTo>
                    <a:lnTo>
                      <a:pt x="2346" y="402"/>
                    </a:lnTo>
                    <a:lnTo>
                      <a:pt x="2340" y="408"/>
                    </a:lnTo>
                    <a:lnTo>
                      <a:pt x="2334" y="408"/>
                    </a:lnTo>
                    <a:lnTo>
                      <a:pt x="2328" y="402"/>
                    </a:lnTo>
                    <a:lnTo>
                      <a:pt x="2328" y="366"/>
                    </a:lnTo>
                    <a:lnTo>
                      <a:pt x="2334" y="360"/>
                    </a:lnTo>
                    <a:lnTo>
                      <a:pt x="2346" y="336"/>
                    </a:lnTo>
                    <a:lnTo>
                      <a:pt x="2346" y="318"/>
                    </a:lnTo>
                    <a:lnTo>
                      <a:pt x="2340" y="312"/>
                    </a:lnTo>
                    <a:lnTo>
                      <a:pt x="2358" y="276"/>
                    </a:lnTo>
                    <a:lnTo>
                      <a:pt x="2316" y="312"/>
                    </a:lnTo>
                    <a:lnTo>
                      <a:pt x="2316" y="342"/>
                    </a:lnTo>
                    <a:lnTo>
                      <a:pt x="2304" y="348"/>
                    </a:lnTo>
                    <a:lnTo>
                      <a:pt x="2298" y="354"/>
                    </a:lnTo>
                    <a:lnTo>
                      <a:pt x="2286" y="378"/>
                    </a:lnTo>
                    <a:lnTo>
                      <a:pt x="2286" y="408"/>
                    </a:lnTo>
                    <a:lnTo>
                      <a:pt x="2298" y="420"/>
                    </a:lnTo>
                    <a:lnTo>
                      <a:pt x="2304" y="432"/>
                    </a:lnTo>
                    <a:lnTo>
                      <a:pt x="2310" y="438"/>
                    </a:lnTo>
                    <a:lnTo>
                      <a:pt x="2310" y="444"/>
                    </a:lnTo>
                    <a:lnTo>
                      <a:pt x="2304" y="450"/>
                    </a:lnTo>
                    <a:lnTo>
                      <a:pt x="2304" y="468"/>
                    </a:lnTo>
                    <a:lnTo>
                      <a:pt x="2310" y="474"/>
                    </a:lnTo>
                    <a:close/>
                    <a:moveTo>
                      <a:pt x="2250" y="708"/>
                    </a:moveTo>
                    <a:lnTo>
                      <a:pt x="2238" y="696"/>
                    </a:lnTo>
                    <a:lnTo>
                      <a:pt x="2214" y="708"/>
                    </a:lnTo>
                    <a:lnTo>
                      <a:pt x="2214" y="732"/>
                    </a:lnTo>
                    <a:lnTo>
                      <a:pt x="2220" y="744"/>
                    </a:lnTo>
                    <a:lnTo>
                      <a:pt x="2226" y="750"/>
                    </a:lnTo>
                    <a:lnTo>
                      <a:pt x="2250" y="762"/>
                    </a:lnTo>
                    <a:lnTo>
                      <a:pt x="2274" y="762"/>
                    </a:lnTo>
                    <a:lnTo>
                      <a:pt x="2280" y="750"/>
                    </a:lnTo>
                    <a:lnTo>
                      <a:pt x="2280" y="738"/>
                    </a:lnTo>
                    <a:lnTo>
                      <a:pt x="2274" y="726"/>
                    </a:lnTo>
                    <a:lnTo>
                      <a:pt x="2274" y="714"/>
                    </a:lnTo>
                    <a:lnTo>
                      <a:pt x="2268" y="708"/>
                    </a:lnTo>
                    <a:lnTo>
                      <a:pt x="2268" y="702"/>
                    </a:lnTo>
                    <a:lnTo>
                      <a:pt x="2250" y="708"/>
                    </a:lnTo>
                    <a:close/>
                    <a:moveTo>
                      <a:pt x="2148" y="1104"/>
                    </a:moveTo>
                    <a:lnTo>
                      <a:pt x="2226" y="1092"/>
                    </a:lnTo>
                    <a:lnTo>
                      <a:pt x="2166" y="1074"/>
                    </a:lnTo>
                    <a:lnTo>
                      <a:pt x="2148" y="1104"/>
                    </a:lnTo>
                    <a:close/>
                    <a:moveTo>
                      <a:pt x="2544" y="750"/>
                    </a:moveTo>
                    <a:lnTo>
                      <a:pt x="2520" y="732"/>
                    </a:lnTo>
                    <a:lnTo>
                      <a:pt x="2526" y="714"/>
                    </a:lnTo>
                    <a:lnTo>
                      <a:pt x="2514" y="702"/>
                    </a:lnTo>
                    <a:lnTo>
                      <a:pt x="2508" y="690"/>
                    </a:lnTo>
                    <a:lnTo>
                      <a:pt x="2490" y="684"/>
                    </a:lnTo>
                    <a:lnTo>
                      <a:pt x="2472" y="672"/>
                    </a:lnTo>
                    <a:lnTo>
                      <a:pt x="2442" y="666"/>
                    </a:lnTo>
                    <a:lnTo>
                      <a:pt x="2424" y="666"/>
                    </a:lnTo>
                    <a:lnTo>
                      <a:pt x="2388" y="684"/>
                    </a:lnTo>
                    <a:lnTo>
                      <a:pt x="2358" y="684"/>
                    </a:lnTo>
                    <a:lnTo>
                      <a:pt x="2346" y="696"/>
                    </a:lnTo>
                    <a:lnTo>
                      <a:pt x="2340" y="708"/>
                    </a:lnTo>
                    <a:lnTo>
                      <a:pt x="2340" y="726"/>
                    </a:lnTo>
                    <a:lnTo>
                      <a:pt x="2346" y="732"/>
                    </a:lnTo>
                    <a:lnTo>
                      <a:pt x="2364" y="714"/>
                    </a:lnTo>
                    <a:lnTo>
                      <a:pt x="2364" y="726"/>
                    </a:lnTo>
                    <a:lnTo>
                      <a:pt x="2370" y="738"/>
                    </a:lnTo>
                    <a:lnTo>
                      <a:pt x="2376" y="744"/>
                    </a:lnTo>
                    <a:lnTo>
                      <a:pt x="2388" y="738"/>
                    </a:lnTo>
                    <a:lnTo>
                      <a:pt x="2394" y="732"/>
                    </a:lnTo>
                    <a:lnTo>
                      <a:pt x="2394" y="726"/>
                    </a:lnTo>
                    <a:lnTo>
                      <a:pt x="2400" y="720"/>
                    </a:lnTo>
                    <a:lnTo>
                      <a:pt x="2400" y="714"/>
                    </a:lnTo>
                    <a:lnTo>
                      <a:pt x="2406" y="726"/>
                    </a:lnTo>
                    <a:lnTo>
                      <a:pt x="2418" y="732"/>
                    </a:lnTo>
                    <a:lnTo>
                      <a:pt x="2430" y="732"/>
                    </a:lnTo>
                    <a:lnTo>
                      <a:pt x="2442" y="720"/>
                    </a:lnTo>
                    <a:lnTo>
                      <a:pt x="2454" y="714"/>
                    </a:lnTo>
                    <a:lnTo>
                      <a:pt x="2460" y="708"/>
                    </a:lnTo>
                    <a:lnTo>
                      <a:pt x="2472" y="762"/>
                    </a:lnTo>
                    <a:lnTo>
                      <a:pt x="2502" y="738"/>
                    </a:lnTo>
                    <a:lnTo>
                      <a:pt x="2538" y="774"/>
                    </a:lnTo>
                    <a:lnTo>
                      <a:pt x="2544" y="750"/>
                    </a:lnTo>
                    <a:close/>
                    <a:moveTo>
                      <a:pt x="3264" y="678"/>
                    </a:moveTo>
                    <a:lnTo>
                      <a:pt x="3222" y="648"/>
                    </a:lnTo>
                    <a:lnTo>
                      <a:pt x="3210" y="648"/>
                    </a:lnTo>
                    <a:lnTo>
                      <a:pt x="3198" y="654"/>
                    </a:lnTo>
                    <a:lnTo>
                      <a:pt x="3180" y="654"/>
                    </a:lnTo>
                    <a:lnTo>
                      <a:pt x="3162" y="648"/>
                    </a:lnTo>
                    <a:lnTo>
                      <a:pt x="3126" y="630"/>
                    </a:lnTo>
                    <a:lnTo>
                      <a:pt x="3096" y="612"/>
                    </a:lnTo>
                    <a:lnTo>
                      <a:pt x="3060" y="594"/>
                    </a:lnTo>
                    <a:lnTo>
                      <a:pt x="3042" y="582"/>
                    </a:lnTo>
                    <a:lnTo>
                      <a:pt x="3030" y="582"/>
                    </a:lnTo>
                    <a:lnTo>
                      <a:pt x="3006" y="594"/>
                    </a:lnTo>
                    <a:lnTo>
                      <a:pt x="3000" y="600"/>
                    </a:lnTo>
                    <a:lnTo>
                      <a:pt x="2988" y="606"/>
                    </a:lnTo>
                    <a:lnTo>
                      <a:pt x="3006" y="630"/>
                    </a:lnTo>
                    <a:lnTo>
                      <a:pt x="2928" y="642"/>
                    </a:lnTo>
                    <a:lnTo>
                      <a:pt x="2934" y="666"/>
                    </a:lnTo>
                    <a:lnTo>
                      <a:pt x="2928" y="678"/>
                    </a:lnTo>
                    <a:lnTo>
                      <a:pt x="2922" y="684"/>
                    </a:lnTo>
                    <a:lnTo>
                      <a:pt x="2916" y="696"/>
                    </a:lnTo>
                    <a:lnTo>
                      <a:pt x="2880" y="720"/>
                    </a:lnTo>
                    <a:lnTo>
                      <a:pt x="2862" y="726"/>
                    </a:lnTo>
                    <a:lnTo>
                      <a:pt x="2844" y="726"/>
                    </a:lnTo>
                    <a:lnTo>
                      <a:pt x="2832" y="720"/>
                    </a:lnTo>
                    <a:lnTo>
                      <a:pt x="2826" y="714"/>
                    </a:lnTo>
                    <a:lnTo>
                      <a:pt x="2820" y="702"/>
                    </a:lnTo>
                    <a:lnTo>
                      <a:pt x="2820" y="678"/>
                    </a:lnTo>
                    <a:lnTo>
                      <a:pt x="2814" y="672"/>
                    </a:lnTo>
                    <a:lnTo>
                      <a:pt x="2814" y="660"/>
                    </a:lnTo>
                    <a:lnTo>
                      <a:pt x="2808" y="666"/>
                    </a:lnTo>
                    <a:lnTo>
                      <a:pt x="2808" y="672"/>
                    </a:lnTo>
                    <a:lnTo>
                      <a:pt x="2802" y="684"/>
                    </a:lnTo>
                    <a:lnTo>
                      <a:pt x="2796" y="690"/>
                    </a:lnTo>
                    <a:lnTo>
                      <a:pt x="2796" y="696"/>
                    </a:lnTo>
                    <a:lnTo>
                      <a:pt x="2796" y="690"/>
                    </a:lnTo>
                    <a:lnTo>
                      <a:pt x="2790" y="684"/>
                    </a:lnTo>
                    <a:lnTo>
                      <a:pt x="2790" y="672"/>
                    </a:lnTo>
                    <a:lnTo>
                      <a:pt x="2784" y="660"/>
                    </a:lnTo>
                    <a:lnTo>
                      <a:pt x="2784" y="576"/>
                    </a:lnTo>
                    <a:lnTo>
                      <a:pt x="2778" y="558"/>
                    </a:lnTo>
                    <a:lnTo>
                      <a:pt x="2760" y="522"/>
                    </a:lnTo>
                    <a:lnTo>
                      <a:pt x="2724" y="522"/>
                    </a:lnTo>
                    <a:lnTo>
                      <a:pt x="2718" y="510"/>
                    </a:lnTo>
                    <a:lnTo>
                      <a:pt x="2694" y="498"/>
                    </a:lnTo>
                    <a:lnTo>
                      <a:pt x="2676" y="486"/>
                    </a:lnTo>
                    <a:lnTo>
                      <a:pt x="2652" y="486"/>
                    </a:lnTo>
                    <a:lnTo>
                      <a:pt x="2634" y="498"/>
                    </a:lnTo>
                    <a:lnTo>
                      <a:pt x="2628" y="504"/>
                    </a:lnTo>
                    <a:lnTo>
                      <a:pt x="2616" y="510"/>
                    </a:lnTo>
                    <a:lnTo>
                      <a:pt x="2610" y="522"/>
                    </a:lnTo>
                    <a:lnTo>
                      <a:pt x="2586" y="528"/>
                    </a:lnTo>
                    <a:lnTo>
                      <a:pt x="2580" y="546"/>
                    </a:lnTo>
                    <a:lnTo>
                      <a:pt x="2562" y="558"/>
                    </a:lnTo>
                    <a:lnTo>
                      <a:pt x="2562" y="540"/>
                    </a:lnTo>
                    <a:lnTo>
                      <a:pt x="2556" y="534"/>
                    </a:lnTo>
                    <a:lnTo>
                      <a:pt x="2532" y="534"/>
                    </a:lnTo>
                    <a:lnTo>
                      <a:pt x="2532" y="546"/>
                    </a:lnTo>
                    <a:lnTo>
                      <a:pt x="2544" y="570"/>
                    </a:lnTo>
                    <a:lnTo>
                      <a:pt x="2568" y="582"/>
                    </a:lnTo>
                    <a:lnTo>
                      <a:pt x="2604" y="582"/>
                    </a:lnTo>
                    <a:lnTo>
                      <a:pt x="2616" y="588"/>
                    </a:lnTo>
                    <a:lnTo>
                      <a:pt x="2622" y="594"/>
                    </a:lnTo>
                    <a:lnTo>
                      <a:pt x="2628" y="594"/>
                    </a:lnTo>
                    <a:lnTo>
                      <a:pt x="2628" y="618"/>
                    </a:lnTo>
                    <a:lnTo>
                      <a:pt x="2634" y="630"/>
                    </a:lnTo>
                    <a:lnTo>
                      <a:pt x="2640" y="636"/>
                    </a:lnTo>
                    <a:lnTo>
                      <a:pt x="2652" y="642"/>
                    </a:lnTo>
                    <a:lnTo>
                      <a:pt x="2694" y="642"/>
                    </a:lnTo>
                    <a:lnTo>
                      <a:pt x="2712" y="636"/>
                    </a:lnTo>
                    <a:lnTo>
                      <a:pt x="2754" y="636"/>
                    </a:lnTo>
                    <a:lnTo>
                      <a:pt x="2760" y="642"/>
                    </a:lnTo>
                    <a:lnTo>
                      <a:pt x="2760" y="660"/>
                    </a:lnTo>
                    <a:lnTo>
                      <a:pt x="2700" y="660"/>
                    </a:lnTo>
                    <a:lnTo>
                      <a:pt x="2688" y="666"/>
                    </a:lnTo>
                    <a:lnTo>
                      <a:pt x="2676" y="678"/>
                    </a:lnTo>
                    <a:lnTo>
                      <a:pt x="2640" y="678"/>
                    </a:lnTo>
                    <a:lnTo>
                      <a:pt x="2616" y="690"/>
                    </a:lnTo>
                    <a:lnTo>
                      <a:pt x="2616" y="696"/>
                    </a:lnTo>
                    <a:lnTo>
                      <a:pt x="2622" y="696"/>
                    </a:lnTo>
                    <a:lnTo>
                      <a:pt x="2646" y="708"/>
                    </a:lnTo>
                    <a:lnTo>
                      <a:pt x="2658" y="708"/>
                    </a:lnTo>
                    <a:lnTo>
                      <a:pt x="2676" y="726"/>
                    </a:lnTo>
                    <a:lnTo>
                      <a:pt x="2682" y="738"/>
                    </a:lnTo>
                    <a:lnTo>
                      <a:pt x="2688" y="744"/>
                    </a:lnTo>
                    <a:lnTo>
                      <a:pt x="2682" y="750"/>
                    </a:lnTo>
                    <a:lnTo>
                      <a:pt x="2676" y="762"/>
                    </a:lnTo>
                    <a:lnTo>
                      <a:pt x="2676" y="774"/>
                    </a:lnTo>
                    <a:lnTo>
                      <a:pt x="2670" y="780"/>
                    </a:lnTo>
                    <a:lnTo>
                      <a:pt x="2676" y="792"/>
                    </a:lnTo>
                    <a:lnTo>
                      <a:pt x="2682" y="798"/>
                    </a:lnTo>
                    <a:lnTo>
                      <a:pt x="2694" y="792"/>
                    </a:lnTo>
                    <a:lnTo>
                      <a:pt x="2706" y="780"/>
                    </a:lnTo>
                    <a:lnTo>
                      <a:pt x="2712" y="768"/>
                    </a:lnTo>
                    <a:lnTo>
                      <a:pt x="2718" y="762"/>
                    </a:lnTo>
                    <a:lnTo>
                      <a:pt x="2718" y="750"/>
                    </a:lnTo>
                    <a:lnTo>
                      <a:pt x="2724" y="744"/>
                    </a:lnTo>
                    <a:lnTo>
                      <a:pt x="2736" y="720"/>
                    </a:lnTo>
                    <a:lnTo>
                      <a:pt x="2742" y="714"/>
                    </a:lnTo>
                    <a:lnTo>
                      <a:pt x="2748" y="702"/>
                    </a:lnTo>
                    <a:lnTo>
                      <a:pt x="2748" y="744"/>
                    </a:lnTo>
                    <a:lnTo>
                      <a:pt x="2754" y="750"/>
                    </a:lnTo>
                    <a:lnTo>
                      <a:pt x="2766" y="756"/>
                    </a:lnTo>
                    <a:lnTo>
                      <a:pt x="2772" y="768"/>
                    </a:lnTo>
                    <a:lnTo>
                      <a:pt x="2784" y="774"/>
                    </a:lnTo>
                    <a:lnTo>
                      <a:pt x="2790" y="780"/>
                    </a:lnTo>
                    <a:lnTo>
                      <a:pt x="2814" y="780"/>
                    </a:lnTo>
                    <a:lnTo>
                      <a:pt x="2820" y="774"/>
                    </a:lnTo>
                    <a:lnTo>
                      <a:pt x="2826" y="774"/>
                    </a:lnTo>
                    <a:lnTo>
                      <a:pt x="2814" y="792"/>
                    </a:lnTo>
                    <a:lnTo>
                      <a:pt x="2844" y="822"/>
                    </a:lnTo>
                    <a:lnTo>
                      <a:pt x="2904" y="822"/>
                    </a:lnTo>
                    <a:lnTo>
                      <a:pt x="2940" y="846"/>
                    </a:lnTo>
                    <a:lnTo>
                      <a:pt x="2976" y="864"/>
                    </a:lnTo>
                    <a:lnTo>
                      <a:pt x="3006" y="876"/>
                    </a:lnTo>
                    <a:lnTo>
                      <a:pt x="3036" y="894"/>
                    </a:lnTo>
                    <a:lnTo>
                      <a:pt x="3066" y="924"/>
                    </a:lnTo>
                    <a:lnTo>
                      <a:pt x="3066" y="972"/>
                    </a:lnTo>
                    <a:lnTo>
                      <a:pt x="3090" y="996"/>
                    </a:lnTo>
                    <a:lnTo>
                      <a:pt x="3102" y="1002"/>
                    </a:lnTo>
                    <a:lnTo>
                      <a:pt x="3096" y="1002"/>
                    </a:lnTo>
                    <a:lnTo>
                      <a:pt x="3084" y="1008"/>
                    </a:lnTo>
                    <a:lnTo>
                      <a:pt x="3078" y="1014"/>
                    </a:lnTo>
                    <a:lnTo>
                      <a:pt x="3078" y="1020"/>
                    </a:lnTo>
                    <a:lnTo>
                      <a:pt x="3090" y="1032"/>
                    </a:lnTo>
                    <a:lnTo>
                      <a:pt x="3114" y="1032"/>
                    </a:lnTo>
                    <a:lnTo>
                      <a:pt x="3090" y="1044"/>
                    </a:lnTo>
                    <a:lnTo>
                      <a:pt x="3090" y="1056"/>
                    </a:lnTo>
                    <a:lnTo>
                      <a:pt x="3102" y="1062"/>
                    </a:lnTo>
                    <a:lnTo>
                      <a:pt x="3108" y="1092"/>
                    </a:lnTo>
                    <a:lnTo>
                      <a:pt x="3096" y="1122"/>
                    </a:lnTo>
                    <a:lnTo>
                      <a:pt x="3120" y="1122"/>
                    </a:lnTo>
                    <a:lnTo>
                      <a:pt x="3126" y="1116"/>
                    </a:lnTo>
                    <a:lnTo>
                      <a:pt x="3138" y="1116"/>
                    </a:lnTo>
                    <a:lnTo>
                      <a:pt x="3150" y="1110"/>
                    </a:lnTo>
                    <a:lnTo>
                      <a:pt x="3162" y="1110"/>
                    </a:lnTo>
                    <a:lnTo>
                      <a:pt x="3168" y="1104"/>
                    </a:lnTo>
                    <a:lnTo>
                      <a:pt x="3174" y="1104"/>
                    </a:lnTo>
                    <a:lnTo>
                      <a:pt x="3174" y="1134"/>
                    </a:lnTo>
                    <a:lnTo>
                      <a:pt x="3234" y="1194"/>
                    </a:lnTo>
                    <a:lnTo>
                      <a:pt x="3240" y="1194"/>
                    </a:lnTo>
                    <a:lnTo>
                      <a:pt x="3240" y="1146"/>
                    </a:lnTo>
                    <a:lnTo>
                      <a:pt x="3234" y="1122"/>
                    </a:lnTo>
                    <a:lnTo>
                      <a:pt x="3234" y="1116"/>
                    </a:lnTo>
                    <a:lnTo>
                      <a:pt x="3240" y="1110"/>
                    </a:lnTo>
                    <a:lnTo>
                      <a:pt x="3240" y="1098"/>
                    </a:lnTo>
                    <a:lnTo>
                      <a:pt x="3246" y="1086"/>
                    </a:lnTo>
                    <a:lnTo>
                      <a:pt x="3246" y="1062"/>
                    </a:lnTo>
                    <a:lnTo>
                      <a:pt x="3252" y="1050"/>
                    </a:lnTo>
                    <a:lnTo>
                      <a:pt x="3252" y="1020"/>
                    </a:lnTo>
                    <a:lnTo>
                      <a:pt x="3240" y="1020"/>
                    </a:lnTo>
                    <a:lnTo>
                      <a:pt x="3228" y="1014"/>
                    </a:lnTo>
                    <a:lnTo>
                      <a:pt x="3222" y="1008"/>
                    </a:lnTo>
                    <a:lnTo>
                      <a:pt x="3222" y="1002"/>
                    </a:lnTo>
                    <a:lnTo>
                      <a:pt x="3234" y="990"/>
                    </a:lnTo>
                    <a:lnTo>
                      <a:pt x="3246" y="984"/>
                    </a:lnTo>
                    <a:lnTo>
                      <a:pt x="3252" y="978"/>
                    </a:lnTo>
                    <a:lnTo>
                      <a:pt x="3252" y="864"/>
                    </a:lnTo>
                    <a:lnTo>
                      <a:pt x="3258" y="846"/>
                    </a:lnTo>
                    <a:lnTo>
                      <a:pt x="3258" y="708"/>
                    </a:lnTo>
                    <a:lnTo>
                      <a:pt x="3264" y="678"/>
                    </a:lnTo>
                    <a:close/>
                    <a:moveTo>
                      <a:pt x="336" y="666"/>
                    </a:moveTo>
                    <a:lnTo>
                      <a:pt x="330" y="672"/>
                    </a:lnTo>
                    <a:lnTo>
                      <a:pt x="354" y="696"/>
                    </a:lnTo>
                    <a:lnTo>
                      <a:pt x="360" y="708"/>
                    </a:lnTo>
                    <a:lnTo>
                      <a:pt x="366" y="714"/>
                    </a:lnTo>
                    <a:lnTo>
                      <a:pt x="378" y="714"/>
                    </a:lnTo>
                    <a:lnTo>
                      <a:pt x="378" y="696"/>
                    </a:lnTo>
                    <a:lnTo>
                      <a:pt x="366" y="690"/>
                    </a:lnTo>
                    <a:lnTo>
                      <a:pt x="360" y="678"/>
                    </a:lnTo>
                    <a:lnTo>
                      <a:pt x="348" y="672"/>
                    </a:lnTo>
                    <a:lnTo>
                      <a:pt x="342" y="666"/>
                    </a:lnTo>
                    <a:lnTo>
                      <a:pt x="336" y="666"/>
                    </a:lnTo>
                    <a:close/>
                    <a:moveTo>
                      <a:pt x="2526" y="1104"/>
                    </a:moveTo>
                    <a:lnTo>
                      <a:pt x="2544" y="1116"/>
                    </a:lnTo>
                    <a:lnTo>
                      <a:pt x="2574" y="1092"/>
                    </a:lnTo>
                    <a:lnTo>
                      <a:pt x="2592" y="1092"/>
                    </a:lnTo>
                    <a:lnTo>
                      <a:pt x="2604" y="1080"/>
                    </a:lnTo>
                    <a:lnTo>
                      <a:pt x="2604" y="1062"/>
                    </a:lnTo>
                    <a:lnTo>
                      <a:pt x="2592" y="1056"/>
                    </a:lnTo>
                    <a:lnTo>
                      <a:pt x="2586" y="1056"/>
                    </a:lnTo>
                    <a:lnTo>
                      <a:pt x="2574" y="1062"/>
                    </a:lnTo>
                    <a:lnTo>
                      <a:pt x="2556" y="1068"/>
                    </a:lnTo>
                    <a:lnTo>
                      <a:pt x="2526" y="1098"/>
                    </a:lnTo>
                    <a:lnTo>
                      <a:pt x="2526" y="1104"/>
                    </a:lnTo>
                    <a:close/>
                    <a:moveTo>
                      <a:pt x="3096" y="1068"/>
                    </a:moveTo>
                    <a:lnTo>
                      <a:pt x="3090" y="1068"/>
                    </a:lnTo>
                    <a:lnTo>
                      <a:pt x="3090" y="1062"/>
                    </a:lnTo>
                    <a:lnTo>
                      <a:pt x="3084" y="1062"/>
                    </a:lnTo>
                    <a:lnTo>
                      <a:pt x="3078" y="1056"/>
                    </a:lnTo>
                    <a:lnTo>
                      <a:pt x="3066" y="1056"/>
                    </a:lnTo>
                    <a:lnTo>
                      <a:pt x="3048" y="1062"/>
                    </a:lnTo>
                    <a:lnTo>
                      <a:pt x="3024" y="1086"/>
                    </a:lnTo>
                    <a:lnTo>
                      <a:pt x="3012" y="1122"/>
                    </a:lnTo>
                    <a:lnTo>
                      <a:pt x="3012" y="1134"/>
                    </a:lnTo>
                    <a:lnTo>
                      <a:pt x="3072" y="1128"/>
                    </a:lnTo>
                    <a:lnTo>
                      <a:pt x="3084" y="1128"/>
                    </a:lnTo>
                    <a:lnTo>
                      <a:pt x="3090" y="1122"/>
                    </a:lnTo>
                    <a:lnTo>
                      <a:pt x="3102" y="1092"/>
                    </a:lnTo>
                    <a:lnTo>
                      <a:pt x="3096" y="1068"/>
                    </a:lnTo>
                    <a:close/>
                    <a:moveTo>
                      <a:pt x="2778" y="942"/>
                    </a:moveTo>
                    <a:lnTo>
                      <a:pt x="2766" y="960"/>
                    </a:lnTo>
                    <a:lnTo>
                      <a:pt x="2766" y="1014"/>
                    </a:lnTo>
                    <a:lnTo>
                      <a:pt x="2784" y="1014"/>
                    </a:lnTo>
                    <a:lnTo>
                      <a:pt x="2778" y="996"/>
                    </a:lnTo>
                    <a:lnTo>
                      <a:pt x="2790" y="990"/>
                    </a:lnTo>
                    <a:lnTo>
                      <a:pt x="2790" y="972"/>
                    </a:lnTo>
                    <a:lnTo>
                      <a:pt x="2778" y="972"/>
                    </a:lnTo>
                    <a:lnTo>
                      <a:pt x="2796" y="936"/>
                    </a:lnTo>
                    <a:lnTo>
                      <a:pt x="2814" y="906"/>
                    </a:lnTo>
                    <a:lnTo>
                      <a:pt x="2784" y="912"/>
                    </a:lnTo>
                    <a:lnTo>
                      <a:pt x="2778" y="942"/>
                    </a:lnTo>
                    <a:close/>
                    <a:moveTo>
                      <a:pt x="2136" y="600"/>
                    </a:moveTo>
                    <a:lnTo>
                      <a:pt x="2124" y="594"/>
                    </a:lnTo>
                    <a:lnTo>
                      <a:pt x="2118" y="594"/>
                    </a:lnTo>
                    <a:lnTo>
                      <a:pt x="2106" y="588"/>
                    </a:lnTo>
                    <a:lnTo>
                      <a:pt x="2088" y="588"/>
                    </a:lnTo>
                    <a:lnTo>
                      <a:pt x="2082" y="594"/>
                    </a:lnTo>
                    <a:lnTo>
                      <a:pt x="2082" y="600"/>
                    </a:lnTo>
                    <a:lnTo>
                      <a:pt x="2076" y="606"/>
                    </a:lnTo>
                    <a:lnTo>
                      <a:pt x="2082" y="612"/>
                    </a:lnTo>
                    <a:lnTo>
                      <a:pt x="2094" y="618"/>
                    </a:lnTo>
                    <a:lnTo>
                      <a:pt x="2136" y="618"/>
                    </a:lnTo>
                    <a:lnTo>
                      <a:pt x="2214" y="606"/>
                    </a:lnTo>
                    <a:lnTo>
                      <a:pt x="2136" y="600"/>
                    </a:lnTo>
                    <a:close/>
                    <a:moveTo>
                      <a:pt x="1308" y="1038"/>
                    </a:moveTo>
                    <a:lnTo>
                      <a:pt x="1368" y="1002"/>
                    </a:lnTo>
                    <a:lnTo>
                      <a:pt x="1362" y="990"/>
                    </a:lnTo>
                    <a:lnTo>
                      <a:pt x="1350" y="990"/>
                    </a:lnTo>
                    <a:lnTo>
                      <a:pt x="1332" y="996"/>
                    </a:lnTo>
                    <a:lnTo>
                      <a:pt x="1320" y="996"/>
                    </a:lnTo>
                    <a:lnTo>
                      <a:pt x="1302" y="1002"/>
                    </a:lnTo>
                    <a:lnTo>
                      <a:pt x="1290" y="1008"/>
                    </a:lnTo>
                    <a:lnTo>
                      <a:pt x="1284" y="1014"/>
                    </a:lnTo>
                    <a:lnTo>
                      <a:pt x="1284" y="1032"/>
                    </a:lnTo>
                    <a:lnTo>
                      <a:pt x="1290" y="1038"/>
                    </a:lnTo>
                    <a:lnTo>
                      <a:pt x="1308" y="1038"/>
                    </a:lnTo>
                    <a:close/>
                    <a:moveTo>
                      <a:pt x="1428" y="1116"/>
                    </a:moveTo>
                    <a:lnTo>
                      <a:pt x="1392" y="1116"/>
                    </a:lnTo>
                    <a:lnTo>
                      <a:pt x="1386" y="1146"/>
                    </a:lnTo>
                    <a:lnTo>
                      <a:pt x="1386" y="1152"/>
                    </a:lnTo>
                    <a:lnTo>
                      <a:pt x="1404" y="1170"/>
                    </a:lnTo>
                    <a:lnTo>
                      <a:pt x="1416" y="1176"/>
                    </a:lnTo>
                    <a:lnTo>
                      <a:pt x="1428" y="1164"/>
                    </a:lnTo>
                    <a:lnTo>
                      <a:pt x="1440" y="1140"/>
                    </a:lnTo>
                    <a:lnTo>
                      <a:pt x="1440" y="1128"/>
                    </a:lnTo>
                    <a:lnTo>
                      <a:pt x="1428" y="1116"/>
                    </a:lnTo>
                    <a:close/>
                    <a:moveTo>
                      <a:pt x="708" y="930"/>
                    </a:moveTo>
                    <a:lnTo>
                      <a:pt x="714" y="924"/>
                    </a:lnTo>
                    <a:lnTo>
                      <a:pt x="714" y="900"/>
                    </a:lnTo>
                    <a:lnTo>
                      <a:pt x="744" y="924"/>
                    </a:lnTo>
                    <a:lnTo>
                      <a:pt x="744" y="918"/>
                    </a:lnTo>
                    <a:lnTo>
                      <a:pt x="750" y="912"/>
                    </a:lnTo>
                    <a:lnTo>
                      <a:pt x="750" y="900"/>
                    </a:lnTo>
                    <a:lnTo>
                      <a:pt x="756" y="882"/>
                    </a:lnTo>
                    <a:lnTo>
                      <a:pt x="756" y="840"/>
                    </a:lnTo>
                    <a:lnTo>
                      <a:pt x="762" y="822"/>
                    </a:lnTo>
                    <a:lnTo>
                      <a:pt x="762" y="810"/>
                    </a:lnTo>
                    <a:lnTo>
                      <a:pt x="768" y="792"/>
                    </a:lnTo>
                    <a:lnTo>
                      <a:pt x="768" y="780"/>
                    </a:lnTo>
                    <a:lnTo>
                      <a:pt x="762" y="774"/>
                    </a:lnTo>
                    <a:lnTo>
                      <a:pt x="756" y="762"/>
                    </a:lnTo>
                    <a:lnTo>
                      <a:pt x="756" y="750"/>
                    </a:lnTo>
                    <a:lnTo>
                      <a:pt x="768" y="726"/>
                    </a:lnTo>
                    <a:lnTo>
                      <a:pt x="774" y="720"/>
                    </a:lnTo>
                    <a:lnTo>
                      <a:pt x="774" y="714"/>
                    </a:lnTo>
                    <a:lnTo>
                      <a:pt x="756" y="696"/>
                    </a:lnTo>
                    <a:lnTo>
                      <a:pt x="744" y="654"/>
                    </a:lnTo>
                    <a:lnTo>
                      <a:pt x="702" y="654"/>
                    </a:lnTo>
                    <a:lnTo>
                      <a:pt x="702" y="618"/>
                    </a:lnTo>
                    <a:lnTo>
                      <a:pt x="666" y="618"/>
                    </a:lnTo>
                    <a:lnTo>
                      <a:pt x="660" y="546"/>
                    </a:lnTo>
                    <a:lnTo>
                      <a:pt x="606" y="546"/>
                    </a:lnTo>
                    <a:lnTo>
                      <a:pt x="594" y="534"/>
                    </a:lnTo>
                    <a:lnTo>
                      <a:pt x="594" y="504"/>
                    </a:lnTo>
                    <a:lnTo>
                      <a:pt x="600" y="498"/>
                    </a:lnTo>
                    <a:lnTo>
                      <a:pt x="606" y="486"/>
                    </a:lnTo>
                    <a:lnTo>
                      <a:pt x="582" y="486"/>
                    </a:lnTo>
                    <a:lnTo>
                      <a:pt x="600" y="468"/>
                    </a:lnTo>
                    <a:lnTo>
                      <a:pt x="606" y="456"/>
                    </a:lnTo>
                    <a:lnTo>
                      <a:pt x="612" y="450"/>
                    </a:lnTo>
                    <a:lnTo>
                      <a:pt x="612" y="438"/>
                    </a:lnTo>
                    <a:lnTo>
                      <a:pt x="600" y="426"/>
                    </a:lnTo>
                    <a:lnTo>
                      <a:pt x="588" y="432"/>
                    </a:lnTo>
                    <a:lnTo>
                      <a:pt x="570" y="432"/>
                    </a:lnTo>
                    <a:lnTo>
                      <a:pt x="552" y="438"/>
                    </a:lnTo>
                    <a:lnTo>
                      <a:pt x="540" y="438"/>
                    </a:lnTo>
                    <a:lnTo>
                      <a:pt x="534" y="444"/>
                    </a:lnTo>
                    <a:lnTo>
                      <a:pt x="528" y="444"/>
                    </a:lnTo>
                    <a:lnTo>
                      <a:pt x="534" y="438"/>
                    </a:lnTo>
                    <a:lnTo>
                      <a:pt x="546" y="432"/>
                    </a:lnTo>
                    <a:lnTo>
                      <a:pt x="552" y="420"/>
                    </a:lnTo>
                    <a:lnTo>
                      <a:pt x="558" y="414"/>
                    </a:lnTo>
                    <a:lnTo>
                      <a:pt x="558" y="402"/>
                    </a:lnTo>
                    <a:lnTo>
                      <a:pt x="546" y="396"/>
                    </a:lnTo>
                    <a:lnTo>
                      <a:pt x="534" y="396"/>
                    </a:lnTo>
                    <a:lnTo>
                      <a:pt x="522" y="390"/>
                    </a:lnTo>
                    <a:lnTo>
                      <a:pt x="510" y="390"/>
                    </a:lnTo>
                    <a:lnTo>
                      <a:pt x="516" y="384"/>
                    </a:lnTo>
                    <a:lnTo>
                      <a:pt x="516" y="378"/>
                    </a:lnTo>
                    <a:lnTo>
                      <a:pt x="504" y="354"/>
                    </a:lnTo>
                    <a:lnTo>
                      <a:pt x="492" y="342"/>
                    </a:lnTo>
                    <a:lnTo>
                      <a:pt x="480" y="336"/>
                    </a:lnTo>
                    <a:lnTo>
                      <a:pt x="462" y="330"/>
                    </a:lnTo>
                    <a:lnTo>
                      <a:pt x="456" y="324"/>
                    </a:lnTo>
                    <a:lnTo>
                      <a:pt x="450" y="324"/>
                    </a:lnTo>
                    <a:lnTo>
                      <a:pt x="450" y="318"/>
                    </a:lnTo>
                    <a:lnTo>
                      <a:pt x="444" y="312"/>
                    </a:lnTo>
                    <a:lnTo>
                      <a:pt x="438" y="300"/>
                    </a:lnTo>
                    <a:lnTo>
                      <a:pt x="438" y="288"/>
                    </a:lnTo>
                    <a:lnTo>
                      <a:pt x="426" y="276"/>
                    </a:lnTo>
                    <a:lnTo>
                      <a:pt x="414" y="276"/>
                    </a:lnTo>
                    <a:lnTo>
                      <a:pt x="408" y="282"/>
                    </a:lnTo>
                    <a:lnTo>
                      <a:pt x="414" y="306"/>
                    </a:lnTo>
                    <a:lnTo>
                      <a:pt x="408" y="300"/>
                    </a:lnTo>
                    <a:lnTo>
                      <a:pt x="396" y="294"/>
                    </a:lnTo>
                    <a:lnTo>
                      <a:pt x="360" y="258"/>
                    </a:lnTo>
                    <a:lnTo>
                      <a:pt x="360" y="246"/>
                    </a:lnTo>
                    <a:lnTo>
                      <a:pt x="354" y="240"/>
                    </a:lnTo>
                    <a:lnTo>
                      <a:pt x="348" y="228"/>
                    </a:lnTo>
                    <a:lnTo>
                      <a:pt x="342" y="222"/>
                    </a:lnTo>
                    <a:lnTo>
                      <a:pt x="342" y="216"/>
                    </a:lnTo>
                    <a:lnTo>
                      <a:pt x="330" y="210"/>
                    </a:lnTo>
                    <a:lnTo>
                      <a:pt x="312" y="192"/>
                    </a:lnTo>
                    <a:lnTo>
                      <a:pt x="294" y="186"/>
                    </a:lnTo>
                    <a:lnTo>
                      <a:pt x="288" y="174"/>
                    </a:lnTo>
                    <a:lnTo>
                      <a:pt x="276" y="168"/>
                    </a:lnTo>
                    <a:lnTo>
                      <a:pt x="264" y="156"/>
                    </a:lnTo>
                    <a:lnTo>
                      <a:pt x="252" y="150"/>
                    </a:lnTo>
                    <a:lnTo>
                      <a:pt x="240" y="138"/>
                    </a:lnTo>
                    <a:lnTo>
                      <a:pt x="234" y="126"/>
                    </a:lnTo>
                    <a:lnTo>
                      <a:pt x="222" y="120"/>
                    </a:lnTo>
                    <a:lnTo>
                      <a:pt x="222" y="102"/>
                    </a:lnTo>
                    <a:lnTo>
                      <a:pt x="204" y="84"/>
                    </a:lnTo>
                    <a:lnTo>
                      <a:pt x="198" y="72"/>
                    </a:lnTo>
                    <a:lnTo>
                      <a:pt x="168" y="42"/>
                    </a:lnTo>
                    <a:lnTo>
                      <a:pt x="150" y="42"/>
                    </a:lnTo>
                    <a:lnTo>
                      <a:pt x="66" y="36"/>
                    </a:lnTo>
                    <a:lnTo>
                      <a:pt x="42" y="12"/>
                    </a:lnTo>
                    <a:lnTo>
                      <a:pt x="30" y="6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6" y="6"/>
                    </a:lnTo>
                    <a:lnTo>
                      <a:pt x="0" y="1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8" y="78"/>
                    </a:lnTo>
                    <a:lnTo>
                      <a:pt x="66" y="126"/>
                    </a:lnTo>
                    <a:lnTo>
                      <a:pt x="96" y="150"/>
                    </a:lnTo>
                    <a:lnTo>
                      <a:pt x="126" y="180"/>
                    </a:lnTo>
                    <a:lnTo>
                      <a:pt x="162" y="234"/>
                    </a:lnTo>
                    <a:lnTo>
                      <a:pt x="174" y="228"/>
                    </a:lnTo>
                    <a:lnTo>
                      <a:pt x="174" y="252"/>
                    </a:lnTo>
                    <a:lnTo>
                      <a:pt x="180" y="264"/>
                    </a:lnTo>
                    <a:lnTo>
                      <a:pt x="186" y="270"/>
                    </a:lnTo>
                    <a:lnTo>
                      <a:pt x="198" y="276"/>
                    </a:lnTo>
                    <a:lnTo>
                      <a:pt x="216" y="288"/>
                    </a:lnTo>
                    <a:lnTo>
                      <a:pt x="228" y="300"/>
                    </a:lnTo>
                    <a:lnTo>
                      <a:pt x="246" y="312"/>
                    </a:lnTo>
                    <a:lnTo>
                      <a:pt x="258" y="324"/>
                    </a:lnTo>
                    <a:lnTo>
                      <a:pt x="264" y="336"/>
                    </a:lnTo>
                    <a:lnTo>
                      <a:pt x="276" y="372"/>
                    </a:lnTo>
                    <a:lnTo>
                      <a:pt x="276" y="384"/>
                    </a:lnTo>
                    <a:lnTo>
                      <a:pt x="282" y="390"/>
                    </a:lnTo>
                    <a:lnTo>
                      <a:pt x="282" y="426"/>
                    </a:lnTo>
                    <a:lnTo>
                      <a:pt x="288" y="438"/>
                    </a:lnTo>
                    <a:lnTo>
                      <a:pt x="288" y="444"/>
                    </a:lnTo>
                    <a:lnTo>
                      <a:pt x="294" y="450"/>
                    </a:lnTo>
                    <a:lnTo>
                      <a:pt x="300" y="450"/>
                    </a:lnTo>
                    <a:lnTo>
                      <a:pt x="312" y="444"/>
                    </a:lnTo>
                    <a:lnTo>
                      <a:pt x="324" y="444"/>
                    </a:lnTo>
                    <a:lnTo>
                      <a:pt x="324" y="450"/>
                    </a:lnTo>
                    <a:lnTo>
                      <a:pt x="330" y="462"/>
                    </a:lnTo>
                    <a:lnTo>
                      <a:pt x="330" y="474"/>
                    </a:lnTo>
                    <a:lnTo>
                      <a:pt x="336" y="480"/>
                    </a:lnTo>
                    <a:lnTo>
                      <a:pt x="336" y="486"/>
                    </a:lnTo>
                    <a:lnTo>
                      <a:pt x="378" y="522"/>
                    </a:lnTo>
                    <a:lnTo>
                      <a:pt x="372" y="546"/>
                    </a:lnTo>
                    <a:lnTo>
                      <a:pt x="408" y="606"/>
                    </a:lnTo>
                    <a:lnTo>
                      <a:pt x="402" y="618"/>
                    </a:lnTo>
                    <a:lnTo>
                      <a:pt x="402" y="636"/>
                    </a:lnTo>
                    <a:lnTo>
                      <a:pt x="408" y="648"/>
                    </a:lnTo>
                    <a:lnTo>
                      <a:pt x="438" y="678"/>
                    </a:lnTo>
                    <a:lnTo>
                      <a:pt x="438" y="684"/>
                    </a:lnTo>
                    <a:lnTo>
                      <a:pt x="444" y="690"/>
                    </a:lnTo>
                    <a:lnTo>
                      <a:pt x="462" y="726"/>
                    </a:lnTo>
                    <a:lnTo>
                      <a:pt x="498" y="744"/>
                    </a:lnTo>
                    <a:lnTo>
                      <a:pt x="504" y="750"/>
                    </a:lnTo>
                    <a:lnTo>
                      <a:pt x="510" y="750"/>
                    </a:lnTo>
                    <a:lnTo>
                      <a:pt x="510" y="786"/>
                    </a:lnTo>
                    <a:lnTo>
                      <a:pt x="522" y="792"/>
                    </a:lnTo>
                    <a:lnTo>
                      <a:pt x="528" y="804"/>
                    </a:lnTo>
                    <a:lnTo>
                      <a:pt x="540" y="810"/>
                    </a:lnTo>
                    <a:lnTo>
                      <a:pt x="564" y="834"/>
                    </a:lnTo>
                    <a:lnTo>
                      <a:pt x="576" y="840"/>
                    </a:lnTo>
                    <a:lnTo>
                      <a:pt x="594" y="858"/>
                    </a:lnTo>
                    <a:lnTo>
                      <a:pt x="600" y="858"/>
                    </a:lnTo>
                    <a:lnTo>
                      <a:pt x="606" y="864"/>
                    </a:lnTo>
                    <a:lnTo>
                      <a:pt x="612" y="864"/>
                    </a:lnTo>
                    <a:lnTo>
                      <a:pt x="612" y="870"/>
                    </a:lnTo>
                    <a:lnTo>
                      <a:pt x="618" y="876"/>
                    </a:lnTo>
                    <a:lnTo>
                      <a:pt x="630" y="900"/>
                    </a:lnTo>
                    <a:lnTo>
                      <a:pt x="642" y="912"/>
                    </a:lnTo>
                    <a:lnTo>
                      <a:pt x="654" y="936"/>
                    </a:lnTo>
                    <a:lnTo>
                      <a:pt x="660" y="942"/>
                    </a:lnTo>
                    <a:lnTo>
                      <a:pt x="660" y="906"/>
                    </a:lnTo>
                    <a:lnTo>
                      <a:pt x="672" y="906"/>
                    </a:lnTo>
                    <a:lnTo>
                      <a:pt x="684" y="918"/>
                    </a:lnTo>
                    <a:lnTo>
                      <a:pt x="696" y="924"/>
                    </a:lnTo>
                    <a:lnTo>
                      <a:pt x="702" y="930"/>
                    </a:lnTo>
                    <a:lnTo>
                      <a:pt x="708" y="930"/>
                    </a:lnTo>
                    <a:close/>
                    <a:moveTo>
                      <a:pt x="2118" y="1194"/>
                    </a:moveTo>
                    <a:lnTo>
                      <a:pt x="2106" y="1176"/>
                    </a:lnTo>
                    <a:lnTo>
                      <a:pt x="2088" y="1176"/>
                    </a:lnTo>
                    <a:lnTo>
                      <a:pt x="2064" y="1200"/>
                    </a:lnTo>
                    <a:lnTo>
                      <a:pt x="2064" y="1212"/>
                    </a:lnTo>
                    <a:lnTo>
                      <a:pt x="2052" y="1212"/>
                    </a:lnTo>
                    <a:lnTo>
                      <a:pt x="2040" y="1218"/>
                    </a:lnTo>
                    <a:lnTo>
                      <a:pt x="2010" y="1248"/>
                    </a:lnTo>
                    <a:lnTo>
                      <a:pt x="1998" y="1272"/>
                    </a:lnTo>
                    <a:lnTo>
                      <a:pt x="1992" y="1278"/>
                    </a:lnTo>
                    <a:lnTo>
                      <a:pt x="1992" y="1290"/>
                    </a:lnTo>
                    <a:lnTo>
                      <a:pt x="2004" y="1302"/>
                    </a:lnTo>
                    <a:lnTo>
                      <a:pt x="2022" y="1302"/>
                    </a:lnTo>
                    <a:lnTo>
                      <a:pt x="2052" y="1284"/>
                    </a:lnTo>
                    <a:lnTo>
                      <a:pt x="2082" y="1260"/>
                    </a:lnTo>
                    <a:lnTo>
                      <a:pt x="2106" y="1242"/>
                    </a:lnTo>
                    <a:lnTo>
                      <a:pt x="2100" y="1236"/>
                    </a:lnTo>
                    <a:lnTo>
                      <a:pt x="2100" y="1224"/>
                    </a:lnTo>
                    <a:lnTo>
                      <a:pt x="2112" y="1200"/>
                    </a:lnTo>
                    <a:lnTo>
                      <a:pt x="2118" y="1194"/>
                    </a:lnTo>
                    <a:close/>
                    <a:moveTo>
                      <a:pt x="1374" y="1128"/>
                    </a:moveTo>
                    <a:lnTo>
                      <a:pt x="1374" y="1116"/>
                    </a:lnTo>
                    <a:lnTo>
                      <a:pt x="1368" y="1110"/>
                    </a:lnTo>
                    <a:lnTo>
                      <a:pt x="1344" y="1098"/>
                    </a:lnTo>
                    <a:lnTo>
                      <a:pt x="1332" y="1098"/>
                    </a:lnTo>
                    <a:lnTo>
                      <a:pt x="1320" y="1092"/>
                    </a:lnTo>
                    <a:lnTo>
                      <a:pt x="1314" y="1092"/>
                    </a:lnTo>
                    <a:lnTo>
                      <a:pt x="1302" y="1098"/>
                    </a:lnTo>
                    <a:lnTo>
                      <a:pt x="1296" y="1104"/>
                    </a:lnTo>
                    <a:lnTo>
                      <a:pt x="1296" y="1116"/>
                    </a:lnTo>
                    <a:lnTo>
                      <a:pt x="1290" y="1122"/>
                    </a:lnTo>
                    <a:lnTo>
                      <a:pt x="1290" y="1134"/>
                    </a:lnTo>
                    <a:lnTo>
                      <a:pt x="1254" y="1104"/>
                    </a:lnTo>
                    <a:lnTo>
                      <a:pt x="1260" y="1092"/>
                    </a:lnTo>
                    <a:lnTo>
                      <a:pt x="1260" y="1080"/>
                    </a:lnTo>
                    <a:lnTo>
                      <a:pt x="1266" y="1068"/>
                    </a:lnTo>
                    <a:lnTo>
                      <a:pt x="1266" y="1050"/>
                    </a:lnTo>
                    <a:lnTo>
                      <a:pt x="1260" y="1038"/>
                    </a:lnTo>
                    <a:lnTo>
                      <a:pt x="1254" y="1032"/>
                    </a:lnTo>
                    <a:lnTo>
                      <a:pt x="1242" y="1026"/>
                    </a:lnTo>
                    <a:lnTo>
                      <a:pt x="1188" y="1026"/>
                    </a:lnTo>
                    <a:lnTo>
                      <a:pt x="1158" y="1008"/>
                    </a:lnTo>
                    <a:lnTo>
                      <a:pt x="1158" y="984"/>
                    </a:lnTo>
                    <a:lnTo>
                      <a:pt x="1116" y="984"/>
                    </a:lnTo>
                    <a:lnTo>
                      <a:pt x="1116" y="996"/>
                    </a:lnTo>
                    <a:lnTo>
                      <a:pt x="1110" y="1008"/>
                    </a:lnTo>
                    <a:lnTo>
                      <a:pt x="1110" y="1026"/>
                    </a:lnTo>
                    <a:lnTo>
                      <a:pt x="1086" y="1026"/>
                    </a:lnTo>
                    <a:lnTo>
                      <a:pt x="1074" y="1020"/>
                    </a:lnTo>
                    <a:lnTo>
                      <a:pt x="1056" y="1014"/>
                    </a:lnTo>
                    <a:lnTo>
                      <a:pt x="1044" y="1014"/>
                    </a:lnTo>
                    <a:lnTo>
                      <a:pt x="1032" y="1008"/>
                    </a:lnTo>
                    <a:lnTo>
                      <a:pt x="966" y="1008"/>
                    </a:lnTo>
                    <a:lnTo>
                      <a:pt x="960" y="996"/>
                    </a:lnTo>
                    <a:lnTo>
                      <a:pt x="948" y="990"/>
                    </a:lnTo>
                    <a:lnTo>
                      <a:pt x="942" y="978"/>
                    </a:lnTo>
                    <a:lnTo>
                      <a:pt x="918" y="954"/>
                    </a:lnTo>
                    <a:lnTo>
                      <a:pt x="900" y="954"/>
                    </a:lnTo>
                    <a:lnTo>
                      <a:pt x="888" y="960"/>
                    </a:lnTo>
                    <a:lnTo>
                      <a:pt x="876" y="954"/>
                    </a:lnTo>
                    <a:lnTo>
                      <a:pt x="870" y="948"/>
                    </a:lnTo>
                    <a:lnTo>
                      <a:pt x="858" y="942"/>
                    </a:lnTo>
                    <a:lnTo>
                      <a:pt x="846" y="942"/>
                    </a:lnTo>
                    <a:lnTo>
                      <a:pt x="840" y="936"/>
                    </a:lnTo>
                    <a:lnTo>
                      <a:pt x="822" y="936"/>
                    </a:lnTo>
                    <a:lnTo>
                      <a:pt x="810" y="930"/>
                    </a:lnTo>
                    <a:lnTo>
                      <a:pt x="792" y="930"/>
                    </a:lnTo>
                    <a:lnTo>
                      <a:pt x="786" y="924"/>
                    </a:lnTo>
                    <a:lnTo>
                      <a:pt x="762" y="924"/>
                    </a:lnTo>
                    <a:lnTo>
                      <a:pt x="750" y="930"/>
                    </a:lnTo>
                    <a:lnTo>
                      <a:pt x="738" y="954"/>
                    </a:lnTo>
                    <a:lnTo>
                      <a:pt x="738" y="966"/>
                    </a:lnTo>
                    <a:lnTo>
                      <a:pt x="732" y="978"/>
                    </a:lnTo>
                    <a:lnTo>
                      <a:pt x="720" y="990"/>
                    </a:lnTo>
                    <a:lnTo>
                      <a:pt x="714" y="990"/>
                    </a:lnTo>
                    <a:lnTo>
                      <a:pt x="702" y="1002"/>
                    </a:lnTo>
                    <a:lnTo>
                      <a:pt x="702" y="1014"/>
                    </a:lnTo>
                    <a:lnTo>
                      <a:pt x="738" y="1008"/>
                    </a:lnTo>
                    <a:lnTo>
                      <a:pt x="786" y="1008"/>
                    </a:lnTo>
                    <a:lnTo>
                      <a:pt x="780" y="1014"/>
                    </a:lnTo>
                    <a:lnTo>
                      <a:pt x="768" y="1020"/>
                    </a:lnTo>
                    <a:lnTo>
                      <a:pt x="762" y="1032"/>
                    </a:lnTo>
                    <a:lnTo>
                      <a:pt x="762" y="1044"/>
                    </a:lnTo>
                    <a:lnTo>
                      <a:pt x="774" y="1050"/>
                    </a:lnTo>
                    <a:lnTo>
                      <a:pt x="780" y="1050"/>
                    </a:lnTo>
                    <a:lnTo>
                      <a:pt x="798" y="1044"/>
                    </a:lnTo>
                    <a:lnTo>
                      <a:pt x="810" y="1044"/>
                    </a:lnTo>
                    <a:lnTo>
                      <a:pt x="816" y="1038"/>
                    </a:lnTo>
                    <a:lnTo>
                      <a:pt x="828" y="1032"/>
                    </a:lnTo>
                    <a:lnTo>
                      <a:pt x="840" y="1038"/>
                    </a:lnTo>
                    <a:lnTo>
                      <a:pt x="870" y="1056"/>
                    </a:lnTo>
                    <a:lnTo>
                      <a:pt x="900" y="1068"/>
                    </a:lnTo>
                    <a:lnTo>
                      <a:pt x="924" y="1080"/>
                    </a:lnTo>
                    <a:lnTo>
                      <a:pt x="960" y="1086"/>
                    </a:lnTo>
                    <a:lnTo>
                      <a:pt x="1014" y="1092"/>
                    </a:lnTo>
                    <a:lnTo>
                      <a:pt x="1062" y="1092"/>
                    </a:lnTo>
                    <a:lnTo>
                      <a:pt x="1080" y="1110"/>
                    </a:lnTo>
                    <a:lnTo>
                      <a:pt x="1086" y="1122"/>
                    </a:lnTo>
                    <a:lnTo>
                      <a:pt x="1098" y="1128"/>
                    </a:lnTo>
                    <a:lnTo>
                      <a:pt x="1110" y="1140"/>
                    </a:lnTo>
                    <a:lnTo>
                      <a:pt x="1128" y="1146"/>
                    </a:lnTo>
                    <a:lnTo>
                      <a:pt x="1152" y="1152"/>
                    </a:lnTo>
                    <a:lnTo>
                      <a:pt x="1170" y="1152"/>
                    </a:lnTo>
                    <a:lnTo>
                      <a:pt x="1182" y="1158"/>
                    </a:lnTo>
                    <a:lnTo>
                      <a:pt x="1248" y="1158"/>
                    </a:lnTo>
                    <a:lnTo>
                      <a:pt x="1260" y="1164"/>
                    </a:lnTo>
                    <a:lnTo>
                      <a:pt x="1278" y="1170"/>
                    </a:lnTo>
                    <a:lnTo>
                      <a:pt x="1290" y="1182"/>
                    </a:lnTo>
                    <a:lnTo>
                      <a:pt x="1302" y="1188"/>
                    </a:lnTo>
                    <a:lnTo>
                      <a:pt x="1320" y="1206"/>
                    </a:lnTo>
                    <a:lnTo>
                      <a:pt x="1338" y="1206"/>
                    </a:lnTo>
                    <a:lnTo>
                      <a:pt x="1350" y="1200"/>
                    </a:lnTo>
                    <a:lnTo>
                      <a:pt x="1356" y="1206"/>
                    </a:lnTo>
                    <a:lnTo>
                      <a:pt x="1374" y="1206"/>
                    </a:lnTo>
                    <a:lnTo>
                      <a:pt x="1374" y="1194"/>
                    </a:lnTo>
                    <a:lnTo>
                      <a:pt x="1368" y="1182"/>
                    </a:lnTo>
                    <a:lnTo>
                      <a:pt x="1362" y="1176"/>
                    </a:lnTo>
                    <a:lnTo>
                      <a:pt x="1356" y="1164"/>
                    </a:lnTo>
                    <a:lnTo>
                      <a:pt x="1374" y="1146"/>
                    </a:lnTo>
                    <a:lnTo>
                      <a:pt x="1374" y="1128"/>
                    </a:lnTo>
                    <a:close/>
                    <a:moveTo>
                      <a:pt x="1500" y="726"/>
                    </a:moveTo>
                    <a:lnTo>
                      <a:pt x="1542" y="684"/>
                    </a:lnTo>
                    <a:lnTo>
                      <a:pt x="1548" y="672"/>
                    </a:lnTo>
                    <a:lnTo>
                      <a:pt x="1554" y="654"/>
                    </a:lnTo>
                    <a:lnTo>
                      <a:pt x="1560" y="642"/>
                    </a:lnTo>
                    <a:lnTo>
                      <a:pt x="1566" y="624"/>
                    </a:lnTo>
                    <a:lnTo>
                      <a:pt x="1566" y="612"/>
                    </a:lnTo>
                    <a:lnTo>
                      <a:pt x="1572" y="606"/>
                    </a:lnTo>
                    <a:lnTo>
                      <a:pt x="1572" y="600"/>
                    </a:lnTo>
                    <a:lnTo>
                      <a:pt x="1566" y="600"/>
                    </a:lnTo>
                    <a:lnTo>
                      <a:pt x="1554" y="594"/>
                    </a:lnTo>
                    <a:lnTo>
                      <a:pt x="1542" y="582"/>
                    </a:lnTo>
                    <a:lnTo>
                      <a:pt x="1542" y="564"/>
                    </a:lnTo>
                    <a:lnTo>
                      <a:pt x="1554" y="516"/>
                    </a:lnTo>
                    <a:lnTo>
                      <a:pt x="1590" y="498"/>
                    </a:lnTo>
                    <a:lnTo>
                      <a:pt x="1626" y="498"/>
                    </a:lnTo>
                    <a:lnTo>
                      <a:pt x="1632" y="486"/>
                    </a:lnTo>
                    <a:lnTo>
                      <a:pt x="1638" y="480"/>
                    </a:lnTo>
                    <a:lnTo>
                      <a:pt x="1644" y="468"/>
                    </a:lnTo>
                    <a:lnTo>
                      <a:pt x="1644" y="444"/>
                    </a:lnTo>
                    <a:lnTo>
                      <a:pt x="1626" y="444"/>
                    </a:lnTo>
                    <a:lnTo>
                      <a:pt x="1620" y="450"/>
                    </a:lnTo>
                    <a:lnTo>
                      <a:pt x="1608" y="450"/>
                    </a:lnTo>
                    <a:lnTo>
                      <a:pt x="1608" y="438"/>
                    </a:lnTo>
                    <a:lnTo>
                      <a:pt x="1614" y="420"/>
                    </a:lnTo>
                    <a:lnTo>
                      <a:pt x="1626" y="408"/>
                    </a:lnTo>
                    <a:lnTo>
                      <a:pt x="1650" y="396"/>
                    </a:lnTo>
                    <a:lnTo>
                      <a:pt x="1662" y="396"/>
                    </a:lnTo>
                    <a:lnTo>
                      <a:pt x="1680" y="402"/>
                    </a:lnTo>
                    <a:lnTo>
                      <a:pt x="1704" y="402"/>
                    </a:lnTo>
                    <a:lnTo>
                      <a:pt x="1716" y="390"/>
                    </a:lnTo>
                    <a:lnTo>
                      <a:pt x="1716" y="384"/>
                    </a:lnTo>
                    <a:lnTo>
                      <a:pt x="1680" y="348"/>
                    </a:lnTo>
                    <a:lnTo>
                      <a:pt x="1680" y="312"/>
                    </a:lnTo>
                    <a:lnTo>
                      <a:pt x="1668" y="312"/>
                    </a:lnTo>
                    <a:lnTo>
                      <a:pt x="1650" y="294"/>
                    </a:lnTo>
                    <a:lnTo>
                      <a:pt x="1650" y="282"/>
                    </a:lnTo>
                    <a:lnTo>
                      <a:pt x="1662" y="270"/>
                    </a:lnTo>
                    <a:lnTo>
                      <a:pt x="1668" y="258"/>
                    </a:lnTo>
                    <a:lnTo>
                      <a:pt x="1668" y="246"/>
                    </a:lnTo>
                    <a:lnTo>
                      <a:pt x="1662" y="240"/>
                    </a:lnTo>
                    <a:lnTo>
                      <a:pt x="1638" y="228"/>
                    </a:lnTo>
                    <a:lnTo>
                      <a:pt x="1614" y="228"/>
                    </a:lnTo>
                    <a:lnTo>
                      <a:pt x="1632" y="198"/>
                    </a:lnTo>
                    <a:lnTo>
                      <a:pt x="1614" y="192"/>
                    </a:lnTo>
                    <a:lnTo>
                      <a:pt x="1620" y="162"/>
                    </a:lnTo>
                    <a:lnTo>
                      <a:pt x="1608" y="144"/>
                    </a:lnTo>
                    <a:lnTo>
                      <a:pt x="1602" y="138"/>
                    </a:lnTo>
                    <a:lnTo>
                      <a:pt x="1590" y="132"/>
                    </a:lnTo>
                    <a:lnTo>
                      <a:pt x="1566" y="108"/>
                    </a:lnTo>
                    <a:lnTo>
                      <a:pt x="1470" y="108"/>
                    </a:lnTo>
                    <a:lnTo>
                      <a:pt x="1464" y="114"/>
                    </a:lnTo>
                    <a:lnTo>
                      <a:pt x="1458" y="126"/>
                    </a:lnTo>
                    <a:lnTo>
                      <a:pt x="1458" y="180"/>
                    </a:lnTo>
                    <a:lnTo>
                      <a:pt x="1452" y="198"/>
                    </a:lnTo>
                    <a:lnTo>
                      <a:pt x="1452" y="204"/>
                    </a:lnTo>
                    <a:lnTo>
                      <a:pt x="1446" y="216"/>
                    </a:lnTo>
                    <a:lnTo>
                      <a:pt x="1428" y="216"/>
                    </a:lnTo>
                    <a:lnTo>
                      <a:pt x="1422" y="222"/>
                    </a:lnTo>
                    <a:lnTo>
                      <a:pt x="1422" y="246"/>
                    </a:lnTo>
                    <a:lnTo>
                      <a:pt x="1428" y="252"/>
                    </a:lnTo>
                    <a:lnTo>
                      <a:pt x="1434" y="264"/>
                    </a:lnTo>
                    <a:lnTo>
                      <a:pt x="1398" y="294"/>
                    </a:lnTo>
                    <a:lnTo>
                      <a:pt x="1404" y="306"/>
                    </a:lnTo>
                    <a:lnTo>
                      <a:pt x="1374" y="342"/>
                    </a:lnTo>
                    <a:lnTo>
                      <a:pt x="1350" y="342"/>
                    </a:lnTo>
                    <a:lnTo>
                      <a:pt x="1344" y="348"/>
                    </a:lnTo>
                    <a:lnTo>
                      <a:pt x="1332" y="354"/>
                    </a:lnTo>
                    <a:lnTo>
                      <a:pt x="1320" y="366"/>
                    </a:lnTo>
                    <a:lnTo>
                      <a:pt x="1314" y="366"/>
                    </a:lnTo>
                    <a:lnTo>
                      <a:pt x="1308" y="360"/>
                    </a:lnTo>
                    <a:lnTo>
                      <a:pt x="1284" y="348"/>
                    </a:lnTo>
                    <a:lnTo>
                      <a:pt x="1272" y="336"/>
                    </a:lnTo>
                    <a:lnTo>
                      <a:pt x="1230" y="336"/>
                    </a:lnTo>
                    <a:lnTo>
                      <a:pt x="1224" y="348"/>
                    </a:lnTo>
                    <a:lnTo>
                      <a:pt x="1194" y="378"/>
                    </a:lnTo>
                    <a:lnTo>
                      <a:pt x="1170" y="378"/>
                    </a:lnTo>
                    <a:lnTo>
                      <a:pt x="1152" y="372"/>
                    </a:lnTo>
                    <a:lnTo>
                      <a:pt x="1128" y="372"/>
                    </a:lnTo>
                    <a:lnTo>
                      <a:pt x="1110" y="390"/>
                    </a:lnTo>
                    <a:lnTo>
                      <a:pt x="1104" y="390"/>
                    </a:lnTo>
                    <a:lnTo>
                      <a:pt x="1080" y="378"/>
                    </a:lnTo>
                    <a:lnTo>
                      <a:pt x="1074" y="372"/>
                    </a:lnTo>
                    <a:lnTo>
                      <a:pt x="1062" y="366"/>
                    </a:lnTo>
                    <a:lnTo>
                      <a:pt x="1050" y="354"/>
                    </a:lnTo>
                    <a:lnTo>
                      <a:pt x="1050" y="342"/>
                    </a:lnTo>
                    <a:lnTo>
                      <a:pt x="1044" y="336"/>
                    </a:lnTo>
                    <a:lnTo>
                      <a:pt x="1032" y="330"/>
                    </a:lnTo>
                    <a:lnTo>
                      <a:pt x="1008" y="330"/>
                    </a:lnTo>
                    <a:lnTo>
                      <a:pt x="996" y="336"/>
                    </a:lnTo>
                    <a:lnTo>
                      <a:pt x="990" y="348"/>
                    </a:lnTo>
                    <a:lnTo>
                      <a:pt x="978" y="366"/>
                    </a:lnTo>
                    <a:lnTo>
                      <a:pt x="972" y="384"/>
                    </a:lnTo>
                    <a:lnTo>
                      <a:pt x="972" y="402"/>
                    </a:lnTo>
                    <a:lnTo>
                      <a:pt x="966" y="408"/>
                    </a:lnTo>
                    <a:lnTo>
                      <a:pt x="966" y="414"/>
                    </a:lnTo>
                    <a:lnTo>
                      <a:pt x="990" y="444"/>
                    </a:lnTo>
                    <a:lnTo>
                      <a:pt x="1002" y="498"/>
                    </a:lnTo>
                    <a:lnTo>
                      <a:pt x="1050" y="528"/>
                    </a:lnTo>
                    <a:lnTo>
                      <a:pt x="1038" y="564"/>
                    </a:lnTo>
                    <a:lnTo>
                      <a:pt x="1068" y="582"/>
                    </a:lnTo>
                    <a:lnTo>
                      <a:pt x="1050" y="606"/>
                    </a:lnTo>
                    <a:lnTo>
                      <a:pt x="1068" y="636"/>
                    </a:lnTo>
                    <a:lnTo>
                      <a:pt x="1056" y="648"/>
                    </a:lnTo>
                    <a:lnTo>
                      <a:pt x="1068" y="702"/>
                    </a:lnTo>
                    <a:lnTo>
                      <a:pt x="1110" y="696"/>
                    </a:lnTo>
                    <a:lnTo>
                      <a:pt x="1140" y="708"/>
                    </a:lnTo>
                    <a:lnTo>
                      <a:pt x="1146" y="696"/>
                    </a:lnTo>
                    <a:lnTo>
                      <a:pt x="1170" y="672"/>
                    </a:lnTo>
                    <a:lnTo>
                      <a:pt x="1182" y="672"/>
                    </a:lnTo>
                    <a:lnTo>
                      <a:pt x="1182" y="690"/>
                    </a:lnTo>
                    <a:lnTo>
                      <a:pt x="1188" y="702"/>
                    </a:lnTo>
                    <a:lnTo>
                      <a:pt x="1188" y="726"/>
                    </a:lnTo>
                    <a:lnTo>
                      <a:pt x="1194" y="738"/>
                    </a:lnTo>
                    <a:lnTo>
                      <a:pt x="1212" y="738"/>
                    </a:lnTo>
                    <a:lnTo>
                      <a:pt x="1218" y="726"/>
                    </a:lnTo>
                    <a:lnTo>
                      <a:pt x="1218" y="720"/>
                    </a:lnTo>
                    <a:lnTo>
                      <a:pt x="1224" y="714"/>
                    </a:lnTo>
                    <a:lnTo>
                      <a:pt x="1224" y="708"/>
                    </a:lnTo>
                    <a:lnTo>
                      <a:pt x="1254" y="726"/>
                    </a:lnTo>
                    <a:lnTo>
                      <a:pt x="1266" y="720"/>
                    </a:lnTo>
                    <a:lnTo>
                      <a:pt x="1272" y="708"/>
                    </a:lnTo>
                    <a:lnTo>
                      <a:pt x="1284" y="702"/>
                    </a:lnTo>
                    <a:lnTo>
                      <a:pt x="1296" y="702"/>
                    </a:lnTo>
                    <a:lnTo>
                      <a:pt x="1296" y="714"/>
                    </a:lnTo>
                    <a:lnTo>
                      <a:pt x="1302" y="720"/>
                    </a:lnTo>
                    <a:lnTo>
                      <a:pt x="1302" y="738"/>
                    </a:lnTo>
                    <a:lnTo>
                      <a:pt x="1308" y="744"/>
                    </a:lnTo>
                    <a:lnTo>
                      <a:pt x="1332" y="744"/>
                    </a:lnTo>
                    <a:lnTo>
                      <a:pt x="1350" y="738"/>
                    </a:lnTo>
                    <a:lnTo>
                      <a:pt x="1362" y="732"/>
                    </a:lnTo>
                    <a:lnTo>
                      <a:pt x="1392" y="732"/>
                    </a:lnTo>
                    <a:lnTo>
                      <a:pt x="1404" y="744"/>
                    </a:lnTo>
                    <a:lnTo>
                      <a:pt x="1404" y="786"/>
                    </a:lnTo>
                    <a:lnTo>
                      <a:pt x="1398" y="798"/>
                    </a:lnTo>
                    <a:lnTo>
                      <a:pt x="1398" y="810"/>
                    </a:lnTo>
                    <a:lnTo>
                      <a:pt x="1404" y="810"/>
                    </a:lnTo>
                    <a:lnTo>
                      <a:pt x="1410" y="804"/>
                    </a:lnTo>
                    <a:lnTo>
                      <a:pt x="1422" y="798"/>
                    </a:lnTo>
                    <a:lnTo>
                      <a:pt x="1440" y="792"/>
                    </a:lnTo>
                    <a:lnTo>
                      <a:pt x="1452" y="786"/>
                    </a:lnTo>
                    <a:lnTo>
                      <a:pt x="1476" y="762"/>
                    </a:lnTo>
                    <a:lnTo>
                      <a:pt x="1482" y="750"/>
                    </a:lnTo>
                    <a:lnTo>
                      <a:pt x="1500" y="732"/>
                    </a:lnTo>
                    <a:lnTo>
                      <a:pt x="1500" y="726"/>
                    </a:lnTo>
                    <a:close/>
                    <a:moveTo>
                      <a:pt x="1476" y="1116"/>
                    </a:moveTo>
                    <a:lnTo>
                      <a:pt x="1470" y="1116"/>
                    </a:lnTo>
                    <a:lnTo>
                      <a:pt x="1458" y="1122"/>
                    </a:lnTo>
                    <a:lnTo>
                      <a:pt x="1452" y="1128"/>
                    </a:lnTo>
                    <a:lnTo>
                      <a:pt x="1458" y="1134"/>
                    </a:lnTo>
                    <a:lnTo>
                      <a:pt x="1470" y="1140"/>
                    </a:lnTo>
                    <a:lnTo>
                      <a:pt x="1476" y="1140"/>
                    </a:lnTo>
                    <a:lnTo>
                      <a:pt x="1488" y="1146"/>
                    </a:lnTo>
                    <a:lnTo>
                      <a:pt x="1500" y="1134"/>
                    </a:lnTo>
                    <a:lnTo>
                      <a:pt x="1500" y="1128"/>
                    </a:lnTo>
                    <a:lnTo>
                      <a:pt x="1488" y="1116"/>
                    </a:lnTo>
                    <a:lnTo>
                      <a:pt x="1476" y="1116"/>
                    </a:lnTo>
                    <a:close/>
                    <a:moveTo>
                      <a:pt x="1716" y="1230"/>
                    </a:moveTo>
                    <a:lnTo>
                      <a:pt x="1680" y="1218"/>
                    </a:lnTo>
                    <a:lnTo>
                      <a:pt x="1674" y="1224"/>
                    </a:lnTo>
                    <a:lnTo>
                      <a:pt x="1674" y="1230"/>
                    </a:lnTo>
                    <a:lnTo>
                      <a:pt x="1686" y="1254"/>
                    </a:lnTo>
                    <a:lnTo>
                      <a:pt x="1692" y="1260"/>
                    </a:lnTo>
                    <a:lnTo>
                      <a:pt x="1704" y="1266"/>
                    </a:lnTo>
                    <a:lnTo>
                      <a:pt x="1716" y="1266"/>
                    </a:lnTo>
                    <a:lnTo>
                      <a:pt x="1722" y="1260"/>
                    </a:lnTo>
                    <a:lnTo>
                      <a:pt x="1740" y="1260"/>
                    </a:lnTo>
                    <a:lnTo>
                      <a:pt x="1746" y="1266"/>
                    </a:lnTo>
                    <a:lnTo>
                      <a:pt x="1746" y="1278"/>
                    </a:lnTo>
                    <a:lnTo>
                      <a:pt x="1752" y="1290"/>
                    </a:lnTo>
                    <a:lnTo>
                      <a:pt x="1764" y="1296"/>
                    </a:lnTo>
                    <a:lnTo>
                      <a:pt x="1788" y="1296"/>
                    </a:lnTo>
                    <a:lnTo>
                      <a:pt x="1794" y="1290"/>
                    </a:lnTo>
                    <a:lnTo>
                      <a:pt x="1800" y="1290"/>
                    </a:lnTo>
                    <a:lnTo>
                      <a:pt x="1800" y="1284"/>
                    </a:lnTo>
                    <a:lnTo>
                      <a:pt x="1794" y="1272"/>
                    </a:lnTo>
                    <a:lnTo>
                      <a:pt x="1782" y="1260"/>
                    </a:lnTo>
                    <a:lnTo>
                      <a:pt x="1770" y="1236"/>
                    </a:lnTo>
                    <a:lnTo>
                      <a:pt x="1746" y="1224"/>
                    </a:lnTo>
                    <a:lnTo>
                      <a:pt x="1728" y="1224"/>
                    </a:lnTo>
                    <a:lnTo>
                      <a:pt x="1716" y="1230"/>
                    </a:lnTo>
                    <a:close/>
                    <a:moveTo>
                      <a:pt x="1962" y="1122"/>
                    </a:moveTo>
                    <a:lnTo>
                      <a:pt x="1932" y="1146"/>
                    </a:lnTo>
                    <a:lnTo>
                      <a:pt x="1920" y="1134"/>
                    </a:lnTo>
                    <a:lnTo>
                      <a:pt x="1890" y="1134"/>
                    </a:lnTo>
                    <a:lnTo>
                      <a:pt x="1884" y="1140"/>
                    </a:lnTo>
                    <a:lnTo>
                      <a:pt x="1872" y="1146"/>
                    </a:lnTo>
                    <a:lnTo>
                      <a:pt x="1866" y="1152"/>
                    </a:lnTo>
                    <a:lnTo>
                      <a:pt x="1860" y="1140"/>
                    </a:lnTo>
                    <a:lnTo>
                      <a:pt x="1836" y="1116"/>
                    </a:lnTo>
                    <a:lnTo>
                      <a:pt x="1824" y="1116"/>
                    </a:lnTo>
                    <a:lnTo>
                      <a:pt x="1800" y="1128"/>
                    </a:lnTo>
                    <a:lnTo>
                      <a:pt x="1764" y="1164"/>
                    </a:lnTo>
                    <a:lnTo>
                      <a:pt x="1728" y="1158"/>
                    </a:lnTo>
                    <a:lnTo>
                      <a:pt x="1716" y="1176"/>
                    </a:lnTo>
                    <a:lnTo>
                      <a:pt x="1746" y="1176"/>
                    </a:lnTo>
                    <a:lnTo>
                      <a:pt x="1752" y="1182"/>
                    </a:lnTo>
                    <a:lnTo>
                      <a:pt x="1764" y="1182"/>
                    </a:lnTo>
                    <a:lnTo>
                      <a:pt x="1776" y="1188"/>
                    </a:lnTo>
                    <a:lnTo>
                      <a:pt x="1788" y="1188"/>
                    </a:lnTo>
                    <a:lnTo>
                      <a:pt x="1794" y="1182"/>
                    </a:lnTo>
                    <a:lnTo>
                      <a:pt x="1806" y="1176"/>
                    </a:lnTo>
                    <a:lnTo>
                      <a:pt x="1812" y="1170"/>
                    </a:lnTo>
                    <a:lnTo>
                      <a:pt x="1908" y="1164"/>
                    </a:lnTo>
                    <a:lnTo>
                      <a:pt x="1956" y="1158"/>
                    </a:lnTo>
                    <a:lnTo>
                      <a:pt x="1992" y="1128"/>
                    </a:lnTo>
                    <a:lnTo>
                      <a:pt x="1992" y="1110"/>
                    </a:lnTo>
                    <a:lnTo>
                      <a:pt x="1962" y="1122"/>
                    </a:lnTo>
                    <a:close/>
                    <a:moveTo>
                      <a:pt x="1578" y="1158"/>
                    </a:moveTo>
                    <a:lnTo>
                      <a:pt x="1566" y="1152"/>
                    </a:lnTo>
                    <a:lnTo>
                      <a:pt x="1560" y="1146"/>
                    </a:lnTo>
                    <a:lnTo>
                      <a:pt x="1548" y="1140"/>
                    </a:lnTo>
                    <a:lnTo>
                      <a:pt x="1536" y="1140"/>
                    </a:lnTo>
                    <a:lnTo>
                      <a:pt x="1512" y="1164"/>
                    </a:lnTo>
                    <a:lnTo>
                      <a:pt x="1506" y="1176"/>
                    </a:lnTo>
                    <a:lnTo>
                      <a:pt x="1500" y="1182"/>
                    </a:lnTo>
                    <a:lnTo>
                      <a:pt x="1554" y="1188"/>
                    </a:lnTo>
                    <a:lnTo>
                      <a:pt x="1554" y="1212"/>
                    </a:lnTo>
                    <a:lnTo>
                      <a:pt x="1578" y="1206"/>
                    </a:lnTo>
                    <a:lnTo>
                      <a:pt x="1590" y="1188"/>
                    </a:lnTo>
                    <a:lnTo>
                      <a:pt x="1614" y="1206"/>
                    </a:lnTo>
                    <a:lnTo>
                      <a:pt x="1644" y="1170"/>
                    </a:lnTo>
                    <a:lnTo>
                      <a:pt x="1596" y="1152"/>
                    </a:lnTo>
                    <a:lnTo>
                      <a:pt x="1578" y="115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3" name="Cambod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6794B72-96C1-463D-B311-9F88D4A0428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55511" y="3995069"/>
                <a:ext cx="167728" cy="150571"/>
              </a:xfrm>
              <a:custGeom>
                <a:avLst/>
                <a:gdLst>
                  <a:gd name="T0" fmla="*/ 2147483647 w 378"/>
                  <a:gd name="T1" fmla="*/ 2147483647 h 336"/>
                  <a:gd name="T2" fmla="*/ 2147483647 w 378"/>
                  <a:gd name="T3" fmla="*/ 2147483647 h 336"/>
                  <a:gd name="T4" fmla="*/ 2147483647 w 378"/>
                  <a:gd name="T5" fmla="*/ 2147483647 h 336"/>
                  <a:gd name="T6" fmla="*/ 2147483647 w 378"/>
                  <a:gd name="T7" fmla="*/ 2147483647 h 336"/>
                  <a:gd name="T8" fmla="*/ 2147483647 w 378"/>
                  <a:gd name="T9" fmla="*/ 2147483647 h 336"/>
                  <a:gd name="T10" fmla="*/ 2147483647 w 378"/>
                  <a:gd name="T11" fmla="*/ 2147483647 h 336"/>
                  <a:gd name="T12" fmla="*/ 2147483647 w 378"/>
                  <a:gd name="T13" fmla="*/ 2147483647 h 336"/>
                  <a:gd name="T14" fmla="*/ 2147483647 w 378"/>
                  <a:gd name="T15" fmla="*/ 2147483647 h 336"/>
                  <a:gd name="T16" fmla="*/ 2147483647 w 378"/>
                  <a:gd name="T17" fmla="*/ 2147483647 h 336"/>
                  <a:gd name="T18" fmla="*/ 2147483647 w 378"/>
                  <a:gd name="T19" fmla="*/ 2147483647 h 336"/>
                  <a:gd name="T20" fmla="*/ 2147483647 w 378"/>
                  <a:gd name="T21" fmla="*/ 2147483647 h 336"/>
                  <a:gd name="T22" fmla="*/ 2147483647 w 378"/>
                  <a:gd name="T23" fmla="*/ 2147483647 h 336"/>
                  <a:gd name="T24" fmla="*/ 2147483647 w 378"/>
                  <a:gd name="T25" fmla="*/ 2147483647 h 336"/>
                  <a:gd name="T26" fmla="*/ 2147483647 w 378"/>
                  <a:gd name="T27" fmla="*/ 2147483647 h 336"/>
                  <a:gd name="T28" fmla="*/ 0 w 378"/>
                  <a:gd name="T29" fmla="*/ 2147483647 h 336"/>
                  <a:gd name="T30" fmla="*/ 2147483647 w 378"/>
                  <a:gd name="T31" fmla="*/ 2147483647 h 336"/>
                  <a:gd name="T32" fmla="*/ 2147483647 w 378"/>
                  <a:gd name="T33" fmla="*/ 2147483647 h 336"/>
                  <a:gd name="T34" fmla="*/ 2147483647 w 378"/>
                  <a:gd name="T35" fmla="*/ 2147483647 h 336"/>
                  <a:gd name="T36" fmla="*/ 2147483647 w 378"/>
                  <a:gd name="T37" fmla="*/ 2147483647 h 336"/>
                  <a:gd name="T38" fmla="*/ 2147483647 w 378"/>
                  <a:gd name="T39" fmla="*/ 2147483647 h 336"/>
                  <a:gd name="T40" fmla="*/ 2147483647 w 378"/>
                  <a:gd name="T41" fmla="*/ 2147483647 h 336"/>
                  <a:gd name="T42" fmla="*/ 2147483647 w 378"/>
                  <a:gd name="T43" fmla="*/ 2147483647 h 336"/>
                  <a:gd name="T44" fmla="*/ 2147483647 w 378"/>
                  <a:gd name="T45" fmla="*/ 2147483647 h 336"/>
                  <a:gd name="T46" fmla="*/ 2147483647 w 378"/>
                  <a:gd name="T47" fmla="*/ 2147483647 h 336"/>
                  <a:gd name="T48" fmla="*/ 2147483647 w 378"/>
                  <a:gd name="T49" fmla="*/ 2147483647 h 336"/>
                  <a:gd name="T50" fmla="*/ 2147483647 w 378"/>
                  <a:gd name="T51" fmla="*/ 2147483647 h 336"/>
                  <a:gd name="T52" fmla="*/ 2147483647 w 378"/>
                  <a:gd name="T53" fmla="*/ 2147483647 h 336"/>
                  <a:gd name="T54" fmla="*/ 2147483647 w 378"/>
                  <a:gd name="T55" fmla="*/ 2147483647 h 336"/>
                  <a:gd name="T56" fmla="*/ 2147483647 w 378"/>
                  <a:gd name="T57" fmla="*/ 2147483647 h 336"/>
                  <a:gd name="T58" fmla="*/ 2147483647 w 378"/>
                  <a:gd name="T59" fmla="*/ 2147483647 h 336"/>
                  <a:gd name="T60" fmla="*/ 2147483647 w 378"/>
                  <a:gd name="T61" fmla="*/ 2147483647 h 336"/>
                  <a:gd name="T62" fmla="*/ 2147483647 w 378"/>
                  <a:gd name="T63" fmla="*/ 2147483647 h 336"/>
                  <a:gd name="T64" fmla="*/ 2147483647 w 378"/>
                  <a:gd name="T65" fmla="*/ 2147483647 h 336"/>
                  <a:gd name="T66" fmla="*/ 2147483647 w 378"/>
                  <a:gd name="T67" fmla="*/ 2147483647 h 336"/>
                  <a:gd name="T68" fmla="*/ 2147483647 w 378"/>
                  <a:gd name="T69" fmla="*/ 2147483647 h 336"/>
                  <a:gd name="T70" fmla="*/ 2147483647 w 378"/>
                  <a:gd name="T71" fmla="*/ 2147483647 h 336"/>
                  <a:gd name="T72" fmla="*/ 2147483647 w 378"/>
                  <a:gd name="T73" fmla="*/ 2147483647 h 336"/>
                  <a:gd name="T74" fmla="*/ 2147483647 w 378"/>
                  <a:gd name="T75" fmla="*/ 2147483647 h 336"/>
                  <a:gd name="T76" fmla="*/ 2147483647 w 378"/>
                  <a:gd name="T77" fmla="*/ 2147483647 h 336"/>
                  <a:gd name="T78" fmla="*/ 2147483647 w 378"/>
                  <a:gd name="T79" fmla="*/ 2147483647 h 336"/>
                  <a:gd name="T80" fmla="*/ 2147483647 w 378"/>
                  <a:gd name="T81" fmla="*/ 2147483647 h 336"/>
                  <a:gd name="T82" fmla="*/ 2147483647 w 378"/>
                  <a:gd name="T83" fmla="*/ 2147483647 h 336"/>
                  <a:gd name="T84" fmla="*/ 2147483647 w 378"/>
                  <a:gd name="T85" fmla="*/ 2147483647 h 336"/>
                  <a:gd name="T86" fmla="*/ 2147483647 w 378"/>
                  <a:gd name="T87" fmla="*/ 2147483647 h 336"/>
                  <a:gd name="T88" fmla="*/ 2147483647 w 378"/>
                  <a:gd name="T89" fmla="*/ 2147483647 h 336"/>
                  <a:gd name="T90" fmla="*/ 2147483647 w 378"/>
                  <a:gd name="T91" fmla="*/ 2147483647 h 336"/>
                  <a:gd name="T92" fmla="*/ 2147483647 w 378"/>
                  <a:gd name="T93" fmla="*/ 2147483647 h 336"/>
                  <a:gd name="T94" fmla="*/ 2147483647 w 378"/>
                  <a:gd name="T95" fmla="*/ 0 h 3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78"/>
                  <a:gd name="T145" fmla="*/ 0 h 336"/>
                  <a:gd name="T146" fmla="*/ 378 w 378"/>
                  <a:gd name="T147" fmla="*/ 336 h 3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78" h="336">
                    <a:moveTo>
                      <a:pt x="324" y="0"/>
                    </a:moveTo>
                    <a:lnTo>
                      <a:pt x="312" y="12"/>
                    </a:lnTo>
                    <a:lnTo>
                      <a:pt x="276" y="0"/>
                    </a:lnTo>
                    <a:lnTo>
                      <a:pt x="264" y="12"/>
                    </a:lnTo>
                    <a:lnTo>
                      <a:pt x="246" y="24"/>
                    </a:lnTo>
                    <a:lnTo>
                      <a:pt x="258" y="36"/>
                    </a:lnTo>
                    <a:lnTo>
                      <a:pt x="258" y="48"/>
                    </a:lnTo>
                    <a:lnTo>
                      <a:pt x="252" y="54"/>
                    </a:lnTo>
                    <a:lnTo>
                      <a:pt x="240" y="54"/>
                    </a:lnTo>
                    <a:lnTo>
                      <a:pt x="228" y="42"/>
                    </a:lnTo>
                    <a:lnTo>
                      <a:pt x="228" y="36"/>
                    </a:lnTo>
                    <a:lnTo>
                      <a:pt x="222" y="36"/>
                    </a:lnTo>
                    <a:lnTo>
                      <a:pt x="216" y="30"/>
                    </a:lnTo>
                    <a:lnTo>
                      <a:pt x="192" y="30"/>
                    </a:lnTo>
                    <a:lnTo>
                      <a:pt x="192" y="18"/>
                    </a:lnTo>
                    <a:lnTo>
                      <a:pt x="186" y="18"/>
                    </a:lnTo>
                    <a:lnTo>
                      <a:pt x="186" y="24"/>
                    </a:lnTo>
                    <a:lnTo>
                      <a:pt x="180" y="18"/>
                    </a:lnTo>
                    <a:lnTo>
                      <a:pt x="168" y="12"/>
                    </a:lnTo>
                    <a:lnTo>
                      <a:pt x="138" y="12"/>
                    </a:lnTo>
                    <a:lnTo>
                      <a:pt x="126" y="18"/>
                    </a:lnTo>
                    <a:lnTo>
                      <a:pt x="114" y="18"/>
                    </a:lnTo>
                    <a:lnTo>
                      <a:pt x="108" y="12"/>
                    </a:lnTo>
                    <a:lnTo>
                      <a:pt x="72" y="12"/>
                    </a:lnTo>
                    <a:lnTo>
                      <a:pt x="54" y="18"/>
                    </a:lnTo>
                    <a:lnTo>
                      <a:pt x="42" y="24"/>
                    </a:lnTo>
                    <a:lnTo>
                      <a:pt x="36" y="30"/>
                    </a:lnTo>
                    <a:lnTo>
                      <a:pt x="30" y="42"/>
                    </a:lnTo>
                    <a:lnTo>
                      <a:pt x="30" y="48"/>
                    </a:lnTo>
                    <a:lnTo>
                      <a:pt x="0" y="78"/>
                    </a:lnTo>
                    <a:lnTo>
                      <a:pt x="6" y="114"/>
                    </a:lnTo>
                    <a:lnTo>
                      <a:pt x="18" y="126"/>
                    </a:lnTo>
                    <a:lnTo>
                      <a:pt x="18" y="156"/>
                    </a:lnTo>
                    <a:lnTo>
                      <a:pt x="30" y="168"/>
                    </a:lnTo>
                    <a:lnTo>
                      <a:pt x="30" y="198"/>
                    </a:lnTo>
                    <a:lnTo>
                      <a:pt x="42" y="210"/>
                    </a:lnTo>
                    <a:lnTo>
                      <a:pt x="48" y="222"/>
                    </a:lnTo>
                    <a:lnTo>
                      <a:pt x="54" y="228"/>
                    </a:lnTo>
                    <a:lnTo>
                      <a:pt x="54" y="234"/>
                    </a:lnTo>
                    <a:lnTo>
                      <a:pt x="42" y="246"/>
                    </a:lnTo>
                    <a:lnTo>
                      <a:pt x="54" y="270"/>
                    </a:lnTo>
                    <a:lnTo>
                      <a:pt x="60" y="276"/>
                    </a:lnTo>
                    <a:lnTo>
                      <a:pt x="72" y="282"/>
                    </a:lnTo>
                    <a:lnTo>
                      <a:pt x="78" y="282"/>
                    </a:lnTo>
                    <a:lnTo>
                      <a:pt x="90" y="270"/>
                    </a:lnTo>
                    <a:lnTo>
                      <a:pt x="90" y="264"/>
                    </a:lnTo>
                    <a:lnTo>
                      <a:pt x="90" y="288"/>
                    </a:lnTo>
                    <a:lnTo>
                      <a:pt x="96" y="300"/>
                    </a:lnTo>
                    <a:lnTo>
                      <a:pt x="102" y="306"/>
                    </a:lnTo>
                    <a:lnTo>
                      <a:pt x="114" y="306"/>
                    </a:lnTo>
                    <a:lnTo>
                      <a:pt x="120" y="300"/>
                    </a:lnTo>
                    <a:lnTo>
                      <a:pt x="132" y="300"/>
                    </a:lnTo>
                    <a:lnTo>
                      <a:pt x="138" y="306"/>
                    </a:lnTo>
                    <a:lnTo>
                      <a:pt x="138" y="312"/>
                    </a:lnTo>
                    <a:lnTo>
                      <a:pt x="150" y="336"/>
                    </a:lnTo>
                    <a:lnTo>
                      <a:pt x="168" y="336"/>
                    </a:lnTo>
                    <a:lnTo>
                      <a:pt x="180" y="324"/>
                    </a:lnTo>
                    <a:lnTo>
                      <a:pt x="192" y="318"/>
                    </a:lnTo>
                    <a:lnTo>
                      <a:pt x="210" y="318"/>
                    </a:lnTo>
                    <a:lnTo>
                      <a:pt x="222" y="312"/>
                    </a:lnTo>
                    <a:lnTo>
                      <a:pt x="222" y="306"/>
                    </a:lnTo>
                    <a:lnTo>
                      <a:pt x="216" y="300"/>
                    </a:lnTo>
                    <a:lnTo>
                      <a:pt x="210" y="300"/>
                    </a:lnTo>
                    <a:lnTo>
                      <a:pt x="204" y="294"/>
                    </a:lnTo>
                    <a:lnTo>
                      <a:pt x="240" y="294"/>
                    </a:lnTo>
                    <a:lnTo>
                      <a:pt x="240" y="288"/>
                    </a:lnTo>
                    <a:lnTo>
                      <a:pt x="246" y="282"/>
                    </a:lnTo>
                    <a:lnTo>
                      <a:pt x="258" y="282"/>
                    </a:lnTo>
                    <a:lnTo>
                      <a:pt x="270" y="288"/>
                    </a:lnTo>
                    <a:lnTo>
                      <a:pt x="276" y="294"/>
                    </a:lnTo>
                    <a:lnTo>
                      <a:pt x="288" y="300"/>
                    </a:lnTo>
                    <a:lnTo>
                      <a:pt x="294" y="306"/>
                    </a:lnTo>
                    <a:lnTo>
                      <a:pt x="294" y="294"/>
                    </a:lnTo>
                    <a:lnTo>
                      <a:pt x="276" y="276"/>
                    </a:lnTo>
                    <a:lnTo>
                      <a:pt x="264" y="252"/>
                    </a:lnTo>
                    <a:lnTo>
                      <a:pt x="264" y="228"/>
                    </a:lnTo>
                    <a:lnTo>
                      <a:pt x="306" y="228"/>
                    </a:lnTo>
                    <a:lnTo>
                      <a:pt x="306" y="204"/>
                    </a:lnTo>
                    <a:lnTo>
                      <a:pt x="336" y="204"/>
                    </a:lnTo>
                    <a:lnTo>
                      <a:pt x="336" y="186"/>
                    </a:lnTo>
                    <a:lnTo>
                      <a:pt x="342" y="180"/>
                    </a:lnTo>
                    <a:lnTo>
                      <a:pt x="360" y="180"/>
                    </a:lnTo>
                    <a:lnTo>
                      <a:pt x="372" y="186"/>
                    </a:lnTo>
                    <a:lnTo>
                      <a:pt x="372" y="156"/>
                    </a:lnTo>
                    <a:lnTo>
                      <a:pt x="366" y="150"/>
                    </a:lnTo>
                    <a:lnTo>
                      <a:pt x="366" y="120"/>
                    </a:lnTo>
                    <a:lnTo>
                      <a:pt x="360" y="114"/>
                    </a:lnTo>
                    <a:lnTo>
                      <a:pt x="360" y="102"/>
                    </a:lnTo>
                    <a:lnTo>
                      <a:pt x="366" y="102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66" y="60"/>
                    </a:lnTo>
                    <a:lnTo>
                      <a:pt x="354" y="48"/>
                    </a:lnTo>
                    <a:lnTo>
                      <a:pt x="348" y="48"/>
                    </a:lnTo>
                    <a:lnTo>
                      <a:pt x="348" y="6"/>
                    </a:lnTo>
                    <a:lnTo>
                      <a:pt x="324" y="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4" name="Botswa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52E44F6-CFFE-44FB-BD57-953D7C1C879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69691" y="5164203"/>
                <a:ext cx="286537" cy="327711"/>
              </a:xfrm>
              <a:custGeom>
                <a:avLst/>
                <a:gdLst>
                  <a:gd name="T0" fmla="*/ 2147483647 w 648"/>
                  <a:gd name="T1" fmla="*/ 2147483647 h 732"/>
                  <a:gd name="T2" fmla="*/ 2147483647 w 648"/>
                  <a:gd name="T3" fmla="*/ 2147483647 h 732"/>
                  <a:gd name="T4" fmla="*/ 2147483647 w 648"/>
                  <a:gd name="T5" fmla="*/ 2147483647 h 732"/>
                  <a:gd name="T6" fmla="*/ 2147483647 w 648"/>
                  <a:gd name="T7" fmla="*/ 2147483647 h 732"/>
                  <a:gd name="T8" fmla="*/ 2147483647 w 648"/>
                  <a:gd name="T9" fmla="*/ 2147483647 h 732"/>
                  <a:gd name="T10" fmla="*/ 2147483647 w 648"/>
                  <a:gd name="T11" fmla="*/ 2147483647 h 732"/>
                  <a:gd name="T12" fmla="*/ 2147483647 w 648"/>
                  <a:gd name="T13" fmla="*/ 2147483647 h 732"/>
                  <a:gd name="T14" fmla="*/ 2147483647 w 648"/>
                  <a:gd name="T15" fmla="*/ 2147483647 h 732"/>
                  <a:gd name="T16" fmla="*/ 2147483647 w 648"/>
                  <a:gd name="T17" fmla="*/ 2147483647 h 732"/>
                  <a:gd name="T18" fmla="*/ 2147483647 w 648"/>
                  <a:gd name="T19" fmla="*/ 2147483647 h 732"/>
                  <a:gd name="T20" fmla="*/ 2147483647 w 648"/>
                  <a:gd name="T21" fmla="*/ 2147483647 h 732"/>
                  <a:gd name="T22" fmla="*/ 2147483647 w 648"/>
                  <a:gd name="T23" fmla="*/ 2147483647 h 732"/>
                  <a:gd name="T24" fmla="*/ 2147483647 w 648"/>
                  <a:gd name="T25" fmla="*/ 2147483647 h 732"/>
                  <a:gd name="T26" fmla="*/ 2147483647 w 648"/>
                  <a:gd name="T27" fmla="*/ 2147483647 h 732"/>
                  <a:gd name="T28" fmla="*/ 2147483647 w 648"/>
                  <a:gd name="T29" fmla="*/ 2147483647 h 732"/>
                  <a:gd name="T30" fmla="*/ 2147483647 w 648"/>
                  <a:gd name="T31" fmla="*/ 2147483647 h 732"/>
                  <a:gd name="T32" fmla="*/ 2147483647 w 648"/>
                  <a:gd name="T33" fmla="*/ 2147483647 h 732"/>
                  <a:gd name="T34" fmla="*/ 2147483647 w 648"/>
                  <a:gd name="T35" fmla="*/ 2147483647 h 732"/>
                  <a:gd name="T36" fmla="*/ 2147483647 w 648"/>
                  <a:gd name="T37" fmla="*/ 2147483647 h 732"/>
                  <a:gd name="T38" fmla="*/ 2147483647 w 648"/>
                  <a:gd name="T39" fmla="*/ 2147483647 h 732"/>
                  <a:gd name="T40" fmla="*/ 2147483647 w 648"/>
                  <a:gd name="T41" fmla="*/ 2147483647 h 732"/>
                  <a:gd name="T42" fmla="*/ 2147483647 w 648"/>
                  <a:gd name="T43" fmla="*/ 2147483647 h 732"/>
                  <a:gd name="T44" fmla="*/ 2147483647 w 648"/>
                  <a:gd name="T45" fmla="*/ 2147483647 h 732"/>
                  <a:gd name="T46" fmla="*/ 2147483647 w 648"/>
                  <a:gd name="T47" fmla="*/ 2147483647 h 732"/>
                  <a:gd name="T48" fmla="*/ 2147483647 w 648"/>
                  <a:gd name="T49" fmla="*/ 2147483647 h 732"/>
                  <a:gd name="T50" fmla="*/ 2147483647 w 648"/>
                  <a:gd name="T51" fmla="*/ 2147483647 h 732"/>
                  <a:gd name="T52" fmla="*/ 2147483647 w 648"/>
                  <a:gd name="T53" fmla="*/ 2147483647 h 732"/>
                  <a:gd name="T54" fmla="*/ 2147483647 w 648"/>
                  <a:gd name="T55" fmla="*/ 2147483647 h 732"/>
                  <a:gd name="T56" fmla="*/ 2147483647 w 648"/>
                  <a:gd name="T57" fmla="*/ 2147483647 h 732"/>
                  <a:gd name="T58" fmla="*/ 2147483647 w 648"/>
                  <a:gd name="T59" fmla="*/ 2147483647 h 732"/>
                  <a:gd name="T60" fmla="*/ 2147483647 w 648"/>
                  <a:gd name="T61" fmla="*/ 2147483647 h 732"/>
                  <a:gd name="T62" fmla="*/ 2147483647 w 648"/>
                  <a:gd name="T63" fmla="*/ 2147483647 h 732"/>
                  <a:gd name="T64" fmla="*/ 2147483647 w 648"/>
                  <a:gd name="T65" fmla="*/ 2147483647 h 732"/>
                  <a:gd name="T66" fmla="*/ 2147483647 w 648"/>
                  <a:gd name="T67" fmla="*/ 2147483647 h 732"/>
                  <a:gd name="T68" fmla="*/ 2147483647 w 648"/>
                  <a:gd name="T69" fmla="*/ 2147483647 h 732"/>
                  <a:gd name="T70" fmla="*/ 2147483647 w 648"/>
                  <a:gd name="T71" fmla="*/ 2147483647 h 732"/>
                  <a:gd name="T72" fmla="*/ 2147483647 w 648"/>
                  <a:gd name="T73" fmla="*/ 2147483647 h 732"/>
                  <a:gd name="T74" fmla="*/ 2147483647 w 648"/>
                  <a:gd name="T75" fmla="*/ 2147483647 h 732"/>
                  <a:gd name="T76" fmla="*/ 2147483647 w 648"/>
                  <a:gd name="T77" fmla="*/ 2147483647 h 732"/>
                  <a:gd name="T78" fmla="*/ 2147483647 w 648"/>
                  <a:gd name="T79" fmla="*/ 2147483647 h 732"/>
                  <a:gd name="T80" fmla="*/ 2147483647 w 648"/>
                  <a:gd name="T81" fmla="*/ 2147483647 h 732"/>
                  <a:gd name="T82" fmla="*/ 2147483647 w 648"/>
                  <a:gd name="T83" fmla="*/ 2147483647 h 732"/>
                  <a:gd name="T84" fmla="*/ 2147483647 w 648"/>
                  <a:gd name="T85" fmla="*/ 2147483647 h 732"/>
                  <a:gd name="T86" fmla="*/ 2147483647 w 648"/>
                  <a:gd name="T87" fmla="*/ 2147483647 h 732"/>
                  <a:gd name="T88" fmla="*/ 2147483647 w 648"/>
                  <a:gd name="T89" fmla="*/ 2147483647 h 732"/>
                  <a:gd name="T90" fmla="*/ 2147483647 w 648"/>
                  <a:gd name="T91" fmla="*/ 2147483647 h 732"/>
                  <a:gd name="T92" fmla="*/ 2147483647 w 648"/>
                  <a:gd name="T93" fmla="*/ 2147483647 h 732"/>
                  <a:gd name="T94" fmla="*/ 2147483647 w 648"/>
                  <a:gd name="T95" fmla="*/ 0 h 732"/>
                  <a:gd name="T96" fmla="*/ 2147483647 w 648"/>
                  <a:gd name="T97" fmla="*/ 2147483647 h 732"/>
                  <a:gd name="T98" fmla="*/ 2147483647 w 648"/>
                  <a:gd name="T99" fmla="*/ 2147483647 h 732"/>
                  <a:gd name="T100" fmla="*/ 2147483647 w 648"/>
                  <a:gd name="T101" fmla="*/ 2147483647 h 732"/>
                  <a:gd name="T102" fmla="*/ 2147483647 w 648"/>
                  <a:gd name="T103" fmla="*/ 2147483647 h 732"/>
                  <a:gd name="T104" fmla="*/ 2147483647 w 648"/>
                  <a:gd name="T105" fmla="*/ 2147483647 h 732"/>
                  <a:gd name="T106" fmla="*/ 2147483647 w 648"/>
                  <a:gd name="T107" fmla="*/ 2147483647 h 732"/>
                  <a:gd name="T108" fmla="*/ 2147483647 w 648"/>
                  <a:gd name="T109" fmla="*/ 2147483647 h 732"/>
                  <a:gd name="T110" fmla="*/ 2147483647 w 648"/>
                  <a:gd name="T111" fmla="*/ 2147483647 h 732"/>
                  <a:gd name="T112" fmla="*/ 2147483647 w 648"/>
                  <a:gd name="T113" fmla="*/ 2147483647 h 732"/>
                  <a:gd name="T114" fmla="*/ 0 w 648"/>
                  <a:gd name="T115" fmla="*/ 2147483647 h 73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648"/>
                  <a:gd name="T175" fmla="*/ 0 h 732"/>
                  <a:gd name="T176" fmla="*/ 648 w 648"/>
                  <a:gd name="T177" fmla="*/ 732 h 73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648" h="732">
                    <a:moveTo>
                      <a:pt x="0" y="570"/>
                    </a:moveTo>
                    <a:lnTo>
                      <a:pt x="12" y="576"/>
                    </a:lnTo>
                    <a:lnTo>
                      <a:pt x="18" y="582"/>
                    </a:lnTo>
                    <a:lnTo>
                      <a:pt x="30" y="588"/>
                    </a:lnTo>
                    <a:lnTo>
                      <a:pt x="36" y="594"/>
                    </a:lnTo>
                    <a:lnTo>
                      <a:pt x="42" y="612"/>
                    </a:lnTo>
                    <a:lnTo>
                      <a:pt x="48" y="624"/>
                    </a:lnTo>
                    <a:lnTo>
                      <a:pt x="48" y="642"/>
                    </a:lnTo>
                    <a:lnTo>
                      <a:pt x="54" y="648"/>
                    </a:lnTo>
                    <a:lnTo>
                      <a:pt x="54" y="672"/>
                    </a:lnTo>
                    <a:lnTo>
                      <a:pt x="48" y="684"/>
                    </a:lnTo>
                    <a:lnTo>
                      <a:pt x="48" y="690"/>
                    </a:lnTo>
                    <a:lnTo>
                      <a:pt x="42" y="702"/>
                    </a:lnTo>
                    <a:lnTo>
                      <a:pt x="42" y="732"/>
                    </a:lnTo>
                    <a:lnTo>
                      <a:pt x="120" y="732"/>
                    </a:lnTo>
                    <a:lnTo>
                      <a:pt x="120" y="714"/>
                    </a:lnTo>
                    <a:lnTo>
                      <a:pt x="144" y="714"/>
                    </a:lnTo>
                    <a:lnTo>
                      <a:pt x="144" y="708"/>
                    </a:lnTo>
                    <a:lnTo>
                      <a:pt x="150" y="702"/>
                    </a:lnTo>
                    <a:lnTo>
                      <a:pt x="156" y="690"/>
                    </a:lnTo>
                    <a:lnTo>
                      <a:pt x="162" y="684"/>
                    </a:lnTo>
                    <a:lnTo>
                      <a:pt x="168" y="684"/>
                    </a:lnTo>
                    <a:lnTo>
                      <a:pt x="174" y="678"/>
                    </a:lnTo>
                    <a:lnTo>
                      <a:pt x="186" y="678"/>
                    </a:lnTo>
                    <a:lnTo>
                      <a:pt x="186" y="654"/>
                    </a:lnTo>
                    <a:lnTo>
                      <a:pt x="192" y="642"/>
                    </a:lnTo>
                    <a:lnTo>
                      <a:pt x="192" y="630"/>
                    </a:lnTo>
                    <a:lnTo>
                      <a:pt x="198" y="618"/>
                    </a:lnTo>
                    <a:lnTo>
                      <a:pt x="204" y="612"/>
                    </a:lnTo>
                    <a:lnTo>
                      <a:pt x="216" y="606"/>
                    </a:lnTo>
                    <a:lnTo>
                      <a:pt x="228" y="606"/>
                    </a:lnTo>
                    <a:lnTo>
                      <a:pt x="240" y="612"/>
                    </a:lnTo>
                    <a:lnTo>
                      <a:pt x="246" y="618"/>
                    </a:lnTo>
                    <a:lnTo>
                      <a:pt x="258" y="624"/>
                    </a:lnTo>
                    <a:lnTo>
                      <a:pt x="270" y="636"/>
                    </a:lnTo>
                    <a:lnTo>
                      <a:pt x="300" y="636"/>
                    </a:lnTo>
                    <a:lnTo>
                      <a:pt x="306" y="642"/>
                    </a:lnTo>
                    <a:lnTo>
                      <a:pt x="318" y="648"/>
                    </a:lnTo>
                    <a:lnTo>
                      <a:pt x="324" y="654"/>
                    </a:lnTo>
                    <a:lnTo>
                      <a:pt x="336" y="654"/>
                    </a:lnTo>
                    <a:lnTo>
                      <a:pt x="348" y="648"/>
                    </a:lnTo>
                    <a:lnTo>
                      <a:pt x="354" y="642"/>
                    </a:lnTo>
                    <a:lnTo>
                      <a:pt x="360" y="648"/>
                    </a:lnTo>
                    <a:lnTo>
                      <a:pt x="372" y="648"/>
                    </a:lnTo>
                    <a:lnTo>
                      <a:pt x="384" y="642"/>
                    </a:lnTo>
                    <a:lnTo>
                      <a:pt x="390" y="636"/>
                    </a:lnTo>
                    <a:lnTo>
                      <a:pt x="396" y="624"/>
                    </a:lnTo>
                    <a:lnTo>
                      <a:pt x="402" y="606"/>
                    </a:lnTo>
                    <a:lnTo>
                      <a:pt x="408" y="594"/>
                    </a:lnTo>
                    <a:lnTo>
                      <a:pt x="408" y="582"/>
                    </a:lnTo>
                    <a:lnTo>
                      <a:pt x="426" y="564"/>
                    </a:lnTo>
                    <a:lnTo>
                      <a:pt x="444" y="558"/>
                    </a:lnTo>
                    <a:lnTo>
                      <a:pt x="456" y="552"/>
                    </a:lnTo>
                    <a:lnTo>
                      <a:pt x="462" y="546"/>
                    </a:lnTo>
                    <a:lnTo>
                      <a:pt x="468" y="534"/>
                    </a:lnTo>
                    <a:lnTo>
                      <a:pt x="480" y="528"/>
                    </a:lnTo>
                    <a:lnTo>
                      <a:pt x="480" y="492"/>
                    </a:lnTo>
                    <a:lnTo>
                      <a:pt x="492" y="468"/>
                    </a:lnTo>
                    <a:lnTo>
                      <a:pt x="504" y="462"/>
                    </a:lnTo>
                    <a:lnTo>
                      <a:pt x="510" y="462"/>
                    </a:lnTo>
                    <a:lnTo>
                      <a:pt x="522" y="456"/>
                    </a:lnTo>
                    <a:lnTo>
                      <a:pt x="564" y="414"/>
                    </a:lnTo>
                    <a:lnTo>
                      <a:pt x="576" y="390"/>
                    </a:lnTo>
                    <a:lnTo>
                      <a:pt x="582" y="384"/>
                    </a:lnTo>
                    <a:lnTo>
                      <a:pt x="594" y="384"/>
                    </a:lnTo>
                    <a:lnTo>
                      <a:pt x="606" y="378"/>
                    </a:lnTo>
                    <a:lnTo>
                      <a:pt x="618" y="378"/>
                    </a:lnTo>
                    <a:lnTo>
                      <a:pt x="630" y="354"/>
                    </a:lnTo>
                    <a:lnTo>
                      <a:pt x="648" y="354"/>
                    </a:lnTo>
                    <a:lnTo>
                      <a:pt x="648" y="348"/>
                    </a:lnTo>
                    <a:lnTo>
                      <a:pt x="642" y="336"/>
                    </a:lnTo>
                    <a:lnTo>
                      <a:pt x="624" y="318"/>
                    </a:lnTo>
                    <a:lnTo>
                      <a:pt x="606" y="312"/>
                    </a:lnTo>
                    <a:lnTo>
                      <a:pt x="594" y="312"/>
                    </a:lnTo>
                    <a:lnTo>
                      <a:pt x="576" y="306"/>
                    </a:lnTo>
                    <a:lnTo>
                      <a:pt x="564" y="306"/>
                    </a:lnTo>
                    <a:lnTo>
                      <a:pt x="564" y="276"/>
                    </a:lnTo>
                    <a:lnTo>
                      <a:pt x="546" y="276"/>
                    </a:lnTo>
                    <a:lnTo>
                      <a:pt x="546" y="246"/>
                    </a:lnTo>
                    <a:lnTo>
                      <a:pt x="552" y="240"/>
                    </a:lnTo>
                    <a:lnTo>
                      <a:pt x="546" y="216"/>
                    </a:lnTo>
                    <a:lnTo>
                      <a:pt x="516" y="216"/>
                    </a:lnTo>
                    <a:lnTo>
                      <a:pt x="516" y="186"/>
                    </a:lnTo>
                    <a:lnTo>
                      <a:pt x="510" y="180"/>
                    </a:lnTo>
                    <a:lnTo>
                      <a:pt x="480" y="180"/>
                    </a:lnTo>
                    <a:lnTo>
                      <a:pt x="462" y="162"/>
                    </a:lnTo>
                    <a:lnTo>
                      <a:pt x="450" y="156"/>
                    </a:lnTo>
                    <a:lnTo>
                      <a:pt x="432" y="120"/>
                    </a:lnTo>
                    <a:lnTo>
                      <a:pt x="432" y="96"/>
                    </a:lnTo>
                    <a:lnTo>
                      <a:pt x="426" y="90"/>
                    </a:lnTo>
                    <a:lnTo>
                      <a:pt x="414" y="66"/>
                    </a:lnTo>
                    <a:lnTo>
                      <a:pt x="408" y="60"/>
                    </a:lnTo>
                    <a:lnTo>
                      <a:pt x="396" y="60"/>
                    </a:lnTo>
                    <a:lnTo>
                      <a:pt x="396" y="30"/>
                    </a:lnTo>
                    <a:lnTo>
                      <a:pt x="384" y="18"/>
                    </a:lnTo>
                    <a:lnTo>
                      <a:pt x="378" y="0"/>
                    </a:lnTo>
                    <a:lnTo>
                      <a:pt x="342" y="6"/>
                    </a:lnTo>
                    <a:lnTo>
                      <a:pt x="330" y="18"/>
                    </a:lnTo>
                    <a:lnTo>
                      <a:pt x="306" y="18"/>
                    </a:lnTo>
                    <a:lnTo>
                      <a:pt x="264" y="60"/>
                    </a:lnTo>
                    <a:lnTo>
                      <a:pt x="258" y="60"/>
                    </a:lnTo>
                    <a:lnTo>
                      <a:pt x="258" y="42"/>
                    </a:lnTo>
                    <a:lnTo>
                      <a:pt x="252" y="42"/>
                    </a:lnTo>
                    <a:lnTo>
                      <a:pt x="252" y="24"/>
                    </a:lnTo>
                    <a:lnTo>
                      <a:pt x="246" y="18"/>
                    </a:lnTo>
                    <a:lnTo>
                      <a:pt x="228" y="18"/>
                    </a:lnTo>
                    <a:lnTo>
                      <a:pt x="216" y="24"/>
                    </a:lnTo>
                    <a:lnTo>
                      <a:pt x="168" y="36"/>
                    </a:lnTo>
                    <a:lnTo>
                      <a:pt x="132" y="36"/>
                    </a:lnTo>
                    <a:lnTo>
                      <a:pt x="114" y="42"/>
                    </a:lnTo>
                    <a:lnTo>
                      <a:pt x="78" y="42"/>
                    </a:lnTo>
                    <a:lnTo>
                      <a:pt x="78" y="216"/>
                    </a:lnTo>
                    <a:lnTo>
                      <a:pt x="72" y="222"/>
                    </a:lnTo>
                    <a:lnTo>
                      <a:pt x="78" y="348"/>
                    </a:lnTo>
                    <a:lnTo>
                      <a:pt x="6" y="348"/>
                    </a:lnTo>
                    <a:lnTo>
                      <a:pt x="0" y="57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5" name="Austral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3FE3855-A59C-4CF0-B4BD-57923A38830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979146" y="4905577"/>
                <a:ext cx="1257967" cy="1195702"/>
              </a:xfrm>
              <a:custGeom>
                <a:avLst/>
                <a:gdLst>
                  <a:gd name="T0" fmla="*/ 2147483647 w 2838"/>
                  <a:gd name="T1" fmla="*/ 2147483647 h 2664"/>
                  <a:gd name="T2" fmla="*/ 2147483647 w 2838"/>
                  <a:gd name="T3" fmla="*/ 2147483647 h 2664"/>
                  <a:gd name="T4" fmla="*/ 2147483647 w 2838"/>
                  <a:gd name="T5" fmla="*/ 2147483647 h 2664"/>
                  <a:gd name="T6" fmla="*/ 2147483647 w 2838"/>
                  <a:gd name="T7" fmla="*/ 2147483647 h 2664"/>
                  <a:gd name="T8" fmla="*/ 2147483647 w 2838"/>
                  <a:gd name="T9" fmla="*/ 2147483647 h 2664"/>
                  <a:gd name="T10" fmla="*/ 2147483647 w 2838"/>
                  <a:gd name="T11" fmla="*/ 2147483647 h 2664"/>
                  <a:gd name="T12" fmla="*/ 2147483647 w 2838"/>
                  <a:gd name="T13" fmla="*/ 2147483647 h 2664"/>
                  <a:gd name="T14" fmla="*/ 2147483647 w 2838"/>
                  <a:gd name="T15" fmla="*/ 2147483647 h 2664"/>
                  <a:gd name="T16" fmla="*/ 2147483647 w 2838"/>
                  <a:gd name="T17" fmla="*/ 2147483647 h 2664"/>
                  <a:gd name="T18" fmla="*/ 2147483647 w 2838"/>
                  <a:gd name="T19" fmla="*/ 2147483647 h 2664"/>
                  <a:gd name="T20" fmla="*/ 2147483647 w 2838"/>
                  <a:gd name="T21" fmla="*/ 2147483647 h 2664"/>
                  <a:gd name="T22" fmla="*/ 2147483647 w 2838"/>
                  <a:gd name="T23" fmla="*/ 2147483647 h 2664"/>
                  <a:gd name="T24" fmla="*/ 2147483647 w 2838"/>
                  <a:gd name="T25" fmla="*/ 2147483647 h 2664"/>
                  <a:gd name="T26" fmla="*/ 2147483647 w 2838"/>
                  <a:gd name="T27" fmla="*/ 2147483647 h 2664"/>
                  <a:gd name="T28" fmla="*/ 2147483647 w 2838"/>
                  <a:gd name="T29" fmla="*/ 2147483647 h 2664"/>
                  <a:gd name="T30" fmla="*/ 2147483647 w 2838"/>
                  <a:gd name="T31" fmla="*/ 2147483647 h 2664"/>
                  <a:gd name="T32" fmla="*/ 2147483647 w 2838"/>
                  <a:gd name="T33" fmla="*/ 2147483647 h 2664"/>
                  <a:gd name="T34" fmla="*/ 2147483647 w 2838"/>
                  <a:gd name="T35" fmla="*/ 2147483647 h 2664"/>
                  <a:gd name="T36" fmla="*/ 2147483647 w 2838"/>
                  <a:gd name="T37" fmla="*/ 2147483647 h 2664"/>
                  <a:gd name="T38" fmla="*/ 2147483647 w 2838"/>
                  <a:gd name="T39" fmla="*/ 2147483647 h 2664"/>
                  <a:gd name="T40" fmla="*/ 2147483647 w 2838"/>
                  <a:gd name="T41" fmla="*/ 2147483647 h 2664"/>
                  <a:gd name="T42" fmla="*/ 2147483647 w 2838"/>
                  <a:gd name="T43" fmla="*/ 2147483647 h 2664"/>
                  <a:gd name="T44" fmla="*/ 2147483647 w 2838"/>
                  <a:gd name="T45" fmla="*/ 2147483647 h 2664"/>
                  <a:gd name="T46" fmla="*/ 2147483647 w 2838"/>
                  <a:gd name="T47" fmla="*/ 2147483647 h 2664"/>
                  <a:gd name="T48" fmla="*/ 2147483647 w 2838"/>
                  <a:gd name="T49" fmla="*/ 2147483647 h 2664"/>
                  <a:gd name="T50" fmla="*/ 2147483647 w 2838"/>
                  <a:gd name="T51" fmla="*/ 2147483647 h 2664"/>
                  <a:gd name="T52" fmla="*/ 2147483647 w 2838"/>
                  <a:gd name="T53" fmla="*/ 2147483647 h 2664"/>
                  <a:gd name="T54" fmla="*/ 2147483647 w 2838"/>
                  <a:gd name="T55" fmla="*/ 2147483647 h 2664"/>
                  <a:gd name="T56" fmla="*/ 2147483647 w 2838"/>
                  <a:gd name="T57" fmla="*/ 2147483647 h 2664"/>
                  <a:gd name="T58" fmla="*/ 2147483647 w 2838"/>
                  <a:gd name="T59" fmla="*/ 2147483647 h 2664"/>
                  <a:gd name="T60" fmla="*/ 2147483647 w 2838"/>
                  <a:gd name="T61" fmla="*/ 2147483647 h 2664"/>
                  <a:gd name="T62" fmla="*/ 2147483647 w 2838"/>
                  <a:gd name="T63" fmla="*/ 2147483647 h 2664"/>
                  <a:gd name="T64" fmla="*/ 2147483647 w 2838"/>
                  <a:gd name="T65" fmla="*/ 2147483647 h 2664"/>
                  <a:gd name="T66" fmla="*/ 2147483647 w 2838"/>
                  <a:gd name="T67" fmla="*/ 2147483647 h 2664"/>
                  <a:gd name="T68" fmla="*/ 2147483647 w 2838"/>
                  <a:gd name="T69" fmla="*/ 2147483647 h 2664"/>
                  <a:gd name="T70" fmla="*/ 2147483647 w 2838"/>
                  <a:gd name="T71" fmla="*/ 2147483647 h 2664"/>
                  <a:gd name="T72" fmla="*/ 2147483647 w 2838"/>
                  <a:gd name="T73" fmla="*/ 2147483647 h 2664"/>
                  <a:gd name="T74" fmla="*/ 2147483647 w 2838"/>
                  <a:gd name="T75" fmla="*/ 2147483647 h 2664"/>
                  <a:gd name="T76" fmla="*/ 2147483647 w 2838"/>
                  <a:gd name="T77" fmla="*/ 2147483647 h 2664"/>
                  <a:gd name="T78" fmla="*/ 2147483647 w 2838"/>
                  <a:gd name="T79" fmla="*/ 2147483647 h 2664"/>
                  <a:gd name="T80" fmla="*/ 2147483647 w 2838"/>
                  <a:gd name="T81" fmla="*/ 2147483647 h 2664"/>
                  <a:gd name="T82" fmla="*/ 2147483647 w 2838"/>
                  <a:gd name="T83" fmla="*/ 2147483647 h 2664"/>
                  <a:gd name="T84" fmla="*/ 2147483647 w 2838"/>
                  <a:gd name="T85" fmla="*/ 2147483647 h 2664"/>
                  <a:gd name="T86" fmla="*/ 2147483647 w 2838"/>
                  <a:gd name="T87" fmla="*/ 2147483647 h 2664"/>
                  <a:gd name="T88" fmla="*/ 2147483647 w 2838"/>
                  <a:gd name="T89" fmla="*/ 2147483647 h 2664"/>
                  <a:gd name="T90" fmla="*/ 2147483647 w 2838"/>
                  <a:gd name="T91" fmla="*/ 2147483647 h 2664"/>
                  <a:gd name="T92" fmla="*/ 2147483647 w 2838"/>
                  <a:gd name="T93" fmla="*/ 2147483647 h 2664"/>
                  <a:gd name="T94" fmla="*/ 2147483647 w 2838"/>
                  <a:gd name="T95" fmla="*/ 2147483647 h 2664"/>
                  <a:gd name="T96" fmla="*/ 2147483647 w 2838"/>
                  <a:gd name="T97" fmla="*/ 2147483647 h 2664"/>
                  <a:gd name="T98" fmla="*/ 2147483647 w 2838"/>
                  <a:gd name="T99" fmla="*/ 2147483647 h 2664"/>
                  <a:gd name="T100" fmla="*/ 2147483647 w 2838"/>
                  <a:gd name="T101" fmla="*/ 2147483647 h 2664"/>
                  <a:gd name="T102" fmla="*/ 2147483647 w 2838"/>
                  <a:gd name="T103" fmla="*/ 2147483647 h 2664"/>
                  <a:gd name="T104" fmla="*/ 2147483647 w 2838"/>
                  <a:gd name="T105" fmla="*/ 2147483647 h 2664"/>
                  <a:gd name="T106" fmla="*/ 2147483647 w 2838"/>
                  <a:gd name="T107" fmla="*/ 2147483647 h 2664"/>
                  <a:gd name="T108" fmla="*/ 2147483647 w 2838"/>
                  <a:gd name="T109" fmla="*/ 2147483647 h 2664"/>
                  <a:gd name="T110" fmla="*/ 2147483647 w 2838"/>
                  <a:gd name="T111" fmla="*/ 2147483647 h 2664"/>
                  <a:gd name="T112" fmla="*/ 2147483647 w 2838"/>
                  <a:gd name="T113" fmla="*/ 2147483647 h 2664"/>
                  <a:gd name="T114" fmla="*/ 2147483647 w 2838"/>
                  <a:gd name="T115" fmla="*/ 2147483647 h 2664"/>
                  <a:gd name="T116" fmla="*/ 2147483647 w 2838"/>
                  <a:gd name="T117" fmla="*/ 2147483647 h 266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838"/>
                  <a:gd name="T178" fmla="*/ 0 h 2664"/>
                  <a:gd name="T179" fmla="*/ 2838 w 2838"/>
                  <a:gd name="T180" fmla="*/ 2664 h 266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838" h="2664">
                    <a:moveTo>
                      <a:pt x="1530" y="66"/>
                    </a:moveTo>
                    <a:lnTo>
                      <a:pt x="1524" y="60"/>
                    </a:lnTo>
                    <a:lnTo>
                      <a:pt x="1518" y="60"/>
                    </a:lnTo>
                    <a:lnTo>
                      <a:pt x="1506" y="66"/>
                    </a:lnTo>
                    <a:lnTo>
                      <a:pt x="1500" y="72"/>
                    </a:lnTo>
                    <a:lnTo>
                      <a:pt x="1494" y="84"/>
                    </a:lnTo>
                    <a:lnTo>
                      <a:pt x="1494" y="102"/>
                    </a:lnTo>
                    <a:lnTo>
                      <a:pt x="1506" y="102"/>
                    </a:lnTo>
                    <a:lnTo>
                      <a:pt x="1512" y="90"/>
                    </a:lnTo>
                    <a:lnTo>
                      <a:pt x="1524" y="78"/>
                    </a:lnTo>
                    <a:lnTo>
                      <a:pt x="1530" y="66"/>
                    </a:lnTo>
                    <a:close/>
                    <a:moveTo>
                      <a:pt x="1476" y="2016"/>
                    </a:moveTo>
                    <a:lnTo>
                      <a:pt x="1464" y="2016"/>
                    </a:lnTo>
                    <a:lnTo>
                      <a:pt x="1440" y="2028"/>
                    </a:lnTo>
                    <a:lnTo>
                      <a:pt x="1440" y="2034"/>
                    </a:lnTo>
                    <a:lnTo>
                      <a:pt x="1452" y="2046"/>
                    </a:lnTo>
                    <a:lnTo>
                      <a:pt x="1452" y="2052"/>
                    </a:lnTo>
                    <a:lnTo>
                      <a:pt x="1470" y="2052"/>
                    </a:lnTo>
                    <a:lnTo>
                      <a:pt x="1482" y="2046"/>
                    </a:lnTo>
                    <a:lnTo>
                      <a:pt x="1488" y="2040"/>
                    </a:lnTo>
                    <a:lnTo>
                      <a:pt x="1506" y="2040"/>
                    </a:lnTo>
                    <a:lnTo>
                      <a:pt x="1512" y="2034"/>
                    </a:lnTo>
                    <a:lnTo>
                      <a:pt x="1530" y="2034"/>
                    </a:lnTo>
                    <a:lnTo>
                      <a:pt x="1536" y="2028"/>
                    </a:lnTo>
                    <a:lnTo>
                      <a:pt x="1512" y="2028"/>
                    </a:lnTo>
                    <a:lnTo>
                      <a:pt x="1500" y="2016"/>
                    </a:lnTo>
                    <a:lnTo>
                      <a:pt x="1476" y="2016"/>
                    </a:lnTo>
                    <a:close/>
                    <a:moveTo>
                      <a:pt x="2802" y="1164"/>
                    </a:moveTo>
                    <a:lnTo>
                      <a:pt x="2802" y="1134"/>
                    </a:lnTo>
                    <a:lnTo>
                      <a:pt x="2796" y="1116"/>
                    </a:lnTo>
                    <a:lnTo>
                      <a:pt x="2796" y="1092"/>
                    </a:lnTo>
                    <a:lnTo>
                      <a:pt x="2790" y="1086"/>
                    </a:lnTo>
                    <a:lnTo>
                      <a:pt x="2778" y="1086"/>
                    </a:lnTo>
                    <a:lnTo>
                      <a:pt x="2772" y="1080"/>
                    </a:lnTo>
                    <a:lnTo>
                      <a:pt x="2760" y="1080"/>
                    </a:lnTo>
                    <a:lnTo>
                      <a:pt x="2760" y="1062"/>
                    </a:lnTo>
                    <a:lnTo>
                      <a:pt x="2742" y="1050"/>
                    </a:lnTo>
                    <a:lnTo>
                      <a:pt x="2742" y="1014"/>
                    </a:lnTo>
                    <a:lnTo>
                      <a:pt x="2736" y="1008"/>
                    </a:lnTo>
                    <a:lnTo>
                      <a:pt x="2724" y="1002"/>
                    </a:lnTo>
                    <a:lnTo>
                      <a:pt x="2718" y="996"/>
                    </a:lnTo>
                    <a:lnTo>
                      <a:pt x="2706" y="996"/>
                    </a:lnTo>
                    <a:lnTo>
                      <a:pt x="2712" y="996"/>
                    </a:lnTo>
                    <a:lnTo>
                      <a:pt x="2718" y="990"/>
                    </a:lnTo>
                    <a:lnTo>
                      <a:pt x="2730" y="990"/>
                    </a:lnTo>
                    <a:lnTo>
                      <a:pt x="2742" y="984"/>
                    </a:lnTo>
                    <a:lnTo>
                      <a:pt x="2760" y="966"/>
                    </a:lnTo>
                    <a:lnTo>
                      <a:pt x="2754" y="954"/>
                    </a:lnTo>
                    <a:lnTo>
                      <a:pt x="2736" y="936"/>
                    </a:lnTo>
                    <a:lnTo>
                      <a:pt x="2730" y="936"/>
                    </a:lnTo>
                    <a:lnTo>
                      <a:pt x="2730" y="930"/>
                    </a:lnTo>
                    <a:lnTo>
                      <a:pt x="2712" y="912"/>
                    </a:lnTo>
                    <a:lnTo>
                      <a:pt x="2700" y="906"/>
                    </a:lnTo>
                    <a:lnTo>
                      <a:pt x="2694" y="912"/>
                    </a:lnTo>
                    <a:lnTo>
                      <a:pt x="2694" y="936"/>
                    </a:lnTo>
                    <a:lnTo>
                      <a:pt x="2670" y="930"/>
                    </a:lnTo>
                    <a:lnTo>
                      <a:pt x="2670" y="924"/>
                    </a:lnTo>
                    <a:lnTo>
                      <a:pt x="2676" y="918"/>
                    </a:lnTo>
                    <a:lnTo>
                      <a:pt x="2676" y="906"/>
                    </a:lnTo>
                    <a:lnTo>
                      <a:pt x="2682" y="894"/>
                    </a:lnTo>
                    <a:lnTo>
                      <a:pt x="2688" y="876"/>
                    </a:lnTo>
                    <a:lnTo>
                      <a:pt x="2688" y="858"/>
                    </a:lnTo>
                    <a:lnTo>
                      <a:pt x="2682" y="852"/>
                    </a:lnTo>
                    <a:lnTo>
                      <a:pt x="2676" y="840"/>
                    </a:lnTo>
                    <a:lnTo>
                      <a:pt x="2670" y="840"/>
                    </a:lnTo>
                    <a:lnTo>
                      <a:pt x="2652" y="822"/>
                    </a:lnTo>
                    <a:lnTo>
                      <a:pt x="2652" y="816"/>
                    </a:lnTo>
                    <a:lnTo>
                      <a:pt x="2658" y="804"/>
                    </a:lnTo>
                    <a:lnTo>
                      <a:pt x="2658" y="792"/>
                    </a:lnTo>
                    <a:lnTo>
                      <a:pt x="2664" y="774"/>
                    </a:lnTo>
                    <a:lnTo>
                      <a:pt x="2664" y="762"/>
                    </a:lnTo>
                    <a:lnTo>
                      <a:pt x="2652" y="750"/>
                    </a:lnTo>
                    <a:lnTo>
                      <a:pt x="2628" y="732"/>
                    </a:lnTo>
                    <a:lnTo>
                      <a:pt x="2598" y="720"/>
                    </a:lnTo>
                    <a:lnTo>
                      <a:pt x="2580" y="708"/>
                    </a:lnTo>
                    <a:lnTo>
                      <a:pt x="2568" y="702"/>
                    </a:lnTo>
                    <a:lnTo>
                      <a:pt x="2556" y="708"/>
                    </a:lnTo>
                    <a:lnTo>
                      <a:pt x="2550" y="696"/>
                    </a:lnTo>
                    <a:lnTo>
                      <a:pt x="2538" y="684"/>
                    </a:lnTo>
                    <a:lnTo>
                      <a:pt x="2532" y="672"/>
                    </a:lnTo>
                    <a:lnTo>
                      <a:pt x="2520" y="660"/>
                    </a:lnTo>
                    <a:lnTo>
                      <a:pt x="2514" y="642"/>
                    </a:lnTo>
                    <a:lnTo>
                      <a:pt x="2514" y="594"/>
                    </a:lnTo>
                    <a:lnTo>
                      <a:pt x="2520" y="576"/>
                    </a:lnTo>
                    <a:lnTo>
                      <a:pt x="2526" y="564"/>
                    </a:lnTo>
                    <a:lnTo>
                      <a:pt x="2526" y="546"/>
                    </a:lnTo>
                    <a:lnTo>
                      <a:pt x="2520" y="504"/>
                    </a:lnTo>
                    <a:lnTo>
                      <a:pt x="2502" y="462"/>
                    </a:lnTo>
                    <a:lnTo>
                      <a:pt x="2490" y="426"/>
                    </a:lnTo>
                    <a:lnTo>
                      <a:pt x="2490" y="402"/>
                    </a:lnTo>
                    <a:lnTo>
                      <a:pt x="2496" y="390"/>
                    </a:lnTo>
                    <a:lnTo>
                      <a:pt x="2502" y="384"/>
                    </a:lnTo>
                    <a:lnTo>
                      <a:pt x="2502" y="324"/>
                    </a:lnTo>
                    <a:lnTo>
                      <a:pt x="2496" y="312"/>
                    </a:lnTo>
                    <a:lnTo>
                      <a:pt x="2496" y="300"/>
                    </a:lnTo>
                    <a:lnTo>
                      <a:pt x="2472" y="294"/>
                    </a:lnTo>
                    <a:lnTo>
                      <a:pt x="2460" y="288"/>
                    </a:lnTo>
                    <a:lnTo>
                      <a:pt x="2454" y="276"/>
                    </a:lnTo>
                    <a:lnTo>
                      <a:pt x="2442" y="270"/>
                    </a:lnTo>
                    <a:lnTo>
                      <a:pt x="2424" y="270"/>
                    </a:lnTo>
                    <a:lnTo>
                      <a:pt x="2418" y="282"/>
                    </a:lnTo>
                    <a:lnTo>
                      <a:pt x="2412" y="288"/>
                    </a:lnTo>
                    <a:lnTo>
                      <a:pt x="2412" y="282"/>
                    </a:lnTo>
                    <a:lnTo>
                      <a:pt x="2406" y="276"/>
                    </a:lnTo>
                    <a:lnTo>
                      <a:pt x="2400" y="264"/>
                    </a:lnTo>
                    <a:lnTo>
                      <a:pt x="2400" y="228"/>
                    </a:lnTo>
                    <a:lnTo>
                      <a:pt x="2406" y="216"/>
                    </a:lnTo>
                    <a:lnTo>
                      <a:pt x="2406" y="204"/>
                    </a:lnTo>
                    <a:lnTo>
                      <a:pt x="2388" y="180"/>
                    </a:lnTo>
                    <a:lnTo>
                      <a:pt x="2394" y="96"/>
                    </a:lnTo>
                    <a:lnTo>
                      <a:pt x="2382" y="90"/>
                    </a:lnTo>
                    <a:lnTo>
                      <a:pt x="2364" y="72"/>
                    </a:lnTo>
                    <a:lnTo>
                      <a:pt x="2364" y="66"/>
                    </a:lnTo>
                    <a:lnTo>
                      <a:pt x="2370" y="48"/>
                    </a:lnTo>
                    <a:lnTo>
                      <a:pt x="2370" y="24"/>
                    </a:lnTo>
                    <a:lnTo>
                      <a:pt x="2364" y="18"/>
                    </a:lnTo>
                    <a:lnTo>
                      <a:pt x="2346" y="18"/>
                    </a:lnTo>
                    <a:lnTo>
                      <a:pt x="2346" y="0"/>
                    </a:lnTo>
                    <a:lnTo>
                      <a:pt x="2316" y="12"/>
                    </a:lnTo>
                    <a:lnTo>
                      <a:pt x="2310" y="30"/>
                    </a:lnTo>
                    <a:lnTo>
                      <a:pt x="2298" y="36"/>
                    </a:lnTo>
                    <a:lnTo>
                      <a:pt x="2292" y="42"/>
                    </a:lnTo>
                    <a:lnTo>
                      <a:pt x="2280" y="48"/>
                    </a:lnTo>
                    <a:lnTo>
                      <a:pt x="2280" y="66"/>
                    </a:lnTo>
                    <a:lnTo>
                      <a:pt x="2286" y="78"/>
                    </a:lnTo>
                    <a:lnTo>
                      <a:pt x="2286" y="90"/>
                    </a:lnTo>
                    <a:lnTo>
                      <a:pt x="2292" y="102"/>
                    </a:lnTo>
                    <a:lnTo>
                      <a:pt x="2292" y="114"/>
                    </a:lnTo>
                    <a:lnTo>
                      <a:pt x="2286" y="126"/>
                    </a:lnTo>
                    <a:lnTo>
                      <a:pt x="2274" y="138"/>
                    </a:lnTo>
                    <a:lnTo>
                      <a:pt x="2268" y="150"/>
                    </a:lnTo>
                    <a:lnTo>
                      <a:pt x="2238" y="180"/>
                    </a:lnTo>
                    <a:lnTo>
                      <a:pt x="2256" y="192"/>
                    </a:lnTo>
                    <a:lnTo>
                      <a:pt x="2256" y="198"/>
                    </a:lnTo>
                    <a:lnTo>
                      <a:pt x="2250" y="204"/>
                    </a:lnTo>
                    <a:lnTo>
                      <a:pt x="2238" y="228"/>
                    </a:lnTo>
                    <a:lnTo>
                      <a:pt x="2232" y="234"/>
                    </a:lnTo>
                    <a:lnTo>
                      <a:pt x="2232" y="264"/>
                    </a:lnTo>
                    <a:lnTo>
                      <a:pt x="2238" y="276"/>
                    </a:lnTo>
                    <a:lnTo>
                      <a:pt x="2238" y="288"/>
                    </a:lnTo>
                    <a:lnTo>
                      <a:pt x="2232" y="300"/>
                    </a:lnTo>
                    <a:lnTo>
                      <a:pt x="2214" y="408"/>
                    </a:lnTo>
                    <a:lnTo>
                      <a:pt x="2208" y="432"/>
                    </a:lnTo>
                    <a:lnTo>
                      <a:pt x="2202" y="438"/>
                    </a:lnTo>
                    <a:lnTo>
                      <a:pt x="2190" y="462"/>
                    </a:lnTo>
                    <a:lnTo>
                      <a:pt x="2178" y="474"/>
                    </a:lnTo>
                    <a:lnTo>
                      <a:pt x="2172" y="486"/>
                    </a:lnTo>
                    <a:lnTo>
                      <a:pt x="2166" y="492"/>
                    </a:lnTo>
                    <a:lnTo>
                      <a:pt x="2166" y="516"/>
                    </a:lnTo>
                    <a:lnTo>
                      <a:pt x="2160" y="534"/>
                    </a:lnTo>
                    <a:lnTo>
                      <a:pt x="2154" y="546"/>
                    </a:lnTo>
                    <a:lnTo>
                      <a:pt x="2142" y="552"/>
                    </a:lnTo>
                    <a:lnTo>
                      <a:pt x="2088" y="570"/>
                    </a:lnTo>
                    <a:lnTo>
                      <a:pt x="2076" y="570"/>
                    </a:lnTo>
                    <a:lnTo>
                      <a:pt x="2064" y="576"/>
                    </a:lnTo>
                    <a:lnTo>
                      <a:pt x="2058" y="576"/>
                    </a:lnTo>
                    <a:lnTo>
                      <a:pt x="2058" y="570"/>
                    </a:lnTo>
                    <a:lnTo>
                      <a:pt x="2052" y="564"/>
                    </a:lnTo>
                    <a:lnTo>
                      <a:pt x="2028" y="516"/>
                    </a:lnTo>
                    <a:lnTo>
                      <a:pt x="2022" y="510"/>
                    </a:lnTo>
                    <a:lnTo>
                      <a:pt x="1998" y="492"/>
                    </a:lnTo>
                    <a:lnTo>
                      <a:pt x="1956" y="474"/>
                    </a:lnTo>
                    <a:lnTo>
                      <a:pt x="1920" y="462"/>
                    </a:lnTo>
                    <a:lnTo>
                      <a:pt x="1908" y="456"/>
                    </a:lnTo>
                    <a:lnTo>
                      <a:pt x="1896" y="438"/>
                    </a:lnTo>
                    <a:lnTo>
                      <a:pt x="1884" y="426"/>
                    </a:lnTo>
                    <a:lnTo>
                      <a:pt x="1872" y="402"/>
                    </a:lnTo>
                    <a:lnTo>
                      <a:pt x="1866" y="396"/>
                    </a:lnTo>
                    <a:lnTo>
                      <a:pt x="1830" y="396"/>
                    </a:lnTo>
                    <a:lnTo>
                      <a:pt x="1806" y="348"/>
                    </a:lnTo>
                    <a:lnTo>
                      <a:pt x="1824" y="330"/>
                    </a:lnTo>
                    <a:lnTo>
                      <a:pt x="1824" y="306"/>
                    </a:lnTo>
                    <a:lnTo>
                      <a:pt x="1830" y="294"/>
                    </a:lnTo>
                    <a:lnTo>
                      <a:pt x="1836" y="288"/>
                    </a:lnTo>
                    <a:lnTo>
                      <a:pt x="1848" y="282"/>
                    </a:lnTo>
                    <a:lnTo>
                      <a:pt x="1854" y="276"/>
                    </a:lnTo>
                    <a:lnTo>
                      <a:pt x="1848" y="228"/>
                    </a:lnTo>
                    <a:lnTo>
                      <a:pt x="1866" y="210"/>
                    </a:lnTo>
                    <a:lnTo>
                      <a:pt x="1872" y="216"/>
                    </a:lnTo>
                    <a:lnTo>
                      <a:pt x="1884" y="216"/>
                    </a:lnTo>
                    <a:lnTo>
                      <a:pt x="1890" y="222"/>
                    </a:lnTo>
                    <a:lnTo>
                      <a:pt x="1896" y="222"/>
                    </a:lnTo>
                    <a:lnTo>
                      <a:pt x="1902" y="216"/>
                    </a:lnTo>
                    <a:lnTo>
                      <a:pt x="1908" y="204"/>
                    </a:lnTo>
                    <a:lnTo>
                      <a:pt x="1908" y="180"/>
                    </a:lnTo>
                    <a:lnTo>
                      <a:pt x="1944" y="144"/>
                    </a:lnTo>
                    <a:lnTo>
                      <a:pt x="1938" y="132"/>
                    </a:lnTo>
                    <a:lnTo>
                      <a:pt x="1914" y="108"/>
                    </a:lnTo>
                    <a:lnTo>
                      <a:pt x="1890" y="108"/>
                    </a:lnTo>
                    <a:lnTo>
                      <a:pt x="1872" y="114"/>
                    </a:lnTo>
                    <a:lnTo>
                      <a:pt x="1848" y="126"/>
                    </a:lnTo>
                    <a:lnTo>
                      <a:pt x="1842" y="138"/>
                    </a:lnTo>
                    <a:lnTo>
                      <a:pt x="1842" y="120"/>
                    </a:lnTo>
                    <a:lnTo>
                      <a:pt x="1812" y="126"/>
                    </a:lnTo>
                    <a:lnTo>
                      <a:pt x="1794" y="138"/>
                    </a:lnTo>
                    <a:lnTo>
                      <a:pt x="1788" y="120"/>
                    </a:lnTo>
                    <a:lnTo>
                      <a:pt x="1752" y="114"/>
                    </a:lnTo>
                    <a:lnTo>
                      <a:pt x="1746" y="108"/>
                    </a:lnTo>
                    <a:lnTo>
                      <a:pt x="1734" y="102"/>
                    </a:lnTo>
                    <a:lnTo>
                      <a:pt x="1728" y="96"/>
                    </a:lnTo>
                    <a:lnTo>
                      <a:pt x="1716" y="90"/>
                    </a:lnTo>
                    <a:lnTo>
                      <a:pt x="1674" y="90"/>
                    </a:lnTo>
                    <a:lnTo>
                      <a:pt x="1662" y="84"/>
                    </a:lnTo>
                    <a:lnTo>
                      <a:pt x="1650" y="84"/>
                    </a:lnTo>
                    <a:lnTo>
                      <a:pt x="1650" y="78"/>
                    </a:lnTo>
                    <a:lnTo>
                      <a:pt x="1644" y="72"/>
                    </a:lnTo>
                    <a:lnTo>
                      <a:pt x="1632" y="48"/>
                    </a:lnTo>
                    <a:lnTo>
                      <a:pt x="1626" y="42"/>
                    </a:lnTo>
                    <a:lnTo>
                      <a:pt x="1620" y="42"/>
                    </a:lnTo>
                    <a:lnTo>
                      <a:pt x="1620" y="54"/>
                    </a:lnTo>
                    <a:lnTo>
                      <a:pt x="1614" y="60"/>
                    </a:lnTo>
                    <a:lnTo>
                      <a:pt x="1602" y="54"/>
                    </a:lnTo>
                    <a:lnTo>
                      <a:pt x="1596" y="54"/>
                    </a:lnTo>
                    <a:lnTo>
                      <a:pt x="1584" y="48"/>
                    </a:lnTo>
                    <a:lnTo>
                      <a:pt x="1566" y="48"/>
                    </a:lnTo>
                    <a:lnTo>
                      <a:pt x="1566" y="60"/>
                    </a:lnTo>
                    <a:lnTo>
                      <a:pt x="1572" y="66"/>
                    </a:lnTo>
                    <a:lnTo>
                      <a:pt x="1554" y="66"/>
                    </a:lnTo>
                    <a:lnTo>
                      <a:pt x="1548" y="72"/>
                    </a:lnTo>
                    <a:lnTo>
                      <a:pt x="1548" y="78"/>
                    </a:lnTo>
                    <a:lnTo>
                      <a:pt x="1554" y="84"/>
                    </a:lnTo>
                    <a:lnTo>
                      <a:pt x="1566" y="84"/>
                    </a:lnTo>
                    <a:lnTo>
                      <a:pt x="1590" y="96"/>
                    </a:lnTo>
                    <a:lnTo>
                      <a:pt x="1596" y="96"/>
                    </a:lnTo>
                    <a:lnTo>
                      <a:pt x="1608" y="90"/>
                    </a:lnTo>
                    <a:lnTo>
                      <a:pt x="1614" y="84"/>
                    </a:lnTo>
                    <a:lnTo>
                      <a:pt x="1644" y="102"/>
                    </a:lnTo>
                    <a:lnTo>
                      <a:pt x="1638" y="102"/>
                    </a:lnTo>
                    <a:lnTo>
                      <a:pt x="1632" y="108"/>
                    </a:lnTo>
                    <a:lnTo>
                      <a:pt x="1596" y="126"/>
                    </a:lnTo>
                    <a:lnTo>
                      <a:pt x="1572" y="126"/>
                    </a:lnTo>
                    <a:lnTo>
                      <a:pt x="1554" y="132"/>
                    </a:lnTo>
                    <a:lnTo>
                      <a:pt x="1512" y="132"/>
                    </a:lnTo>
                    <a:lnTo>
                      <a:pt x="1500" y="138"/>
                    </a:lnTo>
                    <a:lnTo>
                      <a:pt x="1482" y="144"/>
                    </a:lnTo>
                    <a:lnTo>
                      <a:pt x="1470" y="156"/>
                    </a:lnTo>
                    <a:lnTo>
                      <a:pt x="1452" y="162"/>
                    </a:lnTo>
                    <a:lnTo>
                      <a:pt x="1440" y="168"/>
                    </a:lnTo>
                    <a:lnTo>
                      <a:pt x="1434" y="174"/>
                    </a:lnTo>
                    <a:lnTo>
                      <a:pt x="1428" y="174"/>
                    </a:lnTo>
                    <a:lnTo>
                      <a:pt x="1428" y="186"/>
                    </a:lnTo>
                    <a:lnTo>
                      <a:pt x="1422" y="204"/>
                    </a:lnTo>
                    <a:lnTo>
                      <a:pt x="1422" y="228"/>
                    </a:lnTo>
                    <a:lnTo>
                      <a:pt x="1428" y="234"/>
                    </a:lnTo>
                    <a:lnTo>
                      <a:pt x="1440" y="240"/>
                    </a:lnTo>
                    <a:lnTo>
                      <a:pt x="1446" y="246"/>
                    </a:lnTo>
                    <a:lnTo>
                      <a:pt x="1452" y="246"/>
                    </a:lnTo>
                    <a:lnTo>
                      <a:pt x="1398" y="246"/>
                    </a:lnTo>
                    <a:lnTo>
                      <a:pt x="1368" y="282"/>
                    </a:lnTo>
                    <a:lnTo>
                      <a:pt x="1368" y="312"/>
                    </a:lnTo>
                    <a:lnTo>
                      <a:pt x="1362" y="324"/>
                    </a:lnTo>
                    <a:lnTo>
                      <a:pt x="1362" y="330"/>
                    </a:lnTo>
                    <a:lnTo>
                      <a:pt x="1368" y="336"/>
                    </a:lnTo>
                    <a:lnTo>
                      <a:pt x="1380" y="336"/>
                    </a:lnTo>
                    <a:lnTo>
                      <a:pt x="1404" y="348"/>
                    </a:lnTo>
                    <a:lnTo>
                      <a:pt x="1410" y="354"/>
                    </a:lnTo>
                    <a:lnTo>
                      <a:pt x="1410" y="390"/>
                    </a:lnTo>
                    <a:lnTo>
                      <a:pt x="1386" y="366"/>
                    </a:lnTo>
                    <a:lnTo>
                      <a:pt x="1356" y="366"/>
                    </a:lnTo>
                    <a:lnTo>
                      <a:pt x="1344" y="390"/>
                    </a:lnTo>
                    <a:lnTo>
                      <a:pt x="1308" y="354"/>
                    </a:lnTo>
                    <a:lnTo>
                      <a:pt x="1302" y="384"/>
                    </a:lnTo>
                    <a:lnTo>
                      <a:pt x="1278" y="396"/>
                    </a:lnTo>
                    <a:lnTo>
                      <a:pt x="1284" y="420"/>
                    </a:lnTo>
                    <a:lnTo>
                      <a:pt x="1254" y="414"/>
                    </a:lnTo>
                    <a:lnTo>
                      <a:pt x="1284" y="354"/>
                    </a:lnTo>
                    <a:lnTo>
                      <a:pt x="1278" y="348"/>
                    </a:lnTo>
                    <a:lnTo>
                      <a:pt x="1272" y="336"/>
                    </a:lnTo>
                    <a:lnTo>
                      <a:pt x="1272" y="324"/>
                    </a:lnTo>
                    <a:lnTo>
                      <a:pt x="1266" y="318"/>
                    </a:lnTo>
                    <a:lnTo>
                      <a:pt x="1254" y="312"/>
                    </a:lnTo>
                    <a:lnTo>
                      <a:pt x="1236" y="312"/>
                    </a:lnTo>
                    <a:lnTo>
                      <a:pt x="1224" y="282"/>
                    </a:lnTo>
                    <a:lnTo>
                      <a:pt x="1224" y="276"/>
                    </a:lnTo>
                    <a:lnTo>
                      <a:pt x="1230" y="270"/>
                    </a:lnTo>
                    <a:lnTo>
                      <a:pt x="1230" y="258"/>
                    </a:lnTo>
                    <a:lnTo>
                      <a:pt x="1224" y="246"/>
                    </a:lnTo>
                    <a:lnTo>
                      <a:pt x="1218" y="240"/>
                    </a:lnTo>
                    <a:lnTo>
                      <a:pt x="1206" y="234"/>
                    </a:lnTo>
                    <a:lnTo>
                      <a:pt x="1194" y="240"/>
                    </a:lnTo>
                    <a:lnTo>
                      <a:pt x="1188" y="246"/>
                    </a:lnTo>
                    <a:lnTo>
                      <a:pt x="1176" y="252"/>
                    </a:lnTo>
                    <a:lnTo>
                      <a:pt x="1176" y="264"/>
                    </a:lnTo>
                    <a:lnTo>
                      <a:pt x="1182" y="270"/>
                    </a:lnTo>
                    <a:lnTo>
                      <a:pt x="1182" y="282"/>
                    </a:lnTo>
                    <a:lnTo>
                      <a:pt x="1146" y="276"/>
                    </a:lnTo>
                    <a:lnTo>
                      <a:pt x="1152" y="306"/>
                    </a:lnTo>
                    <a:lnTo>
                      <a:pt x="1134" y="300"/>
                    </a:lnTo>
                    <a:lnTo>
                      <a:pt x="1116" y="306"/>
                    </a:lnTo>
                    <a:lnTo>
                      <a:pt x="1122" y="312"/>
                    </a:lnTo>
                    <a:lnTo>
                      <a:pt x="1122" y="330"/>
                    </a:lnTo>
                    <a:lnTo>
                      <a:pt x="1116" y="342"/>
                    </a:lnTo>
                    <a:lnTo>
                      <a:pt x="1110" y="348"/>
                    </a:lnTo>
                    <a:lnTo>
                      <a:pt x="1098" y="354"/>
                    </a:lnTo>
                    <a:lnTo>
                      <a:pt x="1092" y="360"/>
                    </a:lnTo>
                    <a:lnTo>
                      <a:pt x="1104" y="324"/>
                    </a:lnTo>
                    <a:lnTo>
                      <a:pt x="1080" y="348"/>
                    </a:lnTo>
                    <a:lnTo>
                      <a:pt x="1062" y="348"/>
                    </a:lnTo>
                    <a:lnTo>
                      <a:pt x="1056" y="360"/>
                    </a:lnTo>
                    <a:lnTo>
                      <a:pt x="1050" y="366"/>
                    </a:lnTo>
                    <a:lnTo>
                      <a:pt x="1050" y="378"/>
                    </a:lnTo>
                    <a:lnTo>
                      <a:pt x="1056" y="390"/>
                    </a:lnTo>
                    <a:lnTo>
                      <a:pt x="1056" y="396"/>
                    </a:lnTo>
                    <a:lnTo>
                      <a:pt x="1062" y="408"/>
                    </a:lnTo>
                    <a:lnTo>
                      <a:pt x="1014" y="384"/>
                    </a:lnTo>
                    <a:lnTo>
                      <a:pt x="1008" y="420"/>
                    </a:lnTo>
                    <a:lnTo>
                      <a:pt x="996" y="426"/>
                    </a:lnTo>
                    <a:lnTo>
                      <a:pt x="1008" y="450"/>
                    </a:lnTo>
                    <a:lnTo>
                      <a:pt x="1032" y="450"/>
                    </a:lnTo>
                    <a:lnTo>
                      <a:pt x="1026" y="468"/>
                    </a:lnTo>
                    <a:lnTo>
                      <a:pt x="954" y="474"/>
                    </a:lnTo>
                    <a:lnTo>
                      <a:pt x="948" y="468"/>
                    </a:lnTo>
                    <a:lnTo>
                      <a:pt x="936" y="462"/>
                    </a:lnTo>
                    <a:lnTo>
                      <a:pt x="930" y="462"/>
                    </a:lnTo>
                    <a:lnTo>
                      <a:pt x="918" y="468"/>
                    </a:lnTo>
                    <a:lnTo>
                      <a:pt x="912" y="474"/>
                    </a:lnTo>
                    <a:lnTo>
                      <a:pt x="918" y="486"/>
                    </a:lnTo>
                    <a:lnTo>
                      <a:pt x="918" y="492"/>
                    </a:lnTo>
                    <a:lnTo>
                      <a:pt x="924" y="504"/>
                    </a:lnTo>
                    <a:lnTo>
                      <a:pt x="930" y="510"/>
                    </a:lnTo>
                    <a:lnTo>
                      <a:pt x="930" y="540"/>
                    </a:lnTo>
                    <a:lnTo>
                      <a:pt x="924" y="564"/>
                    </a:lnTo>
                    <a:lnTo>
                      <a:pt x="930" y="600"/>
                    </a:lnTo>
                    <a:lnTo>
                      <a:pt x="912" y="600"/>
                    </a:lnTo>
                    <a:lnTo>
                      <a:pt x="906" y="522"/>
                    </a:lnTo>
                    <a:lnTo>
                      <a:pt x="888" y="510"/>
                    </a:lnTo>
                    <a:lnTo>
                      <a:pt x="888" y="480"/>
                    </a:lnTo>
                    <a:lnTo>
                      <a:pt x="870" y="480"/>
                    </a:lnTo>
                    <a:lnTo>
                      <a:pt x="852" y="504"/>
                    </a:lnTo>
                    <a:lnTo>
                      <a:pt x="822" y="534"/>
                    </a:lnTo>
                    <a:lnTo>
                      <a:pt x="804" y="546"/>
                    </a:lnTo>
                    <a:lnTo>
                      <a:pt x="792" y="558"/>
                    </a:lnTo>
                    <a:lnTo>
                      <a:pt x="786" y="570"/>
                    </a:lnTo>
                    <a:lnTo>
                      <a:pt x="786" y="600"/>
                    </a:lnTo>
                    <a:lnTo>
                      <a:pt x="792" y="606"/>
                    </a:lnTo>
                    <a:lnTo>
                      <a:pt x="792" y="618"/>
                    </a:lnTo>
                    <a:lnTo>
                      <a:pt x="798" y="618"/>
                    </a:lnTo>
                    <a:lnTo>
                      <a:pt x="816" y="636"/>
                    </a:lnTo>
                    <a:lnTo>
                      <a:pt x="810" y="648"/>
                    </a:lnTo>
                    <a:lnTo>
                      <a:pt x="792" y="654"/>
                    </a:lnTo>
                    <a:lnTo>
                      <a:pt x="774" y="666"/>
                    </a:lnTo>
                    <a:lnTo>
                      <a:pt x="750" y="678"/>
                    </a:lnTo>
                    <a:lnTo>
                      <a:pt x="750" y="696"/>
                    </a:lnTo>
                    <a:lnTo>
                      <a:pt x="720" y="726"/>
                    </a:lnTo>
                    <a:lnTo>
                      <a:pt x="702" y="732"/>
                    </a:lnTo>
                    <a:lnTo>
                      <a:pt x="690" y="744"/>
                    </a:lnTo>
                    <a:lnTo>
                      <a:pt x="666" y="756"/>
                    </a:lnTo>
                    <a:lnTo>
                      <a:pt x="630" y="762"/>
                    </a:lnTo>
                    <a:lnTo>
                      <a:pt x="600" y="768"/>
                    </a:lnTo>
                    <a:lnTo>
                      <a:pt x="588" y="768"/>
                    </a:lnTo>
                    <a:lnTo>
                      <a:pt x="534" y="762"/>
                    </a:lnTo>
                    <a:lnTo>
                      <a:pt x="492" y="780"/>
                    </a:lnTo>
                    <a:lnTo>
                      <a:pt x="438" y="786"/>
                    </a:lnTo>
                    <a:lnTo>
                      <a:pt x="432" y="798"/>
                    </a:lnTo>
                    <a:lnTo>
                      <a:pt x="414" y="798"/>
                    </a:lnTo>
                    <a:lnTo>
                      <a:pt x="402" y="804"/>
                    </a:lnTo>
                    <a:lnTo>
                      <a:pt x="396" y="810"/>
                    </a:lnTo>
                    <a:lnTo>
                      <a:pt x="384" y="816"/>
                    </a:lnTo>
                    <a:lnTo>
                      <a:pt x="372" y="828"/>
                    </a:lnTo>
                    <a:lnTo>
                      <a:pt x="342" y="828"/>
                    </a:lnTo>
                    <a:lnTo>
                      <a:pt x="324" y="834"/>
                    </a:lnTo>
                    <a:lnTo>
                      <a:pt x="312" y="840"/>
                    </a:lnTo>
                    <a:lnTo>
                      <a:pt x="306" y="852"/>
                    </a:lnTo>
                    <a:lnTo>
                      <a:pt x="294" y="858"/>
                    </a:lnTo>
                    <a:lnTo>
                      <a:pt x="288" y="870"/>
                    </a:lnTo>
                    <a:lnTo>
                      <a:pt x="282" y="876"/>
                    </a:lnTo>
                    <a:lnTo>
                      <a:pt x="282" y="882"/>
                    </a:lnTo>
                    <a:lnTo>
                      <a:pt x="276" y="882"/>
                    </a:lnTo>
                    <a:lnTo>
                      <a:pt x="270" y="888"/>
                    </a:lnTo>
                    <a:lnTo>
                      <a:pt x="252" y="888"/>
                    </a:lnTo>
                    <a:lnTo>
                      <a:pt x="240" y="894"/>
                    </a:lnTo>
                    <a:lnTo>
                      <a:pt x="228" y="894"/>
                    </a:lnTo>
                    <a:lnTo>
                      <a:pt x="216" y="900"/>
                    </a:lnTo>
                    <a:lnTo>
                      <a:pt x="210" y="906"/>
                    </a:lnTo>
                    <a:lnTo>
                      <a:pt x="198" y="912"/>
                    </a:lnTo>
                    <a:lnTo>
                      <a:pt x="192" y="930"/>
                    </a:lnTo>
                    <a:lnTo>
                      <a:pt x="150" y="972"/>
                    </a:lnTo>
                    <a:lnTo>
                      <a:pt x="150" y="978"/>
                    </a:lnTo>
                    <a:lnTo>
                      <a:pt x="162" y="912"/>
                    </a:lnTo>
                    <a:lnTo>
                      <a:pt x="144" y="918"/>
                    </a:lnTo>
                    <a:lnTo>
                      <a:pt x="120" y="978"/>
                    </a:lnTo>
                    <a:lnTo>
                      <a:pt x="90" y="1038"/>
                    </a:lnTo>
                    <a:lnTo>
                      <a:pt x="90" y="1056"/>
                    </a:lnTo>
                    <a:lnTo>
                      <a:pt x="96" y="1062"/>
                    </a:lnTo>
                    <a:lnTo>
                      <a:pt x="108" y="1068"/>
                    </a:lnTo>
                    <a:lnTo>
                      <a:pt x="114" y="1068"/>
                    </a:lnTo>
                    <a:lnTo>
                      <a:pt x="108" y="1080"/>
                    </a:lnTo>
                    <a:lnTo>
                      <a:pt x="96" y="1086"/>
                    </a:lnTo>
                    <a:lnTo>
                      <a:pt x="90" y="1098"/>
                    </a:lnTo>
                    <a:lnTo>
                      <a:pt x="66" y="1122"/>
                    </a:lnTo>
                    <a:lnTo>
                      <a:pt x="66" y="1134"/>
                    </a:lnTo>
                    <a:lnTo>
                      <a:pt x="72" y="1152"/>
                    </a:lnTo>
                    <a:lnTo>
                      <a:pt x="72" y="1164"/>
                    </a:lnTo>
                    <a:lnTo>
                      <a:pt x="84" y="1188"/>
                    </a:lnTo>
                    <a:lnTo>
                      <a:pt x="84" y="1200"/>
                    </a:lnTo>
                    <a:lnTo>
                      <a:pt x="102" y="1236"/>
                    </a:lnTo>
                    <a:lnTo>
                      <a:pt x="108" y="1254"/>
                    </a:lnTo>
                    <a:lnTo>
                      <a:pt x="114" y="1266"/>
                    </a:lnTo>
                    <a:lnTo>
                      <a:pt x="114" y="1278"/>
                    </a:lnTo>
                    <a:lnTo>
                      <a:pt x="108" y="1278"/>
                    </a:lnTo>
                    <a:lnTo>
                      <a:pt x="96" y="1266"/>
                    </a:lnTo>
                    <a:lnTo>
                      <a:pt x="90" y="1254"/>
                    </a:lnTo>
                    <a:lnTo>
                      <a:pt x="72" y="1236"/>
                    </a:lnTo>
                    <a:lnTo>
                      <a:pt x="66" y="1224"/>
                    </a:lnTo>
                    <a:lnTo>
                      <a:pt x="48" y="1218"/>
                    </a:lnTo>
                    <a:lnTo>
                      <a:pt x="66" y="1266"/>
                    </a:lnTo>
                    <a:lnTo>
                      <a:pt x="30" y="1236"/>
                    </a:lnTo>
                    <a:lnTo>
                      <a:pt x="30" y="1290"/>
                    </a:lnTo>
                    <a:lnTo>
                      <a:pt x="60" y="1350"/>
                    </a:lnTo>
                    <a:lnTo>
                      <a:pt x="66" y="1356"/>
                    </a:lnTo>
                    <a:lnTo>
                      <a:pt x="66" y="1368"/>
                    </a:lnTo>
                    <a:lnTo>
                      <a:pt x="60" y="1374"/>
                    </a:lnTo>
                    <a:lnTo>
                      <a:pt x="54" y="1386"/>
                    </a:lnTo>
                    <a:lnTo>
                      <a:pt x="54" y="1398"/>
                    </a:lnTo>
                    <a:lnTo>
                      <a:pt x="48" y="1410"/>
                    </a:lnTo>
                    <a:lnTo>
                      <a:pt x="54" y="1416"/>
                    </a:lnTo>
                    <a:lnTo>
                      <a:pt x="60" y="1428"/>
                    </a:lnTo>
                    <a:lnTo>
                      <a:pt x="78" y="1446"/>
                    </a:lnTo>
                    <a:lnTo>
                      <a:pt x="84" y="1458"/>
                    </a:lnTo>
                    <a:lnTo>
                      <a:pt x="90" y="1464"/>
                    </a:lnTo>
                    <a:lnTo>
                      <a:pt x="96" y="1476"/>
                    </a:lnTo>
                    <a:lnTo>
                      <a:pt x="96" y="1506"/>
                    </a:lnTo>
                    <a:lnTo>
                      <a:pt x="90" y="1518"/>
                    </a:lnTo>
                    <a:lnTo>
                      <a:pt x="84" y="1524"/>
                    </a:lnTo>
                    <a:lnTo>
                      <a:pt x="90" y="1542"/>
                    </a:lnTo>
                    <a:lnTo>
                      <a:pt x="90" y="1554"/>
                    </a:lnTo>
                    <a:lnTo>
                      <a:pt x="96" y="1572"/>
                    </a:lnTo>
                    <a:lnTo>
                      <a:pt x="96" y="1590"/>
                    </a:lnTo>
                    <a:lnTo>
                      <a:pt x="102" y="1596"/>
                    </a:lnTo>
                    <a:lnTo>
                      <a:pt x="102" y="1602"/>
                    </a:lnTo>
                    <a:lnTo>
                      <a:pt x="96" y="1602"/>
                    </a:lnTo>
                    <a:lnTo>
                      <a:pt x="78" y="1620"/>
                    </a:lnTo>
                    <a:lnTo>
                      <a:pt x="84" y="1626"/>
                    </a:lnTo>
                    <a:lnTo>
                      <a:pt x="84" y="1638"/>
                    </a:lnTo>
                    <a:lnTo>
                      <a:pt x="90" y="1650"/>
                    </a:lnTo>
                    <a:lnTo>
                      <a:pt x="90" y="1662"/>
                    </a:lnTo>
                    <a:lnTo>
                      <a:pt x="96" y="1668"/>
                    </a:lnTo>
                    <a:lnTo>
                      <a:pt x="96" y="1674"/>
                    </a:lnTo>
                    <a:lnTo>
                      <a:pt x="102" y="1674"/>
                    </a:lnTo>
                    <a:lnTo>
                      <a:pt x="108" y="1680"/>
                    </a:lnTo>
                    <a:lnTo>
                      <a:pt x="126" y="1716"/>
                    </a:lnTo>
                    <a:lnTo>
                      <a:pt x="126" y="1728"/>
                    </a:lnTo>
                    <a:lnTo>
                      <a:pt x="108" y="1764"/>
                    </a:lnTo>
                    <a:lnTo>
                      <a:pt x="90" y="1782"/>
                    </a:lnTo>
                    <a:lnTo>
                      <a:pt x="90" y="1824"/>
                    </a:lnTo>
                    <a:lnTo>
                      <a:pt x="84" y="1842"/>
                    </a:lnTo>
                    <a:lnTo>
                      <a:pt x="60" y="1866"/>
                    </a:lnTo>
                    <a:lnTo>
                      <a:pt x="42" y="1866"/>
                    </a:lnTo>
                    <a:lnTo>
                      <a:pt x="30" y="1872"/>
                    </a:lnTo>
                    <a:lnTo>
                      <a:pt x="18" y="1866"/>
                    </a:lnTo>
                    <a:lnTo>
                      <a:pt x="6" y="1866"/>
                    </a:lnTo>
                    <a:lnTo>
                      <a:pt x="0" y="1920"/>
                    </a:lnTo>
                    <a:lnTo>
                      <a:pt x="12" y="1920"/>
                    </a:lnTo>
                    <a:lnTo>
                      <a:pt x="24" y="1926"/>
                    </a:lnTo>
                    <a:lnTo>
                      <a:pt x="42" y="1926"/>
                    </a:lnTo>
                    <a:lnTo>
                      <a:pt x="54" y="1932"/>
                    </a:lnTo>
                    <a:lnTo>
                      <a:pt x="72" y="1950"/>
                    </a:lnTo>
                    <a:lnTo>
                      <a:pt x="78" y="1962"/>
                    </a:lnTo>
                    <a:lnTo>
                      <a:pt x="108" y="1956"/>
                    </a:lnTo>
                    <a:lnTo>
                      <a:pt x="114" y="1968"/>
                    </a:lnTo>
                    <a:lnTo>
                      <a:pt x="138" y="1980"/>
                    </a:lnTo>
                    <a:lnTo>
                      <a:pt x="174" y="1980"/>
                    </a:lnTo>
                    <a:lnTo>
                      <a:pt x="210" y="1968"/>
                    </a:lnTo>
                    <a:lnTo>
                      <a:pt x="234" y="1968"/>
                    </a:lnTo>
                    <a:lnTo>
                      <a:pt x="234" y="1950"/>
                    </a:lnTo>
                    <a:lnTo>
                      <a:pt x="228" y="1944"/>
                    </a:lnTo>
                    <a:lnTo>
                      <a:pt x="264" y="1950"/>
                    </a:lnTo>
                    <a:lnTo>
                      <a:pt x="276" y="1932"/>
                    </a:lnTo>
                    <a:lnTo>
                      <a:pt x="318" y="1926"/>
                    </a:lnTo>
                    <a:lnTo>
                      <a:pt x="354" y="1890"/>
                    </a:lnTo>
                    <a:lnTo>
                      <a:pt x="366" y="1884"/>
                    </a:lnTo>
                    <a:lnTo>
                      <a:pt x="372" y="1884"/>
                    </a:lnTo>
                    <a:lnTo>
                      <a:pt x="420" y="1908"/>
                    </a:lnTo>
                    <a:lnTo>
                      <a:pt x="426" y="1902"/>
                    </a:lnTo>
                    <a:lnTo>
                      <a:pt x="474" y="1878"/>
                    </a:lnTo>
                    <a:lnTo>
                      <a:pt x="480" y="1872"/>
                    </a:lnTo>
                    <a:lnTo>
                      <a:pt x="486" y="1872"/>
                    </a:lnTo>
                    <a:lnTo>
                      <a:pt x="498" y="1878"/>
                    </a:lnTo>
                    <a:lnTo>
                      <a:pt x="504" y="1884"/>
                    </a:lnTo>
                    <a:lnTo>
                      <a:pt x="516" y="1884"/>
                    </a:lnTo>
                    <a:lnTo>
                      <a:pt x="528" y="1890"/>
                    </a:lnTo>
                    <a:lnTo>
                      <a:pt x="534" y="1890"/>
                    </a:lnTo>
                    <a:lnTo>
                      <a:pt x="552" y="1884"/>
                    </a:lnTo>
                    <a:lnTo>
                      <a:pt x="576" y="1872"/>
                    </a:lnTo>
                    <a:lnTo>
                      <a:pt x="582" y="1872"/>
                    </a:lnTo>
                    <a:lnTo>
                      <a:pt x="594" y="1878"/>
                    </a:lnTo>
                    <a:lnTo>
                      <a:pt x="606" y="1878"/>
                    </a:lnTo>
                    <a:lnTo>
                      <a:pt x="624" y="1884"/>
                    </a:lnTo>
                    <a:lnTo>
                      <a:pt x="636" y="1884"/>
                    </a:lnTo>
                    <a:lnTo>
                      <a:pt x="648" y="1878"/>
                    </a:lnTo>
                    <a:lnTo>
                      <a:pt x="654" y="1872"/>
                    </a:lnTo>
                    <a:lnTo>
                      <a:pt x="654" y="1848"/>
                    </a:lnTo>
                    <a:lnTo>
                      <a:pt x="666" y="1848"/>
                    </a:lnTo>
                    <a:lnTo>
                      <a:pt x="672" y="1842"/>
                    </a:lnTo>
                    <a:lnTo>
                      <a:pt x="678" y="1842"/>
                    </a:lnTo>
                    <a:lnTo>
                      <a:pt x="684" y="1836"/>
                    </a:lnTo>
                    <a:lnTo>
                      <a:pt x="690" y="1824"/>
                    </a:lnTo>
                    <a:lnTo>
                      <a:pt x="702" y="1788"/>
                    </a:lnTo>
                    <a:lnTo>
                      <a:pt x="714" y="1776"/>
                    </a:lnTo>
                    <a:lnTo>
                      <a:pt x="726" y="1770"/>
                    </a:lnTo>
                    <a:lnTo>
                      <a:pt x="744" y="1764"/>
                    </a:lnTo>
                    <a:lnTo>
                      <a:pt x="756" y="1764"/>
                    </a:lnTo>
                    <a:lnTo>
                      <a:pt x="774" y="1770"/>
                    </a:lnTo>
                    <a:lnTo>
                      <a:pt x="798" y="1770"/>
                    </a:lnTo>
                    <a:lnTo>
                      <a:pt x="822" y="1758"/>
                    </a:lnTo>
                    <a:lnTo>
                      <a:pt x="840" y="1752"/>
                    </a:lnTo>
                    <a:lnTo>
                      <a:pt x="858" y="1740"/>
                    </a:lnTo>
                    <a:lnTo>
                      <a:pt x="876" y="1734"/>
                    </a:lnTo>
                    <a:lnTo>
                      <a:pt x="912" y="1734"/>
                    </a:lnTo>
                    <a:lnTo>
                      <a:pt x="918" y="1740"/>
                    </a:lnTo>
                    <a:lnTo>
                      <a:pt x="930" y="1740"/>
                    </a:lnTo>
                    <a:lnTo>
                      <a:pt x="942" y="1746"/>
                    </a:lnTo>
                    <a:lnTo>
                      <a:pt x="972" y="1740"/>
                    </a:lnTo>
                    <a:lnTo>
                      <a:pt x="1044" y="1704"/>
                    </a:lnTo>
                    <a:lnTo>
                      <a:pt x="1074" y="1692"/>
                    </a:lnTo>
                    <a:lnTo>
                      <a:pt x="1098" y="1686"/>
                    </a:lnTo>
                    <a:lnTo>
                      <a:pt x="1140" y="1680"/>
                    </a:lnTo>
                    <a:lnTo>
                      <a:pt x="1176" y="1674"/>
                    </a:lnTo>
                    <a:lnTo>
                      <a:pt x="1224" y="1674"/>
                    </a:lnTo>
                    <a:lnTo>
                      <a:pt x="1236" y="1662"/>
                    </a:lnTo>
                    <a:lnTo>
                      <a:pt x="1254" y="1680"/>
                    </a:lnTo>
                    <a:lnTo>
                      <a:pt x="1266" y="1686"/>
                    </a:lnTo>
                    <a:lnTo>
                      <a:pt x="1278" y="1698"/>
                    </a:lnTo>
                    <a:lnTo>
                      <a:pt x="1302" y="1710"/>
                    </a:lnTo>
                    <a:lnTo>
                      <a:pt x="1320" y="1716"/>
                    </a:lnTo>
                    <a:lnTo>
                      <a:pt x="1332" y="1716"/>
                    </a:lnTo>
                    <a:lnTo>
                      <a:pt x="1338" y="1710"/>
                    </a:lnTo>
                    <a:lnTo>
                      <a:pt x="1338" y="1716"/>
                    </a:lnTo>
                    <a:lnTo>
                      <a:pt x="1344" y="1722"/>
                    </a:lnTo>
                    <a:lnTo>
                      <a:pt x="1350" y="1734"/>
                    </a:lnTo>
                    <a:lnTo>
                      <a:pt x="1356" y="1740"/>
                    </a:lnTo>
                    <a:lnTo>
                      <a:pt x="1374" y="1740"/>
                    </a:lnTo>
                    <a:lnTo>
                      <a:pt x="1380" y="1734"/>
                    </a:lnTo>
                    <a:lnTo>
                      <a:pt x="1380" y="1752"/>
                    </a:lnTo>
                    <a:lnTo>
                      <a:pt x="1392" y="1752"/>
                    </a:lnTo>
                    <a:lnTo>
                      <a:pt x="1398" y="1758"/>
                    </a:lnTo>
                    <a:lnTo>
                      <a:pt x="1398" y="1770"/>
                    </a:lnTo>
                    <a:lnTo>
                      <a:pt x="1386" y="1794"/>
                    </a:lnTo>
                    <a:lnTo>
                      <a:pt x="1380" y="1800"/>
                    </a:lnTo>
                    <a:lnTo>
                      <a:pt x="1374" y="1812"/>
                    </a:lnTo>
                    <a:lnTo>
                      <a:pt x="1392" y="1842"/>
                    </a:lnTo>
                    <a:lnTo>
                      <a:pt x="1410" y="1830"/>
                    </a:lnTo>
                    <a:lnTo>
                      <a:pt x="1428" y="1866"/>
                    </a:lnTo>
                    <a:lnTo>
                      <a:pt x="1428" y="1872"/>
                    </a:lnTo>
                    <a:lnTo>
                      <a:pt x="1434" y="1878"/>
                    </a:lnTo>
                    <a:lnTo>
                      <a:pt x="1434" y="1902"/>
                    </a:lnTo>
                    <a:lnTo>
                      <a:pt x="1440" y="1914"/>
                    </a:lnTo>
                    <a:lnTo>
                      <a:pt x="1440" y="1926"/>
                    </a:lnTo>
                    <a:lnTo>
                      <a:pt x="1422" y="1926"/>
                    </a:lnTo>
                    <a:lnTo>
                      <a:pt x="1410" y="1920"/>
                    </a:lnTo>
                    <a:lnTo>
                      <a:pt x="1404" y="1920"/>
                    </a:lnTo>
                    <a:lnTo>
                      <a:pt x="1410" y="1956"/>
                    </a:lnTo>
                    <a:lnTo>
                      <a:pt x="1446" y="1956"/>
                    </a:lnTo>
                    <a:lnTo>
                      <a:pt x="1452" y="1962"/>
                    </a:lnTo>
                    <a:lnTo>
                      <a:pt x="1452" y="1968"/>
                    </a:lnTo>
                    <a:lnTo>
                      <a:pt x="1470" y="1968"/>
                    </a:lnTo>
                    <a:lnTo>
                      <a:pt x="1470" y="1956"/>
                    </a:lnTo>
                    <a:lnTo>
                      <a:pt x="1464" y="1938"/>
                    </a:lnTo>
                    <a:lnTo>
                      <a:pt x="1464" y="1926"/>
                    </a:lnTo>
                    <a:lnTo>
                      <a:pt x="1470" y="1914"/>
                    </a:lnTo>
                    <a:lnTo>
                      <a:pt x="1476" y="1908"/>
                    </a:lnTo>
                    <a:lnTo>
                      <a:pt x="1500" y="1896"/>
                    </a:lnTo>
                    <a:lnTo>
                      <a:pt x="1512" y="1896"/>
                    </a:lnTo>
                    <a:lnTo>
                      <a:pt x="1518" y="1890"/>
                    </a:lnTo>
                    <a:lnTo>
                      <a:pt x="1530" y="1884"/>
                    </a:lnTo>
                    <a:lnTo>
                      <a:pt x="1542" y="1872"/>
                    </a:lnTo>
                    <a:lnTo>
                      <a:pt x="1548" y="1860"/>
                    </a:lnTo>
                    <a:lnTo>
                      <a:pt x="1566" y="1842"/>
                    </a:lnTo>
                    <a:lnTo>
                      <a:pt x="1566" y="1836"/>
                    </a:lnTo>
                    <a:lnTo>
                      <a:pt x="1590" y="1842"/>
                    </a:lnTo>
                    <a:lnTo>
                      <a:pt x="1608" y="1788"/>
                    </a:lnTo>
                    <a:lnTo>
                      <a:pt x="1638" y="1788"/>
                    </a:lnTo>
                    <a:lnTo>
                      <a:pt x="1650" y="1782"/>
                    </a:lnTo>
                    <a:lnTo>
                      <a:pt x="1662" y="1770"/>
                    </a:lnTo>
                    <a:lnTo>
                      <a:pt x="1668" y="1752"/>
                    </a:lnTo>
                    <a:lnTo>
                      <a:pt x="1668" y="1740"/>
                    </a:lnTo>
                    <a:lnTo>
                      <a:pt x="1668" y="1746"/>
                    </a:lnTo>
                    <a:lnTo>
                      <a:pt x="1674" y="1752"/>
                    </a:lnTo>
                    <a:lnTo>
                      <a:pt x="1674" y="1764"/>
                    </a:lnTo>
                    <a:lnTo>
                      <a:pt x="1680" y="1776"/>
                    </a:lnTo>
                    <a:lnTo>
                      <a:pt x="1680" y="1782"/>
                    </a:lnTo>
                    <a:lnTo>
                      <a:pt x="1668" y="1794"/>
                    </a:lnTo>
                    <a:lnTo>
                      <a:pt x="1662" y="1806"/>
                    </a:lnTo>
                    <a:lnTo>
                      <a:pt x="1650" y="1812"/>
                    </a:lnTo>
                    <a:lnTo>
                      <a:pt x="1644" y="1818"/>
                    </a:lnTo>
                    <a:lnTo>
                      <a:pt x="1620" y="1818"/>
                    </a:lnTo>
                    <a:lnTo>
                      <a:pt x="1614" y="1830"/>
                    </a:lnTo>
                    <a:lnTo>
                      <a:pt x="1632" y="1866"/>
                    </a:lnTo>
                    <a:lnTo>
                      <a:pt x="1620" y="1866"/>
                    </a:lnTo>
                    <a:lnTo>
                      <a:pt x="1614" y="1872"/>
                    </a:lnTo>
                    <a:lnTo>
                      <a:pt x="1602" y="1878"/>
                    </a:lnTo>
                    <a:lnTo>
                      <a:pt x="1566" y="1914"/>
                    </a:lnTo>
                    <a:lnTo>
                      <a:pt x="1566" y="1926"/>
                    </a:lnTo>
                    <a:lnTo>
                      <a:pt x="1560" y="1932"/>
                    </a:lnTo>
                    <a:lnTo>
                      <a:pt x="1554" y="1944"/>
                    </a:lnTo>
                    <a:lnTo>
                      <a:pt x="1542" y="1956"/>
                    </a:lnTo>
                    <a:lnTo>
                      <a:pt x="1518" y="1968"/>
                    </a:lnTo>
                    <a:lnTo>
                      <a:pt x="1512" y="1974"/>
                    </a:lnTo>
                    <a:lnTo>
                      <a:pt x="1512" y="1980"/>
                    </a:lnTo>
                    <a:lnTo>
                      <a:pt x="1518" y="1986"/>
                    </a:lnTo>
                    <a:lnTo>
                      <a:pt x="1548" y="1986"/>
                    </a:lnTo>
                    <a:lnTo>
                      <a:pt x="1560" y="1980"/>
                    </a:lnTo>
                    <a:lnTo>
                      <a:pt x="1572" y="1980"/>
                    </a:lnTo>
                    <a:lnTo>
                      <a:pt x="1584" y="1968"/>
                    </a:lnTo>
                    <a:lnTo>
                      <a:pt x="1602" y="1932"/>
                    </a:lnTo>
                    <a:lnTo>
                      <a:pt x="1608" y="1926"/>
                    </a:lnTo>
                    <a:lnTo>
                      <a:pt x="1614" y="1914"/>
                    </a:lnTo>
                    <a:lnTo>
                      <a:pt x="1626" y="1908"/>
                    </a:lnTo>
                    <a:lnTo>
                      <a:pt x="1632" y="1902"/>
                    </a:lnTo>
                    <a:lnTo>
                      <a:pt x="1632" y="1920"/>
                    </a:lnTo>
                    <a:lnTo>
                      <a:pt x="1638" y="1932"/>
                    </a:lnTo>
                    <a:lnTo>
                      <a:pt x="1638" y="1956"/>
                    </a:lnTo>
                    <a:lnTo>
                      <a:pt x="1626" y="1968"/>
                    </a:lnTo>
                    <a:lnTo>
                      <a:pt x="1614" y="1974"/>
                    </a:lnTo>
                    <a:lnTo>
                      <a:pt x="1602" y="1986"/>
                    </a:lnTo>
                    <a:lnTo>
                      <a:pt x="1602" y="2004"/>
                    </a:lnTo>
                    <a:lnTo>
                      <a:pt x="1608" y="2010"/>
                    </a:lnTo>
                    <a:lnTo>
                      <a:pt x="1614" y="2010"/>
                    </a:lnTo>
                    <a:lnTo>
                      <a:pt x="1632" y="2016"/>
                    </a:lnTo>
                    <a:lnTo>
                      <a:pt x="1662" y="2016"/>
                    </a:lnTo>
                    <a:lnTo>
                      <a:pt x="1668" y="2028"/>
                    </a:lnTo>
                    <a:lnTo>
                      <a:pt x="1644" y="2052"/>
                    </a:lnTo>
                    <a:lnTo>
                      <a:pt x="1644" y="2058"/>
                    </a:lnTo>
                    <a:lnTo>
                      <a:pt x="1650" y="2064"/>
                    </a:lnTo>
                    <a:lnTo>
                      <a:pt x="1668" y="2100"/>
                    </a:lnTo>
                    <a:lnTo>
                      <a:pt x="1674" y="2106"/>
                    </a:lnTo>
                    <a:lnTo>
                      <a:pt x="1674" y="2118"/>
                    </a:lnTo>
                    <a:lnTo>
                      <a:pt x="1626" y="2166"/>
                    </a:lnTo>
                    <a:lnTo>
                      <a:pt x="1626" y="2178"/>
                    </a:lnTo>
                    <a:lnTo>
                      <a:pt x="1638" y="2190"/>
                    </a:lnTo>
                    <a:lnTo>
                      <a:pt x="1644" y="2202"/>
                    </a:lnTo>
                    <a:lnTo>
                      <a:pt x="1668" y="2214"/>
                    </a:lnTo>
                    <a:lnTo>
                      <a:pt x="1680" y="2226"/>
                    </a:lnTo>
                    <a:lnTo>
                      <a:pt x="1692" y="2232"/>
                    </a:lnTo>
                    <a:lnTo>
                      <a:pt x="1716" y="2256"/>
                    </a:lnTo>
                    <a:lnTo>
                      <a:pt x="1728" y="2262"/>
                    </a:lnTo>
                    <a:lnTo>
                      <a:pt x="1800" y="2262"/>
                    </a:lnTo>
                    <a:lnTo>
                      <a:pt x="1824" y="2286"/>
                    </a:lnTo>
                    <a:lnTo>
                      <a:pt x="1842" y="2292"/>
                    </a:lnTo>
                    <a:lnTo>
                      <a:pt x="1872" y="2286"/>
                    </a:lnTo>
                    <a:lnTo>
                      <a:pt x="1902" y="2274"/>
                    </a:lnTo>
                    <a:lnTo>
                      <a:pt x="1932" y="2256"/>
                    </a:lnTo>
                    <a:lnTo>
                      <a:pt x="1944" y="2250"/>
                    </a:lnTo>
                    <a:lnTo>
                      <a:pt x="1944" y="2226"/>
                    </a:lnTo>
                    <a:lnTo>
                      <a:pt x="1956" y="2214"/>
                    </a:lnTo>
                    <a:lnTo>
                      <a:pt x="1962" y="2214"/>
                    </a:lnTo>
                    <a:lnTo>
                      <a:pt x="1974" y="2226"/>
                    </a:lnTo>
                    <a:lnTo>
                      <a:pt x="1974" y="2256"/>
                    </a:lnTo>
                    <a:lnTo>
                      <a:pt x="1992" y="2256"/>
                    </a:lnTo>
                    <a:lnTo>
                      <a:pt x="1980" y="2280"/>
                    </a:lnTo>
                    <a:lnTo>
                      <a:pt x="1998" y="2280"/>
                    </a:lnTo>
                    <a:lnTo>
                      <a:pt x="1998" y="2292"/>
                    </a:lnTo>
                    <a:lnTo>
                      <a:pt x="2004" y="2298"/>
                    </a:lnTo>
                    <a:lnTo>
                      <a:pt x="2010" y="2310"/>
                    </a:lnTo>
                    <a:lnTo>
                      <a:pt x="2016" y="2316"/>
                    </a:lnTo>
                    <a:lnTo>
                      <a:pt x="2028" y="2316"/>
                    </a:lnTo>
                    <a:lnTo>
                      <a:pt x="2040" y="2304"/>
                    </a:lnTo>
                    <a:lnTo>
                      <a:pt x="2046" y="2304"/>
                    </a:lnTo>
                    <a:lnTo>
                      <a:pt x="2052" y="2298"/>
                    </a:lnTo>
                    <a:lnTo>
                      <a:pt x="2070" y="2292"/>
                    </a:lnTo>
                    <a:lnTo>
                      <a:pt x="2082" y="2286"/>
                    </a:lnTo>
                    <a:lnTo>
                      <a:pt x="2088" y="2280"/>
                    </a:lnTo>
                    <a:lnTo>
                      <a:pt x="2100" y="2274"/>
                    </a:lnTo>
                    <a:lnTo>
                      <a:pt x="2124" y="2250"/>
                    </a:lnTo>
                    <a:lnTo>
                      <a:pt x="2136" y="2244"/>
                    </a:lnTo>
                    <a:lnTo>
                      <a:pt x="2148" y="2232"/>
                    </a:lnTo>
                    <a:lnTo>
                      <a:pt x="2160" y="2226"/>
                    </a:lnTo>
                    <a:lnTo>
                      <a:pt x="2154" y="2214"/>
                    </a:lnTo>
                    <a:lnTo>
                      <a:pt x="2190" y="2202"/>
                    </a:lnTo>
                    <a:lnTo>
                      <a:pt x="2202" y="2214"/>
                    </a:lnTo>
                    <a:lnTo>
                      <a:pt x="2220" y="2214"/>
                    </a:lnTo>
                    <a:lnTo>
                      <a:pt x="2256" y="2208"/>
                    </a:lnTo>
                    <a:lnTo>
                      <a:pt x="2298" y="2196"/>
                    </a:lnTo>
                    <a:lnTo>
                      <a:pt x="2316" y="2178"/>
                    </a:lnTo>
                    <a:lnTo>
                      <a:pt x="2328" y="2148"/>
                    </a:lnTo>
                    <a:lnTo>
                      <a:pt x="2334" y="2118"/>
                    </a:lnTo>
                    <a:lnTo>
                      <a:pt x="2340" y="2100"/>
                    </a:lnTo>
                    <a:lnTo>
                      <a:pt x="2346" y="2088"/>
                    </a:lnTo>
                    <a:lnTo>
                      <a:pt x="2376" y="2058"/>
                    </a:lnTo>
                    <a:lnTo>
                      <a:pt x="2382" y="2058"/>
                    </a:lnTo>
                    <a:lnTo>
                      <a:pt x="2382" y="2034"/>
                    </a:lnTo>
                    <a:lnTo>
                      <a:pt x="2388" y="2034"/>
                    </a:lnTo>
                    <a:lnTo>
                      <a:pt x="2394" y="2028"/>
                    </a:lnTo>
                    <a:lnTo>
                      <a:pt x="2406" y="2022"/>
                    </a:lnTo>
                    <a:lnTo>
                      <a:pt x="2418" y="2010"/>
                    </a:lnTo>
                    <a:lnTo>
                      <a:pt x="2424" y="1998"/>
                    </a:lnTo>
                    <a:lnTo>
                      <a:pt x="2442" y="1980"/>
                    </a:lnTo>
                    <a:lnTo>
                      <a:pt x="2442" y="1956"/>
                    </a:lnTo>
                    <a:lnTo>
                      <a:pt x="2448" y="1944"/>
                    </a:lnTo>
                    <a:lnTo>
                      <a:pt x="2454" y="1926"/>
                    </a:lnTo>
                    <a:lnTo>
                      <a:pt x="2460" y="1914"/>
                    </a:lnTo>
                    <a:lnTo>
                      <a:pt x="2490" y="1884"/>
                    </a:lnTo>
                    <a:lnTo>
                      <a:pt x="2502" y="1866"/>
                    </a:lnTo>
                    <a:lnTo>
                      <a:pt x="2526" y="1842"/>
                    </a:lnTo>
                    <a:lnTo>
                      <a:pt x="2538" y="1836"/>
                    </a:lnTo>
                    <a:lnTo>
                      <a:pt x="2550" y="1824"/>
                    </a:lnTo>
                    <a:lnTo>
                      <a:pt x="2556" y="1812"/>
                    </a:lnTo>
                    <a:lnTo>
                      <a:pt x="2556" y="1800"/>
                    </a:lnTo>
                    <a:lnTo>
                      <a:pt x="2562" y="1788"/>
                    </a:lnTo>
                    <a:lnTo>
                      <a:pt x="2562" y="1782"/>
                    </a:lnTo>
                    <a:lnTo>
                      <a:pt x="2586" y="1782"/>
                    </a:lnTo>
                    <a:lnTo>
                      <a:pt x="2610" y="1770"/>
                    </a:lnTo>
                    <a:lnTo>
                      <a:pt x="2622" y="1752"/>
                    </a:lnTo>
                    <a:lnTo>
                      <a:pt x="2646" y="1728"/>
                    </a:lnTo>
                    <a:lnTo>
                      <a:pt x="2670" y="1698"/>
                    </a:lnTo>
                    <a:lnTo>
                      <a:pt x="2688" y="1674"/>
                    </a:lnTo>
                    <a:lnTo>
                      <a:pt x="2700" y="1662"/>
                    </a:lnTo>
                    <a:lnTo>
                      <a:pt x="2700" y="1656"/>
                    </a:lnTo>
                    <a:lnTo>
                      <a:pt x="2706" y="1638"/>
                    </a:lnTo>
                    <a:lnTo>
                      <a:pt x="2706" y="1614"/>
                    </a:lnTo>
                    <a:lnTo>
                      <a:pt x="2712" y="1596"/>
                    </a:lnTo>
                    <a:lnTo>
                      <a:pt x="2718" y="1590"/>
                    </a:lnTo>
                    <a:lnTo>
                      <a:pt x="2730" y="1572"/>
                    </a:lnTo>
                    <a:lnTo>
                      <a:pt x="2754" y="1542"/>
                    </a:lnTo>
                    <a:lnTo>
                      <a:pt x="2772" y="1494"/>
                    </a:lnTo>
                    <a:lnTo>
                      <a:pt x="2796" y="1458"/>
                    </a:lnTo>
                    <a:lnTo>
                      <a:pt x="2808" y="1428"/>
                    </a:lnTo>
                    <a:lnTo>
                      <a:pt x="2814" y="1416"/>
                    </a:lnTo>
                    <a:lnTo>
                      <a:pt x="2814" y="1386"/>
                    </a:lnTo>
                    <a:lnTo>
                      <a:pt x="2802" y="1362"/>
                    </a:lnTo>
                    <a:lnTo>
                      <a:pt x="2820" y="1308"/>
                    </a:lnTo>
                    <a:lnTo>
                      <a:pt x="2832" y="1290"/>
                    </a:lnTo>
                    <a:lnTo>
                      <a:pt x="2838" y="1266"/>
                    </a:lnTo>
                    <a:lnTo>
                      <a:pt x="2838" y="1224"/>
                    </a:lnTo>
                    <a:lnTo>
                      <a:pt x="2832" y="1194"/>
                    </a:lnTo>
                    <a:lnTo>
                      <a:pt x="2832" y="1176"/>
                    </a:lnTo>
                    <a:lnTo>
                      <a:pt x="2802" y="1164"/>
                    </a:lnTo>
                    <a:close/>
                    <a:moveTo>
                      <a:pt x="2016" y="2436"/>
                    </a:moveTo>
                    <a:lnTo>
                      <a:pt x="2022" y="2442"/>
                    </a:lnTo>
                    <a:lnTo>
                      <a:pt x="2028" y="2442"/>
                    </a:lnTo>
                    <a:lnTo>
                      <a:pt x="2040" y="2436"/>
                    </a:lnTo>
                    <a:lnTo>
                      <a:pt x="2046" y="2430"/>
                    </a:lnTo>
                    <a:lnTo>
                      <a:pt x="2034" y="2418"/>
                    </a:lnTo>
                    <a:lnTo>
                      <a:pt x="2016" y="2436"/>
                    </a:lnTo>
                    <a:close/>
                    <a:moveTo>
                      <a:pt x="1992" y="2454"/>
                    </a:moveTo>
                    <a:lnTo>
                      <a:pt x="1974" y="2454"/>
                    </a:lnTo>
                    <a:lnTo>
                      <a:pt x="1962" y="2466"/>
                    </a:lnTo>
                    <a:lnTo>
                      <a:pt x="1962" y="2472"/>
                    </a:lnTo>
                    <a:lnTo>
                      <a:pt x="1962" y="2460"/>
                    </a:lnTo>
                    <a:lnTo>
                      <a:pt x="1938" y="2460"/>
                    </a:lnTo>
                    <a:lnTo>
                      <a:pt x="1926" y="2466"/>
                    </a:lnTo>
                    <a:lnTo>
                      <a:pt x="1914" y="2466"/>
                    </a:lnTo>
                    <a:lnTo>
                      <a:pt x="1908" y="2478"/>
                    </a:lnTo>
                    <a:lnTo>
                      <a:pt x="1890" y="2460"/>
                    </a:lnTo>
                    <a:lnTo>
                      <a:pt x="1854" y="2460"/>
                    </a:lnTo>
                    <a:lnTo>
                      <a:pt x="1830" y="2430"/>
                    </a:lnTo>
                    <a:lnTo>
                      <a:pt x="1824" y="2436"/>
                    </a:lnTo>
                    <a:lnTo>
                      <a:pt x="1818" y="2436"/>
                    </a:lnTo>
                    <a:lnTo>
                      <a:pt x="1812" y="2442"/>
                    </a:lnTo>
                    <a:lnTo>
                      <a:pt x="1806" y="2442"/>
                    </a:lnTo>
                    <a:lnTo>
                      <a:pt x="1776" y="2412"/>
                    </a:lnTo>
                    <a:lnTo>
                      <a:pt x="1776" y="2424"/>
                    </a:lnTo>
                    <a:lnTo>
                      <a:pt x="1782" y="2448"/>
                    </a:lnTo>
                    <a:lnTo>
                      <a:pt x="1782" y="2472"/>
                    </a:lnTo>
                    <a:lnTo>
                      <a:pt x="1776" y="2478"/>
                    </a:lnTo>
                    <a:lnTo>
                      <a:pt x="1776" y="2484"/>
                    </a:lnTo>
                    <a:lnTo>
                      <a:pt x="1770" y="2490"/>
                    </a:lnTo>
                    <a:lnTo>
                      <a:pt x="1770" y="2502"/>
                    </a:lnTo>
                    <a:lnTo>
                      <a:pt x="1776" y="2514"/>
                    </a:lnTo>
                    <a:lnTo>
                      <a:pt x="1776" y="2532"/>
                    </a:lnTo>
                    <a:lnTo>
                      <a:pt x="1764" y="2538"/>
                    </a:lnTo>
                    <a:lnTo>
                      <a:pt x="1758" y="2544"/>
                    </a:lnTo>
                    <a:lnTo>
                      <a:pt x="1752" y="2544"/>
                    </a:lnTo>
                    <a:lnTo>
                      <a:pt x="1740" y="2532"/>
                    </a:lnTo>
                    <a:lnTo>
                      <a:pt x="1740" y="2538"/>
                    </a:lnTo>
                    <a:lnTo>
                      <a:pt x="1734" y="2544"/>
                    </a:lnTo>
                    <a:lnTo>
                      <a:pt x="1734" y="2556"/>
                    </a:lnTo>
                    <a:lnTo>
                      <a:pt x="1728" y="2574"/>
                    </a:lnTo>
                    <a:lnTo>
                      <a:pt x="1728" y="2586"/>
                    </a:lnTo>
                    <a:lnTo>
                      <a:pt x="1740" y="2610"/>
                    </a:lnTo>
                    <a:lnTo>
                      <a:pt x="1740" y="2616"/>
                    </a:lnTo>
                    <a:lnTo>
                      <a:pt x="1746" y="2628"/>
                    </a:lnTo>
                    <a:lnTo>
                      <a:pt x="1770" y="2628"/>
                    </a:lnTo>
                    <a:lnTo>
                      <a:pt x="1752" y="2640"/>
                    </a:lnTo>
                    <a:lnTo>
                      <a:pt x="1758" y="2664"/>
                    </a:lnTo>
                    <a:lnTo>
                      <a:pt x="1770" y="2658"/>
                    </a:lnTo>
                    <a:lnTo>
                      <a:pt x="1776" y="2658"/>
                    </a:lnTo>
                    <a:lnTo>
                      <a:pt x="1782" y="2652"/>
                    </a:lnTo>
                    <a:lnTo>
                      <a:pt x="1794" y="2652"/>
                    </a:lnTo>
                    <a:lnTo>
                      <a:pt x="1800" y="2658"/>
                    </a:lnTo>
                    <a:lnTo>
                      <a:pt x="1818" y="2658"/>
                    </a:lnTo>
                    <a:lnTo>
                      <a:pt x="1830" y="2652"/>
                    </a:lnTo>
                    <a:lnTo>
                      <a:pt x="1836" y="2646"/>
                    </a:lnTo>
                    <a:lnTo>
                      <a:pt x="1842" y="2634"/>
                    </a:lnTo>
                    <a:lnTo>
                      <a:pt x="1854" y="2634"/>
                    </a:lnTo>
                    <a:lnTo>
                      <a:pt x="1860" y="2640"/>
                    </a:lnTo>
                    <a:lnTo>
                      <a:pt x="1860" y="2646"/>
                    </a:lnTo>
                    <a:lnTo>
                      <a:pt x="1848" y="2658"/>
                    </a:lnTo>
                    <a:lnTo>
                      <a:pt x="1866" y="2664"/>
                    </a:lnTo>
                    <a:lnTo>
                      <a:pt x="1884" y="2646"/>
                    </a:lnTo>
                    <a:lnTo>
                      <a:pt x="1890" y="2634"/>
                    </a:lnTo>
                    <a:lnTo>
                      <a:pt x="1902" y="2628"/>
                    </a:lnTo>
                    <a:lnTo>
                      <a:pt x="1908" y="2616"/>
                    </a:lnTo>
                    <a:lnTo>
                      <a:pt x="1920" y="2604"/>
                    </a:lnTo>
                    <a:lnTo>
                      <a:pt x="1914" y="2604"/>
                    </a:lnTo>
                    <a:lnTo>
                      <a:pt x="1902" y="2592"/>
                    </a:lnTo>
                    <a:lnTo>
                      <a:pt x="1920" y="2562"/>
                    </a:lnTo>
                    <a:lnTo>
                      <a:pt x="1950" y="2562"/>
                    </a:lnTo>
                    <a:lnTo>
                      <a:pt x="1962" y="2538"/>
                    </a:lnTo>
                    <a:lnTo>
                      <a:pt x="1962" y="2514"/>
                    </a:lnTo>
                    <a:lnTo>
                      <a:pt x="1968" y="2502"/>
                    </a:lnTo>
                    <a:lnTo>
                      <a:pt x="1980" y="2496"/>
                    </a:lnTo>
                    <a:lnTo>
                      <a:pt x="1986" y="2484"/>
                    </a:lnTo>
                    <a:lnTo>
                      <a:pt x="1992" y="2478"/>
                    </a:lnTo>
                    <a:lnTo>
                      <a:pt x="1998" y="2466"/>
                    </a:lnTo>
                    <a:lnTo>
                      <a:pt x="1998" y="2460"/>
                    </a:lnTo>
                    <a:lnTo>
                      <a:pt x="1992" y="2454"/>
                    </a:lnTo>
                    <a:close/>
                    <a:moveTo>
                      <a:pt x="1902" y="246"/>
                    </a:moveTo>
                    <a:lnTo>
                      <a:pt x="1890" y="258"/>
                    </a:lnTo>
                    <a:lnTo>
                      <a:pt x="1890" y="270"/>
                    </a:lnTo>
                    <a:lnTo>
                      <a:pt x="1884" y="282"/>
                    </a:lnTo>
                    <a:lnTo>
                      <a:pt x="1884" y="294"/>
                    </a:lnTo>
                    <a:lnTo>
                      <a:pt x="1896" y="300"/>
                    </a:lnTo>
                    <a:lnTo>
                      <a:pt x="1920" y="300"/>
                    </a:lnTo>
                    <a:lnTo>
                      <a:pt x="1926" y="294"/>
                    </a:lnTo>
                    <a:lnTo>
                      <a:pt x="1932" y="294"/>
                    </a:lnTo>
                    <a:lnTo>
                      <a:pt x="1926" y="282"/>
                    </a:lnTo>
                    <a:lnTo>
                      <a:pt x="1932" y="252"/>
                    </a:lnTo>
                    <a:lnTo>
                      <a:pt x="1920" y="252"/>
                    </a:lnTo>
                    <a:lnTo>
                      <a:pt x="1908" y="246"/>
                    </a:lnTo>
                    <a:lnTo>
                      <a:pt x="1902" y="246"/>
                    </a:lnTo>
                    <a:close/>
                    <a:moveTo>
                      <a:pt x="1770" y="2334"/>
                    </a:moveTo>
                    <a:lnTo>
                      <a:pt x="1758" y="2376"/>
                    </a:lnTo>
                    <a:lnTo>
                      <a:pt x="1812" y="2328"/>
                    </a:lnTo>
                    <a:lnTo>
                      <a:pt x="1770" y="2334"/>
                    </a:lnTo>
                    <a:close/>
                    <a:moveTo>
                      <a:pt x="2034" y="2400"/>
                    </a:moveTo>
                    <a:lnTo>
                      <a:pt x="2016" y="2358"/>
                    </a:lnTo>
                    <a:lnTo>
                      <a:pt x="1998" y="2376"/>
                    </a:lnTo>
                    <a:lnTo>
                      <a:pt x="1998" y="2394"/>
                    </a:lnTo>
                    <a:lnTo>
                      <a:pt x="2010" y="2406"/>
                    </a:lnTo>
                    <a:lnTo>
                      <a:pt x="2028" y="2406"/>
                    </a:lnTo>
                    <a:lnTo>
                      <a:pt x="2034" y="240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6" name="South Afric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02911F5-36F3-446D-878A-ADBD5EB9BCB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059620" y="5323494"/>
                <a:ext cx="503186" cy="458797"/>
              </a:xfrm>
              <a:custGeom>
                <a:avLst/>
                <a:gdLst>
                  <a:gd name="T0" fmla="*/ 2147483647 w 1134"/>
                  <a:gd name="T1" fmla="*/ 2147483647 h 1020"/>
                  <a:gd name="T2" fmla="*/ 2147483647 w 1134"/>
                  <a:gd name="T3" fmla="*/ 2147483647 h 1020"/>
                  <a:gd name="T4" fmla="*/ 2147483647 w 1134"/>
                  <a:gd name="T5" fmla="*/ 2147483647 h 1020"/>
                  <a:gd name="T6" fmla="*/ 2147483647 w 1134"/>
                  <a:gd name="T7" fmla="*/ 2147483647 h 1020"/>
                  <a:gd name="T8" fmla="*/ 2147483647 w 1134"/>
                  <a:gd name="T9" fmla="*/ 2147483647 h 1020"/>
                  <a:gd name="T10" fmla="*/ 2147483647 w 1134"/>
                  <a:gd name="T11" fmla="*/ 2147483647 h 1020"/>
                  <a:gd name="T12" fmla="*/ 2147483647 w 1134"/>
                  <a:gd name="T13" fmla="*/ 2147483647 h 1020"/>
                  <a:gd name="T14" fmla="*/ 2147483647 w 1134"/>
                  <a:gd name="T15" fmla="*/ 2147483647 h 1020"/>
                  <a:gd name="T16" fmla="*/ 2147483647 w 1134"/>
                  <a:gd name="T17" fmla="*/ 2147483647 h 1020"/>
                  <a:gd name="T18" fmla="*/ 2147483647 w 1134"/>
                  <a:gd name="T19" fmla="*/ 2147483647 h 1020"/>
                  <a:gd name="T20" fmla="*/ 2147483647 w 1134"/>
                  <a:gd name="T21" fmla="*/ 2147483647 h 1020"/>
                  <a:gd name="T22" fmla="*/ 2147483647 w 1134"/>
                  <a:gd name="T23" fmla="*/ 2147483647 h 1020"/>
                  <a:gd name="T24" fmla="*/ 2147483647 w 1134"/>
                  <a:gd name="T25" fmla="*/ 2147483647 h 1020"/>
                  <a:gd name="T26" fmla="*/ 2147483647 w 1134"/>
                  <a:gd name="T27" fmla="*/ 2147483647 h 1020"/>
                  <a:gd name="T28" fmla="*/ 2147483647 w 1134"/>
                  <a:gd name="T29" fmla="*/ 2147483647 h 1020"/>
                  <a:gd name="T30" fmla="*/ 2147483647 w 1134"/>
                  <a:gd name="T31" fmla="*/ 2147483647 h 1020"/>
                  <a:gd name="T32" fmla="*/ 2147483647 w 1134"/>
                  <a:gd name="T33" fmla="*/ 2147483647 h 1020"/>
                  <a:gd name="T34" fmla="*/ 2147483647 w 1134"/>
                  <a:gd name="T35" fmla="*/ 2147483647 h 1020"/>
                  <a:gd name="T36" fmla="*/ 2147483647 w 1134"/>
                  <a:gd name="T37" fmla="*/ 2147483647 h 1020"/>
                  <a:gd name="T38" fmla="*/ 2147483647 w 1134"/>
                  <a:gd name="T39" fmla="*/ 2147483647 h 1020"/>
                  <a:gd name="T40" fmla="*/ 2147483647 w 1134"/>
                  <a:gd name="T41" fmla="*/ 2147483647 h 1020"/>
                  <a:gd name="T42" fmla="*/ 2147483647 w 1134"/>
                  <a:gd name="T43" fmla="*/ 2147483647 h 1020"/>
                  <a:gd name="T44" fmla="*/ 2147483647 w 1134"/>
                  <a:gd name="T45" fmla="*/ 2147483647 h 1020"/>
                  <a:gd name="T46" fmla="*/ 2147483647 w 1134"/>
                  <a:gd name="T47" fmla="*/ 2147483647 h 1020"/>
                  <a:gd name="T48" fmla="*/ 2147483647 w 1134"/>
                  <a:gd name="T49" fmla="*/ 2147483647 h 1020"/>
                  <a:gd name="T50" fmla="*/ 2147483647 w 1134"/>
                  <a:gd name="T51" fmla="*/ 2147483647 h 1020"/>
                  <a:gd name="T52" fmla="*/ 2147483647 w 1134"/>
                  <a:gd name="T53" fmla="*/ 2147483647 h 1020"/>
                  <a:gd name="T54" fmla="*/ 2147483647 w 1134"/>
                  <a:gd name="T55" fmla="*/ 2147483647 h 1020"/>
                  <a:gd name="T56" fmla="*/ 2147483647 w 1134"/>
                  <a:gd name="T57" fmla="*/ 2147483647 h 1020"/>
                  <a:gd name="T58" fmla="*/ 2147483647 w 1134"/>
                  <a:gd name="T59" fmla="*/ 2147483647 h 1020"/>
                  <a:gd name="T60" fmla="*/ 2147483647 w 1134"/>
                  <a:gd name="T61" fmla="*/ 2147483647 h 1020"/>
                  <a:gd name="T62" fmla="*/ 0 w 1134"/>
                  <a:gd name="T63" fmla="*/ 2147483647 h 1020"/>
                  <a:gd name="T64" fmla="*/ 2147483647 w 1134"/>
                  <a:gd name="T65" fmla="*/ 2147483647 h 1020"/>
                  <a:gd name="T66" fmla="*/ 2147483647 w 1134"/>
                  <a:gd name="T67" fmla="*/ 2147483647 h 1020"/>
                  <a:gd name="T68" fmla="*/ 2147483647 w 1134"/>
                  <a:gd name="T69" fmla="*/ 2147483647 h 1020"/>
                  <a:gd name="T70" fmla="*/ 2147483647 w 1134"/>
                  <a:gd name="T71" fmla="*/ 2147483647 h 1020"/>
                  <a:gd name="T72" fmla="*/ 2147483647 w 1134"/>
                  <a:gd name="T73" fmla="*/ 2147483647 h 1020"/>
                  <a:gd name="T74" fmla="*/ 2147483647 w 1134"/>
                  <a:gd name="T75" fmla="*/ 2147483647 h 1020"/>
                  <a:gd name="T76" fmla="*/ 2147483647 w 1134"/>
                  <a:gd name="T77" fmla="*/ 2147483647 h 1020"/>
                  <a:gd name="T78" fmla="*/ 2147483647 w 1134"/>
                  <a:gd name="T79" fmla="*/ 2147483647 h 1020"/>
                  <a:gd name="T80" fmla="*/ 2147483647 w 1134"/>
                  <a:gd name="T81" fmla="*/ 2147483647 h 1020"/>
                  <a:gd name="T82" fmla="*/ 2147483647 w 1134"/>
                  <a:gd name="T83" fmla="*/ 2147483647 h 1020"/>
                  <a:gd name="T84" fmla="*/ 2147483647 w 1134"/>
                  <a:gd name="T85" fmla="*/ 2147483647 h 1020"/>
                  <a:gd name="T86" fmla="*/ 2147483647 w 1134"/>
                  <a:gd name="T87" fmla="*/ 2147483647 h 1020"/>
                  <a:gd name="T88" fmla="*/ 2147483647 w 1134"/>
                  <a:gd name="T89" fmla="*/ 2147483647 h 1020"/>
                  <a:gd name="T90" fmla="*/ 2147483647 w 1134"/>
                  <a:gd name="T91" fmla="*/ 2147483647 h 1020"/>
                  <a:gd name="T92" fmla="*/ 2147483647 w 1134"/>
                  <a:gd name="T93" fmla="*/ 2147483647 h 1020"/>
                  <a:gd name="T94" fmla="*/ 2147483647 w 1134"/>
                  <a:gd name="T95" fmla="*/ 2147483647 h 1020"/>
                  <a:gd name="T96" fmla="*/ 2147483647 w 1134"/>
                  <a:gd name="T97" fmla="*/ 2147483647 h 1020"/>
                  <a:gd name="T98" fmla="*/ 2147483647 w 1134"/>
                  <a:gd name="T99" fmla="*/ 2147483647 h 1020"/>
                  <a:gd name="T100" fmla="*/ 2147483647 w 1134"/>
                  <a:gd name="T101" fmla="*/ 2147483647 h 1020"/>
                  <a:gd name="T102" fmla="*/ 2147483647 w 1134"/>
                  <a:gd name="T103" fmla="*/ 2147483647 h 1020"/>
                  <a:gd name="T104" fmla="*/ 2147483647 w 1134"/>
                  <a:gd name="T105" fmla="*/ 2147483647 h 1020"/>
                  <a:gd name="T106" fmla="*/ 2147483647 w 1134"/>
                  <a:gd name="T107" fmla="*/ 2147483647 h 1020"/>
                  <a:gd name="T108" fmla="*/ 2147483647 w 1134"/>
                  <a:gd name="T109" fmla="*/ 2147483647 h 1020"/>
                  <a:gd name="T110" fmla="*/ 2147483647 w 1134"/>
                  <a:gd name="T111" fmla="*/ 2147483647 h 1020"/>
                  <a:gd name="T112" fmla="*/ 2147483647 w 1134"/>
                  <a:gd name="T113" fmla="*/ 2147483647 h 1020"/>
                  <a:gd name="T114" fmla="*/ 2147483647 w 1134"/>
                  <a:gd name="T115" fmla="*/ 2147483647 h 1020"/>
                  <a:gd name="T116" fmla="*/ 2147483647 w 1134"/>
                  <a:gd name="T117" fmla="*/ 2147483647 h 1020"/>
                  <a:gd name="T118" fmla="*/ 2147483647 w 1134"/>
                  <a:gd name="T119" fmla="*/ 2147483647 h 1020"/>
                  <a:gd name="T120" fmla="*/ 2147483647 w 1134"/>
                  <a:gd name="T121" fmla="*/ 2147483647 h 1020"/>
                  <a:gd name="T122" fmla="*/ 2147483647 w 1134"/>
                  <a:gd name="T123" fmla="*/ 2147483647 h 1020"/>
                  <a:gd name="T124" fmla="*/ 2147483647 w 1134"/>
                  <a:gd name="T125" fmla="*/ 2147483647 h 102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34"/>
                  <a:gd name="T190" fmla="*/ 0 h 1020"/>
                  <a:gd name="T191" fmla="*/ 1134 w 1134"/>
                  <a:gd name="T192" fmla="*/ 1020 h 102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34" h="1020">
                    <a:moveTo>
                      <a:pt x="1116" y="372"/>
                    </a:moveTo>
                    <a:lnTo>
                      <a:pt x="1098" y="372"/>
                    </a:lnTo>
                    <a:lnTo>
                      <a:pt x="1092" y="378"/>
                    </a:lnTo>
                    <a:lnTo>
                      <a:pt x="1086" y="378"/>
                    </a:lnTo>
                    <a:lnTo>
                      <a:pt x="1074" y="420"/>
                    </a:lnTo>
                    <a:lnTo>
                      <a:pt x="1062" y="420"/>
                    </a:lnTo>
                    <a:lnTo>
                      <a:pt x="1050" y="414"/>
                    </a:lnTo>
                    <a:lnTo>
                      <a:pt x="1032" y="414"/>
                    </a:lnTo>
                    <a:lnTo>
                      <a:pt x="1020" y="402"/>
                    </a:lnTo>
                    <a:lnTo>
                      <a:pt x="1008" y="396"/>
                    </a:lnTo>
                    <a:lnTo>
                      <a:pt x="996" y="372"/>
                    </a:lnTo>
                    <a:lnTo>
                      <a:pt x="996" y="348"/>
                    </a:lnTo>
                    <a:lnTo>
                      <a:pt x="1002" y="336"/>
                    </a:lnTo>
                    <a:lnTo>
                      <a:pt x="1014" y="324"/>
                    </a:lnTo>
                    <a:lnTo>
                      <a:pt x="1014" y="312"/>
                    </a:lnTo>
                    <a:lnTo>
                      <a:pt x="1020" y="300"/>
                    </a:lnTo>
                    <a:lnTo>
                      <a:pt x="1032" y="288"/>
                    </a:lnTo>
                    <a:lnTo>
                      <a:pt x="1038" y="288"/>
                    </a:lnTo>
                    <a:lnTo>
                      <a:pt x="1050" y="294"/>
                    </a:lnTo>
                    <a:lnTo>
                      <a:pt x="1062" y="306"/>
                    </a:lnTo>
                    <a:lnTo>
                      <a:pt x="1086" y="270"/>
                    </a:lnTo>
                    <a:lnTo>
                      <a:pt x="1086" y="180"/>
                    </a:lnTo>
                    <a:lnTo>
                      <a:pt x="1056" y="120"/>
                    </a:lnTo>
                    <a:lnTo>
                      <a:pt x="1056" y="102"/>
                    </a:lnTo>
                    <a:lnTo>
                      <a:pt x="1050" y="90"/>
                    </a:lnTo>
                    <a:lnTo>
                      <a:pt x="1050" y="72"/>
                    </a:lnTo>
                    <a:lnTo>
                      <a:pt x="1044" y="54"/>
                    </a:lnTo>
                    <a:lnTo>
                      <a:pt x="1044" y="24"/>
                    </a:lnTo>
                    <a:lnTo>
                      <a:pt x="1026" y="12"/>
                    </a:lnTo>
                    <a:lnTo>
                      <a:pt x="966" y="12"/>
                    </a:lnTo>
                    <a:lnTo>
                      <a:pt x="954" y="6"/>
                    </a:lnTo>
                    <a:lnTo>
                      <a:pt x="948" y="6"/>
                    </a:lnTo>
                    <a:lnTo>
                      <a:pt x="936" y="0"/>
                    </a:lnTo>
                    <a:lnTo>
                      <a:pt x="876" y="0"/>
                    </a:lnTo>
                    <a:lnTo>
                      <a:pt x="864" y="24"/>
                    </a:lnTo>
                    <a:lnTo>
                      <a:pt x="852" y="24"/>
                    </a:lnTo>
                    <a:lnTo>
                      <a:pt x="840" y="30"/>
                    </a:lnTo>
                    <a:lnTo>
                      <a:pt x="828" y="30"/>
                    </a:lnTo>
                    <a:lnTo>
                      <a:pt x="822" y="36"/>
                    </a:lnTo>
                    <a:lnTo>
                      <a:pt x="810" y="60"/>
                    </a:lnTo>
                    <a:lnTo>
                      <a:pt x="768" y="102"/>
                    </a:lnTo>
                    <a:lnTo>
                      <a:pt x="756" y="108"/>
                    </a:lnTo>
                    <a:lnTo>
                      <a:pt x="750" y="108"/>
                    </a:lnTo>
                    <a:lnTo>
                      <a:pt x="738" y="114"/>
                    </a:lnTo>
                    <a:lnTo>
                      <a:pt x="726" y="138"/>
                    </a:lnTo>
                    <a:lnTo>
                      <a:pt x="726" y="174"/>
                    </a:lnTo>
                    <a:lnTo>
                      <a:pt x="714" y="180"/>
                    </a:lnTo>
                    <a:lnTo>
                      <a:pt x="708" y="192"/>
                    </a:lnTo>
                    <a:lnTo>
                      <a:pt x="702" y="198"/>
                    </a:lnTo>
                    <a:lnTo>
                      <a:pt x="690" y="204"/>
                    </a:lnTo>
                    <a:lnTo>
                      <a:pt x="672" y="210"/>
                    </a:lnTo>
                    <a:lnTo>
                      <a:pt x="654" y="228"/>
                    </a:lnTo>
                    <a:lnTo>
                      <a:pt x="654" y="240"/>
                    </a:lnTo>
                    <a:lnTo>
                      <a:pt x="648" y="252"/>
                    </a:lnTo>
                    <a:lnTo>
                      <a:pt x="642" y="270"/>
                    </a:lnTo>
                    <a:lnTo>
                      <a:pt x="636" y="282"/>
                    </a:lnTo>
                    <a:lnTo>
                      <a:pt x="630" y="288"/>
                    </a:lnTo>
                    <a:lnTo>
                      <a:pt x="618" y="294"/>
                    </a:lnTo>
                    <a:lnTo>
                      <a:pt x="606" y="294"/>
                    </a:lnTo>
                    <a:lnTo>
                      <a:pt x="600" y="288"/>
                    </a:lnTo>
                    <a:lnTo>
                      <a:pt x="594" y="294"/>
                    </a:lnTo>
                    <a:lnTo>
                      <a:pt x="582" y="300"/>
                    </a:lnTo>
                    <a:lnTo>
                      <a:pt x="570" y="300"/>
                    </a:lnTo>
                    <a:lnTo>
                      <a:pt x="564" y="294"/>
                    </a:lnTo>
                    <a:lnTo>
                      <a:pt x="552" y="288"/>
                    </a:lnTo>
                    <a:lnTo>
                      <a:pt x="546" y="282"/>
                    </a:lnTo>
                    <a:lnTo>
                      <a:pt x="516" y="282"/>
                    </a:lnTo>
                    <a:lnTo>
                      <a:pt x="504" y="270"/>
                    </a:lnTo>
                    <a:lnTo>
                      <a:pt x="492" y="264"/>
                    </a:lnTo>
                    <a:lnTo>
                      <a:pt x="486" y="258"/>
                    </a:lnTo>
                    <a:lnTo>
                      <a:pt x="474" y="252"/>
                    </a:lnTo>
                    <a:lnTo>
                      <a:pt x="462" y="252"/>
                    </a:lnTo>
                    <a:lnTo>
                      <a:pt x="450" y="258"/>
                    </a:lnTo>
                    <a:lnTo>
                      <a:pt x="444" y="264"/>
                    </a:lnTo>
                    <a:lnTo>
                      <a:pt x="438" y="276"/>
                    </a:lnTo>
                    <a:lnTo>
                      <a:pt x="438" y="288"/>
                    </a:lnTo>
                    <a:lnTo>
                      <a:pt x="432" y="300"/>
                    </a:lnTo>
                    <a:lnTo>
                      <a:pt x="432" y="324"/>
                    </a:lnTo>
                    <a:lnTo>
                      <a:pt x="420" y="324"/>
                    </a:lnTo>
                    <a:lnTo>
                      <a:pt x="414" y="330"/>
                    </a:lnTo>
                    <a:lnTo>
                      <a:pt x="408" y="330"/>
                    </a:lnTo>
                    <a:lnTo>
                      <a:pt x="402" y="336"/>
                    </a:lnTo>
                    <a:lnTo>
                      <a:pt x="396" y="348"/>
                    </a:lnTo>
                    <a:lnTo>
                      <a:pt x="390" y="354"/>
                    </a:lnTo>
                    <a:lnTo>
                      <a:pt x="390" y="360"/>
                    </a:lnTo>
                    <a:lnTo>
                      <a:pt x="366" y="360"/>
                    </a:lnTo>
                    <a:lnTo>
                      <a:pt x="366" y="378"/>
                    </a:lnTo>
                    <a:lnTo>
                      <a:pt x="288" y="378"/>
                    </a:lnTo>
                    <a:lnTo>
                      <a:pt x="288" y="348"/>
                    </a:lnTo>
                    <a:lnTo>
                      <a:pt x="294" y="336"/>
                    </a:lnTo>
                    <a:lnTo>
                      <a:pt x="294" y="330"/>
                    </a:lnTo>
                    <a:lnTo>
                      <a:pt x="300" y="318"/>
                    </a:lnTo>
                    <a:lnTo>
                      <a:pt x="300" y="294"/>
                    </a:lnTo>
                    <a:lnTo>
                      <a:pt x="294" y="288"/>
                    </a:lnTo>
                    <a:lnTo>
                      <a:pt x="294" y="270"/>
                    </a:lnTo>
                    <a:lnTo>
                      <a:pt x="288" y="258"/>
                    </a:lnTo>
                    <a:lnTo>
                      <a:pt x="282" y="240"/>
                    </a:lnTo>
                    <a:lnTo>
                      <a:pt x="276" y="234"/>
                    </a:lnTo>
                    <a:lnTo>
                      <a:pt x="264" y="228"/>
                    </a:lnTo>
                    <a:lnTo>
                      <a:pt x="258" y="222"/>
                    </a:lnTo>
                    <a:lnTo>
                      <a:pt x="246" y="216"/>
                    </a:lnTo>
                    <a:lnTo>
                      <a:pt x="240" y="510"/>
                    </a:lnTo>
                    <a:lnTo>
                      <a:pt x="222" y="510"/>
                    </a:lnTo>
                    <a:lnTo>
                      <a:pt x="210" y="516"/>
                    </a:lnTo>
                    <a:lnTo>
                      <a:pt x="204" y="522"/>
                    </a:lnTo>
                    <a:lnTo>
                      <a:pt x="204" y="528"/>
                    </a:lnTo>
                    <a:lnTo>
                      <a:pt x="192" y="528"/>
                    </a:lnTo>
                    <a:lnTo>
                      <a:pt x="192" y="552"/>
                    </a:lnTo>
                    <a:lnTo>
                      <a:pt x="168" y="552"/>
                    </a:lnTo>
                    <a:lnTo>
                      <a:pt x="156" y="540"/>
                    </a:lnTo>
                    <a:lnTo>
                      <a:pt x="144" y="540"/>
                    </a:lnTo>
                    <a:lnTo>
                      <a:pt x="132" y="552"/>
                    </a:lnTo>
                    <a:lnTo>
                      <a:pt x="108" y="552"/>
                    </a:lnTo>
                    <a:lnTo>
                      <a:pt x="102" y="546"/>
                    </a:lnTo>
                    <a:lnTo>
                      <a:pt x="102" y="540"/>
                    </a:lnTo>
                    <a:lnTo>
                      <a:pt x="96" y="534"/>
                    </a:lnTo>
                    <a:lnTo>
                      <a:pt x="72" y="534"/>
                    </a:lnTo>
                    <a:lnTo>
                      <a:pt x="66" y="528"/>
                    </a:lnTo>
                    <a:lnTo>
                      <a:pt x="60" y="516"/>
                    </a:lnTo>
                    <a:lnTo>
                      <a:pt x="60" y="492"/>
                    </a:lnTo>
                    <a:lnTo>
                      <a:pt x="42" y="474"/>
                    </a:lnTo>
                    <a:lnTo>
                      <a:pt x="36" y="474"/>
                    </a:lnTo>
                    <a:lnTo>
                      <a:pt x="30" y="480"/>
                    </a:lnTo>
                    <a:lnTo>
                      <a:pt x="30" y="486"/>
                    </a:lnTo>
                    <a:lnTo>
                      <a:pt x="24" y="498"/>
                    </a:lnTo>
                    <a:lnTo>
                      <a:pt x="18" y="504"/>
                    </a:lnTo>
                    <a:lnTo>
                      <a:pt x="18" y="510"/>
                    </a:lnTo>
                    <a:lnTo>
                      <a:pt x="0" y="522"/>
                    </a:lnTo>
                    <a:lnTo>
                      <a:pt x="0" y="516"/>
                    </a:lnTo>
                    <a:lnTo>
                      <a:pt x="0" y="528"/>
                    </a:lnTo>
                    <a:lnTo>
                      <a:pt x="6" y="540"/>
                    </a:lnTo>
                    <a:lnTo>
                      <a:pt x="6" y="552"/>
                    </a:lnTo>
                    <a:lnTo>
                      <a:pt x="36" y="582"/>
                    </a:lnTo>
                    <a:lnTo>
                      <a:pt x="42" y="600"/>
                    </a:lnTo>
                    <a:lnTo>
                      <a:pt x="42" y="648"/>
                    </a:lnTo>
                    <a:lnTo>
                      <a:pt x="48" y="672"/>
                    </a:lnTo>
                    <a:lnTo>
                      <a:pt x="54" y="690"/>
                    </a:lnTo>
                    <a:lnTo>
                      <a:pt x="72" y="714"/>
                    </a:lnTo>
                    <a:lnTo>
                      <a:pt x="96" y="738"/>
                    </a:lnTo>
                    <a:lnTo>
                      <a:pt x="114" y="762"/>
                    </a:lnTo>
                    <a:lnTo>
                      <a:pt x="120" y="786"/>
                    </a:lnTo>
                    <a:lnTo>
                      <a:pt x="120" y="834"/>
                    </a:lnTo>
                    <a:lnTo>
                      <a:pt x="114" y="846"/>
                    </a:lnTo>
                    <a:lnTo>
                      <a:pt x="114" y="852"/>
                    </a:lnTo>
                    <a:lnTo>
                      <a:pt x="90" y="852"/>
                    </a:lnTo>
                    <a:lnTo>
                      <a:pt x="90" y="876"/>
                    </a:lnTo>
                    <a:lnTo>
                      <a:pt x="96" y="888"/>
                    </a:lnTo>
                    <a:lnTo>
                      <a:pt x="108" y="906"/>
                    </a:lnTo>
                    <a:lnTo>
                      <a:pt x="114" y="918"/>
                    </a:lnTo>
                    <a:lnTo>
                      <a:pt x="114" y="960"/>
                    </a:lnTo>
                    <a:lnTo>
                      <a:pt x="120" y="972"/>
                    </a:lnTo>
                    <a:lnTo>
                      <a:pt x="120" y="978"/>
                    </a:lnTo>
                    <a:lnTo>
                      <a:pt x="126" y="978"/>
                    </a:lnTo>
                    <a:lnTo>
                      <a:pt x="126" y="972"/>
                    </a:lnTo>
                    <a:lnTo>
                      <a:pt x="132" y="966"/>
                    </a:lnTo>
                    <a:lnTo>
                      <a:pt x="144" y="966"/>
                    </a:lnTo>
                    <a:lnTo>
                      <a:pt x="150" y="972"/>
                    </a:lnTo>
                    <a:lnTo>
                      <a:pt x="180" y="984"/>
                    </a:lnTo>
                    <a:lnTo>
                      <a:pt x="180" y="996"/>
                    </a:lnTo>
                    <a:lnTo>
                      <a:pt x="204" y="1020"/>
                    </a:lnTo>
                    <a:lnTo>
                      <a:pt x="216" y="1020"/>
                    </a:lnTo>
                    <a:lnTo>
                      <a:pt x="240" y="1008"/>
                    </a:lnTo>
                    <a:lnTo>
                      <a:pt x="246" y="996"/>
                    </a:lnTo>
                    <a:lnTo>
                      <a:pt x="252" y="990"/>
                    </a:lnTo>
                    <a:lnTo>
                      <a:pt x="264" y="984"/>
                    </a:lnTo>
                    <a:lnTo>
                      <a:pt x="294" y="984"/>
                    </a:lnTo>
                    <a:lnTo>
                      <a:pt x="306" y="990"/>
                    </a:lnTo>
                    <a:lnTo>
                      <a:pt x="354" y="990"/>
                    </a:lnTo>
                    <a:lnTo>
                      <a:pt x="354" y="984"/>
                    </a:lnTo>
                    <a:lnTo>
                      <a:pt x="360" y="978"/>
                    </a:lnTo>
                    <a:lnTo>
                      <a:pt x="360" y="966"/>
                    </a:lnTo>
                    <a:lnTo>
                      <a:pt x="366" y="960"/>
                    </a:lnTo>
                    <a:lnTo>
                      <a:pt x="378" y="954"/>
                    </a:lnTo>
                    <a:lnTo>
                      <a:pt x="408" y="954"/>
                    </a:lnTo>
                    <a:lnTo>
                      <a:pt x="420" y="960"/>
                    </a:lnTo>
                    <a:lnTo>
                      <a:pt x="432" y="960"/>
                    </a:lnTo>
                    <a:lnTo>
                      <a:pt x="438" y="966"/>
                    </a:lnTo>
                    <a:lnTo>
                      <a:pt x="444" y="960"/>
                    </a:lnTo>
                    <a:lnTo>
                      <a:pt x="456" y="960"/>
                    </a:lnTo>
                    <a:lnTo>
                      <a:pt x="468" y="954"/>
                    </a:lnTo>
                    <a:lnTo>
                      <a:pt x="504" y="954"/>
                    </a:lnTo>
                    <a:lnTo>
                      <a:pt x="522" y="960"/>
                    </a:lnTo>
                    <a:lnTo>
                      <a:pt x="534" y="966"/>
                    </a:lnTo>
                    <a:lnTo>
                      <a:pt x="552" y="966"/>
                    </a:lnTo>
                    <a:lnTo>
                      <a:pt x="558" y="960"/>
                    </a:lnTo>
                    <a:lnTo>
                      <a:pt x="570" y="954"/>
                    </a:lnTo>
                    <a:lnTo>
                      <a:pt x="606" y="954"/>
                    </a:lnTo>
                    <a:lnTo>
                      <a:pt x="618" y="948"/>
                    </a:lnTo>
                    <a:lnTo>
                      <a:pt x="624" y="942"/>
                    </a:lnTo>
                    <a:lnTo>
                      <a:pt x="636" y="936"/>
                    </a:lnTo>
                    <a:lnTo>
                      <a:pt x="684" y="936"/>
                    </a:lnTo>
                    <a:lnTo>
                      <a:pt x="708" y="924"/>
                    </a:lnTo>
                    <a:lnTo>
                      <a:pt x="720" y="912"/>
                    </a:lnTo>
                    <a:lnTo>
                      <a:pt x="738" y="900"/>
                    </a:lnTo>
                    <a:lnTo>
                      <a:pt x="774" y="864"/>
                    </a:lnTo>
                    <a:lnTo>
                      <a:pt x="786" y="858"/>
                    </a:lnTo>
                    <a:lnTo>
                      <a:pt x="804" y="846"/>
                    </a:lnTo>
                    <a:lnTo>
                      <a:pt x="900" y="750"/>
                    </a:lnTo>
                    <a:lnTo>
                      <a:pt x="918" y="750"/>
                    </a:lnTo>
                    <a:lnTo>
                      <a:pt x="924" y="744"/>
                    </a:lnTo>
                    <a:lnTo>
                      <a:pt x="960" y="696"/>
                    </a:lnTo>
                    <a:lnTo>
                      <a:pt x="972" y="672"/>
                    </a:lnTo>
                    <a:lnTo>
                      <a:pt x="984" y="654"/>
                    </a:lnTo>
                    <a:lnTo>
                      <a:pt x="990" y="642"/>
                    </a:lnTo>
                    <a:lnTo>
                      <a:pt x="1002" y="606"/>
                    </a:lnTo>
                    <a:lnTo>
                      <a:pt x="1014" y="588"/>
                    </a:lnTo>
                    <a:lnTo>
                      <a:pt x="1020" y="576"/>
                    </a:lnTo>
                    <a:lnTo>
                      <a:pt x="1026" y="570"/>
                    </a:lnTo>
                    <a:lnTo>
                      <a:pt x="1038" y="564"/>
                    </a:lnTo>
                    <a:lnTo>
                      <a:pt x="1050" y="552"/>
                    </a:lnTo>
                    <a:lnTo>
                      <a:pt x="1068" y="546"/>
                    </a:lnTo>
                    <a:lnTo>
                      <a:pt x="1086" y="534"/>
                    </a:lnTo>
                    <a:lnTo>
                      <a:pt x="1098" y="510"/>
                    </a:lnTo>
                    <a:lnTo>
                      <a:pt x="1098" y="498"/>
                    </a:lnTo>
                    <a:lnTo>
                      <a:pt x="1104" y="486"/>
                    </a:lnTo>
                    <a:lnTo>
                      <a:pt x="1110" y="468"/>
                    </a:lnTo>
                    <a:lnTo>
                      <a:pt x="1116" y="456"/>
                    </a:lnTo>
                    <a:lnTo>
                      <a:pt x="1122" y="450"/>
                    </a:lnTo>
                    <a:lnTo>
                      <a:pt x="1122" y="438"/>
                    </a:lnTo>
                    <a:lnTo>
                      <a:pt x="1128" y="432"/>
                    </a:lnTo>
                    <a:lnTo>
                      <a:pt x="1128" y="414"/>
                    </a:lnTo>
                    <a:lnTo>
                      <a:pt x="1134" y="396"/>
                    </a:lnTo>
                    <a:lnTo>
                      <a:pt x="1128" y="384"/>
                    </a:lnTo>
                    <a:lnTo>
                      <a:pt x="1116" y="372"/>
                    </a:lnTo>
                    <a:close/>
                    <a:moveTo>
                      <a:pt x="870" y="624"/>
                    </a:moveTo>
                    <a:lnTo>
                      <a:pt x="858" y="630"/>
                    </a:lnTo>
                    <a:lnTo>
                      <a:pt x="852" y="636"/>
                    </a:lnTo>
                    <a:lnTo>
                      <a:pt x="840" y="642"/>
                    </a:lnTo>
                    <a:lnTo>
                      <a:pt x="822" y="642"/>
                    </a:lnTo>
                    <a:lnTo>
                      <a:pt x="810" y="648"/>
                    </a:lnTo>
                    <a:lnTo>
                      <a:pt x="804" y="654"/>
                    </a:lnTo>
                    <a:lnTo>
                      <a:pt x="798" y="666"/>
                    </a:lnTo>
                    <a:lnTo>
                      <a:pt x="792" y="672"/>
                    </a:lnTo>
                    <a:lnTo>
                      <a:pt x="792" y="684"/>
                    </a:lnTo>
                    <a:lnTo>
                      <a:pt x="774" y="684"/>
                    </a:lnTo>
                    <a:lnTo>
                      <a:pt x="744" y="654"/>
                    </a:lnTo>
                    <a:lnTo>
                      <a:pt x="744" y="636"/>
                    </a:lnTo>
                    <a:lnTo>
                      <a:pt x="720" y="600"/>
                    </a:lnTo>
                    <a:lnTo>
                      <a:pt x="744" y="600"/>
                    </a:lnTo>
                    <a:lnTo>
                      <a:pt x="750" y="582"/>
                    </a:lnTo>
                    <a:lnTo>
                      <a:pt x="768" y="564"/>
                    </a:lnTo>
                    <a:lnTo>
                      <a:pt x="768" y="546"/>
                    </a:lnTo>
                    <a:lnTo>
                      <a:pt x="774" y="540"/>
                    </a:lnTo>
                    <a:lnTo>
                      <a:pt x="798" y="540"/>
                    </a:lnTo>
                    <a:lnTo>
                      <a:pt x="798" y="528"/>
                    </a:lnTo>
                    <a:lnTo>
                      <a:pt x="810" y="522"/>
                    </a:lnTo>
                    <a:lnTo>
                      <a:pt x="846" y="522"/>
                    </a:lnTo>
                    <a:lnTo>
                      <a:pt x="852" y="528"/>
                    </a:lnTo>
                    <a:lnTo>
                      <a:pt x="858" y="540"/>
                    </a:lnTo>
                    <a:lnTo>
                      <a:pt x="864" y="546"/>
                    </a:lnTo>
                    <a:lnTo>
                      <a:pt x="870" y="558"/>
                    </a:lnTo>
                    <a:lnTo>
                      <a:pt x="882" y="564"/>
                    </a:lnTo>
                    <a:lnTo>
                      <a:pt x="888" y="588"/>
                    </a:lnTo>
                    <a:lnTo>
                      <a:pt x="864" y="606"/>
                    </a:lnTo>
                    <a:lnTo>
                      <a:pt x="870" y="62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7" name="Thai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EA8FC48-469C-495B-BB80-7A454333F2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80791" y="3782500"/>
                <a:ext cx="274306" cy="533194"/>
              </a:xfrm>
              <a:custGeom>
                <a:avLst/>
                <a:gdLst>
                  <a:gd name="T0" fmla="*/ 2147483647 w 618"/>
                  <a:gd name="T1" fmla="*/ 2147483647 h 1188"/>
                  <a:gd name="T2" fmla="*/ 2147483647 w 618"/>
                  <a:gd name="T3" fmla="*/ 2147483647 h 1188"/>
                  <a:gd name="T4" fmla="*/ 2147483647 w 618"/>
                  <a:gd name="T5" fmla="*/ 2147483647 h 1188"/>
                  <a:gd name="T6" fmla="*/ 2147483647 w 618"/>
                  <a:gd name="T7" fmla="*/ 2147483647 h 1188"/>
                  <a:gd name="T8" fmla="*/ 2147483647 w 618"/>
                  <a:gd name="T9" fmla="*/ 2147483647 h 1188"/>
                  <a:gd name="T10" fmla="*/ 2147483647 w 618"/>
                  <a:gd name="T11" fmla="*/ 2147483647 h 1188"/>
                  <a:gd name="T12" fmla="*/ 2147483647 w 618"/>
                  <a:gd name="T13" fmla="*/ 2147483647 h 1188"/>
                  <a:gd name="T14" fmla="*/ 2147483647 w 618"/>
                  <a:gd name="T15" fmla="*/ 2147483647 h 1188"/>
                  <a:gd name="T16" fmla="*/ 2147483647 w 618"/>
                  <a:gd name="T17" fmla="*/ 2147483647 h 1188"/>
                  <a:gd name="T18" fmla="*/ 2147483647 w 618"/>
                  <a:gd name="T19" fmla="*/ 2147483647 h 1188"/>
                  <a:gd name="T20" fmla="*/ 2147483647 w 618"/>
                  <a:gd name="T21" fmla="*/ 2147483647 h 1188"/>
                  <a:gd name="T22" fmla="*/ 2147483647 w 618"/>
                  <a:gd name="T23" fmla="*/ 2147483647 h 1188"/>
                  <a:gd name="T24" fmla="*/ 2147483647 w 618"/>
                  <a:gd name="T25" fmla="*/ 0 h 1188"/>
                  <a:gd name="T26" fmla="*/ 2147483647 w 618"/>
                  <a:gd name="T27" fmla="*/ 2147483647 h 1188"/>
                  <a:gd name="T28" fmla="*/ 2147483647 w 618"/>
                  <a:gd name="T29" fmla="*/ 2147483647 h 1188"/>
                  <a:gd name="T30" fmla="*/ 2147483647 w 618"/>
                  <a:gd name="T31" fmla="*/ 2147483647 h 1188"/>
                  <a:gd name="T32" fmla="*/ 0 w 618"/>
                  <a:gd name="T33" fmla="*/ 2147483647 h 1188"/>
                  <a:gd name="T34" fmla="*/ 2147483647 w 618"/>
                  <a:gd name="T35" fmla="*/ 2147483647 h 1188"/>
                  <a:gd name="T36" fmla="*/ 2147483647 w 618"/>
                  <a:gd name="T37" fmla="*/ 2147483647 h 1188"/>
                  <a:gd name="T38" fmla="*/ 2147483647 w 618"/>
                  <a:gd name="T39" fmla="*/ 2147483647 h 1188"/>
                  <a:gd name="T40" fmla="*/ 2147483647 w 618"/>
                  <a:gd name="T41" fmla="*/ 2147483647 h 1188"/>
                  <a:gd name="T42" fmla="*/ 2147483647 w 618"/>
                  <a:gd name="T43" fmla="*/ 2147483647 h 1188"/>
                  <a:gd name="T44" fmla="*/ 2147483647 w 618"/>
                  <a:gd name="T45" fmla="*/ 2147483647 h 1188"/>
                  <a:gd name="T46" fmla="*/ 2147483647 w 618"/>
                  <a:gd name="T47" fmla="*/ 2147483647 h 1188"/>
                  <a:gd name="T48" fmla="*/ 2147483647 w 618"/>
                  <a:gd name="T49" fmla="*/ 2147483647 h 1188"/>
                  <a:gd name="T50" fmla="*/ 2147483647 w 618"/>
                  <a:gd name="T51" fmla="*/ 2147483647 h 1188"/>
                  <a:gd name="T52" fmla="*/ 2147483647 w 618"/>
                  <a:gd name="T53" fmla="*/ 2147483647 h 1188"/>
                  <a:gd name="T54" fmla="*/ 2147483647 w 618"/>
                  <a:gd name="T55" fmla="*/ 2147483647 h 1188"/>
                  <a:gd name="T56" fmla="*/ 2147483647 w 618"/>
                  <a:gd name="T57" fmla="*/ 2147483647 h 1188"/>
                  <a:gd name="T58" fmla="*/ 2147483647 w 618"/>
                  <a:gd name="T59" fmla="*/ 2147483647 h 1188"/>
                  <a:gd name="T60" fmla="*/ 2147483647 w 618"/>
                  <a:gd name="T61" fmla="*/ 2147483647 h 1188"/>
                  <a:gd name="T62" fmla="*/ 2147483647 w 618"/>
                  <a:gd name="T63" fmla="*/ 2147483647 h 1188"/>
                  <a:gd name="T64" fmla="*/ 2147483647 w 618"/>
                  <a:gd name="T65" fmla="*/ 2147483647 h 1188"/>
                  <a:gd name="T66" fmla="*/ 2147483647 w 618"/>
                  <a:gd name="T67" fmla="*/ 2147483647 h 1188"/>
                  <a:gd name="T68" fmla="*/ 2147483647 w 618"/>
                  <a:gd name="T69" fmla="*/ 2147483647 h 1188"/>
                  <a:gd name="T70" fmla="*/ 2147483647 w 618"/>
                  <a:gd name="T71" fmla="*/ 2147483647 h 1188"/>
                  <a:gd name="T72" fmla="*/ 2147483647 w 618"/>
                  <a:gd name="T73" fmla="*/ 2147483647 h 1188"/>
                  <a:gd name="T74" fmla="*/ 2147483647 w 618"/>
                  <a:gd name="T75" fmla="*/ 2147483647 h 1188"/>
                  <a:gd name="T76" fmla="*/ 2147483647 w 618"/>
                  <a:gd name="T77" fmla="*/ 2147483647 h 1188"/>
                  <a:gd name="T78" fmla="*/ 2147483647 w 618"/>
                  <a:gd name="T79" fmla="*/ 2147483647 h 1188"/>
                  <a:gd name="T80" fmla="*/ 2147483647 w 618"/>
                  <a:gd name="T81" fmla="*/ 2147483647 h 1188"/>
                  <a:gd name="T82" fmla="*/ 2147483647 w 618"/>
                  <a:gd name="T83" fmla="*/ 2147483647 h 1188"/>
                  <a:gd name="T84" fmla="*/ 2147483647 w 618"/>
                  <a:gd name="T85" fmla="*/ 2147483647 h 1188"/>
                  <a:gd name="T86" fmla="*/ 2147483647 w 618"/>
                  <a:gd name="T87" fmla="*/ 2147483647 h 1188"/>
                  <a:gd name="T88" fmla="*/ 2147483647 w 618"/>
                  <a:gd name="T89" fmla="*/ 2147483647 h 1188"/>
                  <a:gd name="T90" fmla="*/ 2147483647 w 618"/>
                  <a:gd name="T91" fmla="*/ 2147483647 h 1188"/>
                  <a:gd name="T92" fmla="*/ 2147483647 w 618"/>
                  <a:gd name="T93" fmla="*/ 2147483647 h 1188"/>
                  <a:gd name="T94" fmla="*/ 2147483647 w 618"/>
                  <a:gd name="T95" fmla="*/ 2147483647 h 1188"/>
                  <a:gd name="T96" fmla="*/ 2147483647 w 618"/>
                  <a:gd name="T97" fmla="*/ 2147483647 h 1188"/>
                  <a:gd name="T98" fmla="*/ 2147483647 w 618"/>
                  <a:gd name="T99" fmla="*/ 2147483647 h 1188"/>
                  <a:gd name="T100" fmla="*/ 2147483647 w 618"/>
                  <a:gd name="T101" fmla="*/ 2147483647 h 1188"/>
                  <a:gd name="T102" fmla="*/ 2147483647 w 618"/>
                  <a:gd name="T103" fmla="*/ 2147483647 h 1188"/>
                  <a:gd name="T104" fmla="*/ 2147483647 w 618"/>
                  <a:gd name="T105" fmla="*/ 2147483647 h 1188"/>
                  <a:gd name="T106" fmla="*/ 2147483647 w 618"/>
                  <a:gd name="T107" fmla="*/ 2147483647 h 1188"/>
                  <a:gd name="T108" fmla="*/ 2147483647 w 618"/>
                  <a:gd name="T109" fmla="*/ 2147483647 h 1188"/>
                  <a:gd name="T110" fmla="*/ 2147483647 w 618"/>
                  <a:gd name="T111" fmla="*/ 2147483647 h 1188"/>
                  <a:gd name="T112" fmla="*/ 2147483647 w 618"/>
                  <a:gd name="T113" fmla="*/ 2147483647 h 1188"/>
                  <a:gd name="T114" fmla="*/ 2147483647 w 618"/>
                  <a:gd name="T115" fmla="*/ 2147483647 h 1188"/>
                  <a:gd name="T116" fmla="*/ 2147483647 w 618"/>
                  <a:gd name="T117" fmla="*/ 2147483647 h 118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18"/>
                  <a:gd name="T178" fmla="*/ 0 h 1188"/>
                  <a:gd name="T179" fmla="*/ 618 w 618"/>
                  <a:gd name="T180" fmla="*/ 1188 h 118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18" h="1188">
                    <a:moveTo>
                      <a:pt x="588" y="426"/>
                    </a:moveTo>
                    <a:lnTo>
                      <a:pt x="588" y="420"/>
                    </a:lnTo>
                    <a:lnTo>
                      <a:pt x="594" y="414"/>
                    </a:lnTo>
                    <a:lnTo>
                      <a:pt x="606" y="390"/>
                    </a:lnTo>
                    <a:lnTo>
                      <a:pt x="594" y="378"/>
                    </a:lnTo>
                    <a:lnTo>
                      <a:pt x="594" y="372"/>
                    </a:lnTo>
                    <a:lnTo>
                      <a:pt x="588" y="378"/>
                    </a:lnTo>
                    <a:lnTo>
                      <a:pt x="588" y="366"/>
                    </a:lnTo>
                    <a:lnTo>
                      <a:pt x="582" y="360"/>
                    </a:lnTo>
                    <a:lnTo>
                      <a:pt x="582" y="354"/>
                    </a:lnTo>
                    <a:lnTo>
                      <a:pt x="546" y="318"/>
                    </a:lnTo>
                    <a:lnTo>
                      <a:pt x="534" y="294"/>
                    </a:lnTo>
                    <a:lnTo>
                      <a:pt x="534" y="282"/>
                    </a:lnTo>
                    <a:lnTo>
                      <a:pt x="528" y="240"/>
                    </a:lnTo>
                    <a:lnTo>
                      <a:pt x="510" y="222"/>
                    </a:lnTo>
                    <a:lnTo>
                      <a:pt x="498" y="216"/>
                    </a:lnTo>
                    <a:lnTo>
                      <a:pt x="480" y="204"/>
                    </a:lnTo>
                    <a:lnTo>
                      <a:pt x="468" y="192"/>
                    </a:lnTo>
                    <a:lnTo>
                      <a:pt x="468" y="180"/>
                    </a:lnTo>
                    <a:lnTo>
                      <a:pt x="462" y="174"/>
                    </a:lnTo>
                    <a:lnTo>
                      <a:pt x="438" y="174"/>
                    </a:lnTo>
                    <a:lnTo>
                      <a:pt x="426" y="168"/>
                    </a:lnTo>
                    <a:lnTo>
                      <a:pt x="420" y="162"/>
                    </a:lnTo>
                    <a:lnTo>
                      <a:pt x="402" y="162"/>
                    </a:lnTo>
                    <a:lnTo>
                      <a:pt x="396" y="168"/>
                    </a:lnTo>
                    <a:lnTo>
                      <a:pt x="396" y="180"/>
                    </a:lnTo>
                    <a:lnTo>
                      <a:pt x="378" y="198"/>
                    </a:lnTo>
                    <a:lnTo>
                      <a:pt x="360" y="198"/>
                    </a:lnTo>
                    <a:lnTo>
                      <a:pt x="336" y="186"/>
                    </a:lnTo>
                    <a:lnTo>
                      <a:pt x="330" y="180"/>
                    </a:lnTo>
                    <a:lnTo>
                      <a:pt x="318" y="180"/>
                    </a:lnTo>
                    <a:lnTo>
                      <a:pt x="312" y="186"/>
                    </a:lnTo>
                    <a:lnTo>
                      <a:pt x="306" y="198"/>
                    </a:lnTo>
                    <a:lnTo>
                      <a:pt x="294" y="210"/>
                    </a:lnTo>
                    <a:lnTo>
                      <a:pt x="294" y="216"/>
                    </a:lnTo>
                    <a:lnTo>
                      <a:pt x="288" y="222"/>
                    </a:lnTo>
                    <a:lnTo>
                      <a:pt x="264" y="234"/>
                    </a:lnTo>
                    <a:lnTo>
                      <a:pt x="246" y="234"/>
                    </a:lnTo>
                    <a:lnTo>
                      <a:pt x="246" y="222"/>
                    </a:lnTo>
                    <a:lnTo>
                      <a:pt x="270" y="174"/>
                    </a:lnTo>
                    <a:lnTo>
                      <a:pt x="270" y="162"/>
                    </a:lnTo>
                    <a:lnTo>
                      <a:pt x="264" y="156"/>
                    </a:lnTo>
                    <a:lnTo>
                      <a:pt x="252" y="156"/>
                    </a:lnTo>
                    <a:lnTo>
                      <a:pt x="264" y="144"/>
                    </a:lnTo>
                    <a:lnTo>
                      <a:pt x="270" y="132"/>
                    </a:lnTo>
                    <a:lnTo>
                      <a:pt x="270" y="120"/>
                    </a:lnTo>
                    <a:lnTo>
                      <a:pt x="264" y="108"/>
                    </a:lnTo>
                    <a:lnTo>
                      <a:pt x="258" y="102"/>
                    </a:lnTo>
                    <a:lnTo>
                      <a:pt x="264" y="96"/>
                    </a:lnTo>
                    <a:lnTo>
                      <a:pt x="264" y="66"/>
                    </a:lnTo>
                    <a:lnTo>
                      <a:pt x="252" y="60"/>
                    </a:lnTo>
                    <a:lnTo>
                      <a:pt x="246" y="60"/>
                    </a:lnTo>
                    <a:lnTo>
                      <a:pt x="240" y="66"/>
                    </a:lnTo>
                    <a:lnTo>
                      <a:pt x="228" y="66"/>
                    </a:lnTo>
                    <a:lnTo>
                      <a:pt x="228" y="78"/>
                    </a:lnTo>
                    <a:lnTo>
                      <a:pt x="210" y="78"/>
                    </a:lnTo>
                    <a:lnTo>
                      <a:pt x="204" y="72"/>
                    </a:lnTo>
                    <a:lnTo>
                      <a:pt x="198" y="60"/>
                    </a:lnTo>
                    <a:lnTo>
                      <a:pt x="198" y="36"/>
                    </a:lnTo>
                    <a:lnTo>
                      <a:pt x="204" y="30"/>
                    </a:lnTo>
                    <a:lnTo>
                      <a:pt x="204" y="18"/>
                    </a:lnTo>
                    <a:lnTo>
                      <a:pt x="198" y="12"/>
                    </a:lnTo>
                    <a:lnTo>
                      <a:pt x="186" y="12"/>
                    </a:lnTo>
                    <a:lnTo>
                      <a:pt x="174" y="6"/>
                    </a:lnTo>
                    <a:lnTo>
                      <a:pt x="168" y="0"/>
                    </a:lnTo>
                    <a:lnTo>
                      <a:pt x="138" y="0"/>
                    </a:lnTo>
                    <a:lnTo>
                      <a:pt x="132" y="6"/>
                    </a:lnTo>
                    <a:lnTo>
                      <a:pt x="126" y="6"/>
                    </a:lnTo>
                    <a:lnTo>
                      <a:pt x="120" y="30"/>
                    </a:lnTo>
                    <a:lnTo>
                      <a:pt x="96" y="30"/>
                    </a:lnTo>
                    <a:lnTo>
                      <a:pt x="96" y="36"/>
                    </a:lnTo>
                    <a:lnTo>
                      <a:pt x="90" y="42"/>
                    </a:lnTo>
                    <a:lnTo>
                      <a:pt x="84" y="54"/>
                    </a:lnTo>
                    <a:lnTo>
                      <a:pt x="78" y="60"/>
                    </a:lnTo>
                    <a:lnTo>
                      <a:pt x="66" y="60"/>
                    </a:lnTo>
                    <a:lnTo>
                      <a:pt x="54" y="54"/>
                    </a:lnTo>
                    <a:lnTo>
                      <a:pt x="24" y="54"/>
                    </a:lnTo>
                    <a:lnTo>
                      <a:pt x="24" y="102"/>
                    </a:lnTo>
                    <a:lnTo>
                      <a:pt x="18" y="108"/>
                    </a:lnTo>
                    <a:lnTo>
                      <a:pt x="12" y="108"/>
                    </a:lnTo>
                    <a:lnTo>
                      <a:pt x="6" y="114"/>
                    </a:lnTo>
                    <a:lnTo>
                      <a:pt x="6" y="120"/>
                    </a:lnTo>
                    <a:lnTo>
                      <a:pt x="24" y="138"/>
                    </a:lnTo>
                    <a:lnTo>
                      <a:pt x="24" y="156"/>
                    </a:lnTo>
                    <a:lnTo>
                      <a:pt x="0" y="156"/>
                    </a:lnTo>
                    <a:lnTo>
                      <a:pt x="0" y="162"/>
                    </a:lnTo>
                    <a:lnTo>
                      <a:pt x="24" y="186"/>
                    </a:lnTo>
                    <a:lnTo>
                      <a:pt x="36" y="192"/>
                    </a:lnTo>
                    <a:lnTo>
                      <a:pt x="30" y="216"/>
                    </a:lnTo>
                    <a:lnTo>
                      <a:pt x="36" y="216"/>
                    </a:lnTo>
                    <a:lnTo>
                      <a:pt x="36" y="222"/>
                    </a:lnTo>
                    <a:lnTo>
                      <a:pt x="42" y="234"/>
                    </a:lnTo>
                    <a:lnTo>
                      <a:pt x="60" y="252"/>
                    </a:lnTo>
                    <a:lnTo>
                      <a:pt x="72" y="258"/>
                    </a:lnTo>
                    <a:lnTo>
                      <a:pt x="84" y="270"/>
                    </a:lnTo>
                    <a:lnTo>
                      <a:pt x="96" y="276"/>
                    </a:lnTo>
                    <a:lnTo>
                      <a:pt x="102" y="282"/>
                    </a:lnTo>
                    <a:lnTo>
                      <a:pt x="102" y="288"/>
                    </a:lnTo>
                    <a:lnTo>
                      <a:pt x="96" y="288"/>
                    </a:lnTo>
                    <a:lnTo>
                      <a:pt x="96" y="306"/>
                    </a:lnTo>
                    <a:lnTo>
                      <a:pt x="102" y="318"/>
                    </a:lnTo>
                    <a:lnTo>
                      <a:pt x="108" y="324"/>
                    </a:lnTo>
                    <a:lnTo>
                      <a:pt x="114" y="324"/>
                    </a:lnTo>
                    <a:lnTo>
                      <a:pt x="120" y="318"/>
                    </a:lnTo>
                    <a:lnTo>
                      <a:pt x="126" y="324"/>
                    </a:lnTo>
                    <a:lnTo>
                      <a:pt x="126" y="342"/>
                    </a:lnTo>
                    <a:lnTo>
                      <a:pt x="120" y="348"/>
                    </a:lnTo>
                    <a:lnTo>
                      <a:pt x="108" y="348"/>
                    </a:lnTo>
                    <a:lnTo>
                      <a:pt x="114" y="360"/>
                    </a:lnTo>
                    <a:lnTo>
                      <a:pt x="114" y="384"/>
                    </a:lnTo>
                    <a:lnTo>
                      <a:pt x="108" y="396"/>
                    </a:lnTo>
                    <a:lnTo>
                      <a:pt x="102" y="402"/>
                    </a:lnTo>
                    <a:lnTo>
                      <a:pt x="84" y="438"/>
                    </a:lnTo>
                    <a:lnTo>
                      <a:pt x="90" y="444"/>
                    </a:lnTo>
                    <a:lnTo>
                      <a:pt x="90" y="450"/>
                    </a:lnTo>
                    <a:lnTo>
                      <a:pt x="96" y="456"/>
                    </a:lnTo>
                    <a:lnTo>
                      <a:pt x="102" y="468"/>
                    </a:lnTo>
                    <a:lnTo>
                      <a:pt x="108" y="474"/>
                    </a:lnTo>
                    <a:lnTo>
                      <a:pt x="114" y="486"/>
                    </a:lnTo>
                    <a:lnTo>
                      <a:pt x="156" y="528"/>
                    </a:lnTo>
                    <a:lnTo>
                      <a:pt x="162" y="540"/>
                    </a:lnTo>
                    <a:lnTo>
                      <a:pt x="162" y="570"/>
                    </a:lnTo>
                    <a:lnTo>
                      <a:pt x="168" y="588"/>
                    </a:lnTo>
                    <a:lnTo>
                      <a:pt x="168" y="612"/>
                    </a:lnTo>
                    <a:lnTo>
                      <a:pt x="192" y="636"/>
                    </a:lnTo>
                    <a:lnTo>
                      <a:pt x="192" y="660"/>
                    </a:lnTo>
                    <a:lnTo>
                      <a:pt x="198" y="672"/>
                    </a:lnTo>
                    <a:lnTo>
                      <a:pt x="198" y="702"/>
                    </a:lnTo>
                    <a:lnTo>
                      <a:pt x="192" y="714"/>
                    </a:lnTo>
                    <a:lnTo>
                      <a:pt x="192" y="732"/>
                    </a:lnTo>
                    <a:lnTo>
                      <a:pt x="174" y="768"/>
                    </a:lnTo>
                    <a:lnTo>
                      <a:pt x="156" y="786"/>
                    </a:lnTo>
                    <a:lnTo>
                      <a:pt x="156" y="798"/>
                    </a:lnTo>
                    <a:lnTo>
                      <a:pt x="162" y="804"/>
                    </a:lnTo>
                    <a:lnTo>
                      <a:pt x="162" y="816"/>
                    </a:lnTo>
                    <a:lnTo>
                      <a:pt x="156" y="828"/>
                    </a:lnTo>
                    <a:lnTo>
                      <a:pt x="150" y="834"/>
                    </a:lnTo>
                    <a:lnTo>
                      <a:pt x="144" y="846"/>
                    </a:lnTo>
                    <a:lnTo>
                      <a:pt x="144" y="852"/>
                    </a:lnTo>
                    <a:lnTo>
                      <a:pt x="138" y="858"/>
                    </a:lnTo>
                    <a:lnTo>
                      <a:pt x="132" y="876"/>
                    </a:lnTo>
                    <a:lnTo>
                      <a:pt x="126" y="888"/>
                    </a:lnTo>
                    <a:lnTo>
                      <a:pt x="126" y="906"/>
                    </a:lnTo>
                    <a:lnTo>
                      <a:pt x="120" y="918"/>
                    </a:lnTo>
                    <a:lnTo>
                      <a:pt x="120" y="966"/>
                    </a:lnTo>
                    <a:lnTo>
                      <a:pt x="126" y="978"/>
                    </a:lnTo>
                    <a:lnTo>
                      <a:pt x="126" y="1008"/>
                    </a:lnTo>
                    <a:lnTo>
                      <a:pt x="132" y="1014"/>
                    </a:lnTo>
                    <a:lnTo>
                      <a:pt x="132" y="1020"/>
                    </a:lnTo>
                    <a:lnTo>
                      <a:pt x="138" y="1020"/>
                    </a:lnTo>
                    <a:lnTo>
                      <a:pt x="138" y="1002"/>
                    </a:lnTo>
                    <a:lnTo>
                      <a:pt x="144" y="990"/>
                    </a:lnTo>
                    <a:lnTo>
                      <a:pt x="144" y="978"/>
                    </a:lnTo>
                    <a:lnTo>
                      <a:pt x="150" y="972"/>
                    </a:lnTo>
                    <a:lnTo>
                      <a:pt x="150" y="996"/>
                    </a:lnTo>
                    <a:lnTo>
                      <a:pt x="162" y="996"/>
                    </a:lnTo>
                    <a:lnTo>
                      <a:pt x="186" y="1020"/>
                    </a:lnTo>
                    <a:lnTo>
                      <a:pt x="192" y="1032"/>
                    </a:lnTo>
                    <a:lnTo>
                      <a:pt x="198" y="1038"/>
                    </a:lnTo>
                    <a:lnTo>
                      <a:pt x="198" y="1044"/>
                    </a:lnTo>
                    <a:lnTo>
                      <a:pt x="228" y="1074"/>
                    </a:lnTo>
                    <a:lnTo>
                      <a:pt x="228" y="1098"/>
                    </a:lnTo>
                    <a:lnTo>
                      <a:pt x="234" y="1110"/>
                    </a:lnTo>
                    <a:lnTo>
                      <a:pt x="246" y="1128"/>
                    </a:lnTo>
                    <a:lnTo>
                      <a:pt x="264" y="1146"/>
                    </a:lnTo>
                    <a:lnTo>
                      <a:pt x="270" y="1140"/>
                    </a:lnTo>
                    <a:lnTo>
                      <a:pt x="276" y="1128"/>
                    </a:lnTo>
                    <a:lnTo>
                      <a:pt x="270" y="1122"/>
                    </a:lnTo>
                    <a:lnTo>
                      <a:pt x="270" y="1110"/>
                    </a:lnTo>
                    <a:lnTo>
                      <a:pt x="276" y="1104"/>
                    </a:lnTo>
                    <a:lnTo>
                      <a:pt x="288" y="1104"/>
                    </a:lnTo>
                    <a:lnTo>
                      <a:pt x="294" y="1116"/>
                    </a:lnTo>
                    <a:lnTo>
                      <a:pt x="294" y="1122"/>
                    </a:lnTo>
                    <a:lnTo>
                      <a:pt x="312" y="1122"/>
                    </a:lnTo>
                    <a:lnTo>
                      <a:pt x="324" y="1128"/>
                    </a:lnTo>
                    <a:lnTo>
                      <a:pt x="330" y="1134"/>
                    </a:lnTo>
                    <a:lnTo>
                      <a:pt x="330" y="1146"/>
                    </a:lnTo>
                    <a:lnTo>
                      <a:pt x="342" y="1146"/>
                    </a:lnTo>
                    <a:lnTo>
                      <a:pt x="342" y="1158"/>
                    </a:lnTo>
                    <a:lnTo>
                      <a:pt x="330" y="1170"/>
                    </a:lnTo>
                    <a:lnTo>
                      <a:pt x="330" y="1176"/>
                    </a:lnTo>
                    <a:lnTo>
                      <a:pt x="336" y="1182"/>
                    </a:lnTo>
                    <a:lnTo>
                      <a:pt x="354" y="1182"/>
                    </a:lnTo>
                    <a:lnTo>
                      <a:pt x="354" y="1176"/>
                    </a:lnTo>
                    <a:lnTo>
                      <a:pt x="366" y="1176"/>
                    </a:lnTo>
                    <a:lnTo>
                      <a:pt x="372" y="1170"/>
                    </a:lnTo>
                    <a:lnTo>
                      <a:pt x="378" y="1170"/>
                    </a:lnTo>
                    <a:lnTo>
                      <a:pt x="396" y="1188"/>
                    </a:lnTo>
                    <a:lnTo>
                      <a:pt x="402" y="1182"/>
                    </a:lnTo>
                    <a:lnTo>
                      <a:pt x="402" y="1176"/>
                    </a:lnTo>
                    <a:lnTo>
                      <a:pt x="408" y="1164"/>
                    </a:lnTo>
                    <a:lnTo>
                      <a:pt x="414" y="1158"/>
                    </a:lnTo>
                    <a:lnTo>
                      <a:pt x="420" y="1146"/>
                    </a:lnTo>
                    <a:lnTo>
                      <a:pt x="396" y="1134"/>
                    </a:lnTo>
                    <a:lnTo>
                      <a:pt x="390" y="1128"/>
                    </a:lnTo>
                    <a:lnTo>
                      <a:pt x="390" y="1116"/>
                    </a:lnTo>
                    <a:lnTo>
                      <a:pt x="384" y="1104"/>
                    </a:lnTo>
                    <a:lnTo>
                      <a:pt x="384" y="1092"/>
                    </a:lnTo>
                    <a:lnTo>
                      <a:pt x="378" y="1080"/>
                    </a:lnTo>
                    <a:lnTo>
                      <a:pt x="372" y="1074"/>
                    </a:lnTo>
                    <a:lnTo>
                      <a:pt x="354" y="1074"/>
                    </a:lnTo>
                    <a:lnTo>
                      <a:pt x="342" y="1080"/>
                    </a:lnTo>
                    <a:lnTo>
                      <a:pt x="336" y="1086"/>
                    </a:lnTo>
                    <a:lnTo>
                      <a:pt x="318" y="1086"/>
                    </a:lnTo>
                    <a:lnTo>
                      <a:pt x="312" y="1080"/>
                    </a:lnTo>
                    <a:lnTo>
                      <a:pt x="306" y="1068"/>
                    </a:lnTo>
                    <a:lnTo>
                      <a:pt x="306" y="1056"/>
                    </a:lnTo>
                    <a:lnTo>
                      <a:pt x="294" y="1032"/>
                    </a:lnTo>
                    <a:lnTo>
                      <a:pt x="288" y="1032"/>
                    </a:lnTo>
                    <a:lnTo>
                      <a:pt x="288" y="1050"/>
                    </a:lnTo>
                    <a:lnTo>
                      <a:pt x="282" y="1056"/>
                    </a:lnTo>
                    <a:lnTo>
                      <a:pt x="276" y="1056"/>
                    </a:lnTo>
                    <a:lnTo>
                      <a:pt x="270" y="1044"/>
                    </a:lnTo>
                    <a:lnTo>
                      <a:pt x="264" y="1038"/>
                    </a:lnTo>
                    <a:lnTo>
                      <a:pt x="258" y="1026"/>
                    </a:lnTo>
                    <a:lnTo>
                      <a:pt x="258" y="1014"/>
                    </a:lnTo>
                    <a:lnTo>
                      <a:pt x="270" y="1002"/>
                    </a:lnTo>
                    <a:lnTo>
                      <a:pt x="270" y="1008"/>
                    </a:lnTo>
                    <a:lnTo>
                      <a:pt x="276" y="1008"/>
                    </a:lnTo>
                    <a:lnTo>
                      <a:pt x="276" y="1014"/>
                    </a:lnTo>
                    <a:lnTo>
                      <a:pt x="282" y="1014"/>
                    </a:lnTo>
                    <a:lnTo>
                      <a:pt x="288" y="1008"/>
                    </a:lnTo>
                    <a:lnTo>
                      <a:pt x="282" y="1002"/>
                    </a:lnTo>
                    <a:lnTo>
                      <a:pt x="282" y="990"/>
                    </a:lnTo>
                    <a:lnTo>
                      <a:pt x="276" y="978"/>
                    </a:lnTo>
                    <a:lnTo>
                      <a:pt x="270" y="972"/>
                    </a:lnTo>
                    <a:lnTo>
                      <a:pt x="270" y="960"/>
                    </a:lnTo>
                    <a:lnTo>
                      <a:pt x="258" y="948"/>
                    </a:lnTo>
                    <a:lnTo>
                      <a:pt x="246" y="948"/>
                    </a:lnTo>
                    <a:lnTo>
                      <a:pt x="246" y="894"/>
                    </a:lnTo>
                    <a:lnTo>
                      <a:pt x="192" y="906"/>
                    </a:lnTo>
                    <a:lnTo>
                      <a:pt x="192" y="864"/>
                    </a:lnTo>
                    <a:lnTo>
                      <a:pt x="186" y="828"/>
                    </a:lnTo>
                    <a:lnTo>
                      <a:pt x="186" y="804"/>
                    </a:lnTo>
                    <a:lnTo>
                      <a:pt x="180" y="792"/>
                    </a:lnTo>
                    <a:lnTo>
                      <a:pt x="174" y="786"/>
                    </a:lnTo>
                    <a:lnTo>
                      <a:pt x="180" y="786"/>
                    </a:lnTo>
                    <a:lnTo>
                      <a:pt x="192" y="774"/>
                    </a:lnTo>
                    <a:lnTo>
                      <a:pt x="198" y="762"/>
                    </a:lnTo>
                    <a:lnTo>
                      <a:pt x="204" y="744"/>
                    </a:lnTo>
                    <a:lnTo>
                      <a:pt x="204" y="678"/>
                    </a:lnTo>
                    <a:lnTo>
                      <a:pt x="210" y="678"/>
                    </a:lnTo>
                    <a:lnTo>
                      <a:pt x="216" y="672"/>
                    </a:lnTo>
                    <a:lnTo>
                      <a:pt x="222" y="660"/>
                    </a:lnTo>
                    <a:lnTo>
                      <a:pt x="228" y="654"/>
                    </a:lnTo>
                    <a:lnTo>
                      <a:pt x="228" y="612"/>
                    </a:lnTo>
                    <a:lnTo>
                      <a:pt x="222" y="600"/>
                    </a:lnTo>
                    <a:lnTo>
                      <a:pt x="222" y="594"/>
                    </a:lnTo>
                    <a:lnTo>
                      <a:pt x="216" y="588"/>
                    </a:lnTo>
                    <a:lnTo>
                      <a:pt x="222" y="558"/>
                    </a:lnTo>
                    <a:lnTo>
                      <a:pt x="234" y="558"/>
                    </a:lnTo>
                    <a:lnTo>
                      <a:pt x="234" y="552"/>
                    </a:lnTo>
                    <a:lnTo>
                      <a:pt x="240" y="546"/>
                    </a:lnTo>
                    <a:lnTo>
                      <a:pt x="264" y="546"/>
                    </a:lnTo>
                    <a:lnTo>
                      <a:pt x="270" y="552"/>
                    </a:lnTo>
                    <a:lnTo>
                      <a:pt x="294" y="564"/>
                    </a:lnTo>
                    <a:lnTo>
                      <a:pt x="300" y="570"/>
                    </a:lnTo>
                    <a:lnTo>
                      <a:pt x="288" y="576"/>
                    </a:lnTo>
                    <a:lnTo>
                      <a:pt x="288" y="588"/>
                    </a:lnTo>
                    <a:lnTo>
                      <a:pt x="282" y="594"/>
                    </a:lnTo>
                    <a:lnTo>
                      <a:pt x="282" y="612"/>
                    </a:lnTo>
                    <a:lnTo>
                      <a:pt x="288" y="624"/>
                    </a:lnTo>
                    <a:lnTo>
                      <a:pt x="306" y="624"/>
                    </a:lnTo>
                    <a:lnTo>
                      <a:pt x="330" y="612"/>
                    </a:lnTo>
                    <a:lnTo>
                      <a:pt x="342" y="612"/>
                    </a:lnTo>
                    <a:lnTo>
                      <a:pt x="354" y="606"/>
                    </a:lnTo>
                    <a:lnTo>
                      <a:pt x="360" y="600"/>
                    </a:lnTo>
                    <a:lnTo>
                      <a:pt x="366" y="600"/>
                    </a:lnTo>
                    <a:lnTo>
                      <a:pt x="396" y="684"/>
                    </a:lnTo>
                    <a:lnTo>
                      <a:pt x="402" y="678"/>
                    </a:lnTo>
                    <a:lnTo>
                      <a:pt x="414" y="672"/>
                    </a:lnTo>
                    <a:lnTo>
                      <a:pt x="426" y="672"/>
                    </a:lnTo>
                    <a:lnTo>
                      <a:pt x="426" y="642"/>
                    </a:lnTo>
                    <a:lnTo>
                      <a:pt x="414" y="630"/>
                    </a:lnTo>
                    <a:lnTo>
                      <a:pt x="414" y="600"/>
                    </a:lnTo>
                    <a:lnTo>
                      <a:pt x="402" y="588"/>
                    </a:lnTo>
                    <a:lnTo>
                      <a:pt x="396" y="552"/>
                    </a:lnTo>
                    <a:lnTo>
                      <a:pt x="426" y="522"/>
                    </a:lnTo>
                    <a:lnTo>
                      <a:pt x="426" y="516"/>
                    </a:lnTo>
                    <a:lnTo>
                      <a:pt x="432" y="504"/>
                    </a:lnTo>
                    <a:lnTo>
                      <a:pt x="438" y="498"/>
                    </a:lnTo>
                    <a:lnTo>
                      <a:pt x="450" y="492"/>
                    </a:lnTo>
                    <a:lnTo>
                      <a:pt x="468" y="486"/>
                    </a:lnTo>
                    <a:lnTo>
                      <a:pt x="504" y="486"/>
                    </a:lnTo>
                    <a:lnTo>
                      <a:pt x="510" y="492"/>
                    </a:lnTo>
                    <a:lnTo>
                      <a:pt x="522" y="492"/>
                    </a:lnTo>
                    <a:lnTo>
                      <a:pt x="534" y="486"/>
                    </a:lnTo>
                    <a:lnTo>
                      <a:pt x="564" y="486"/>
                    </a:lnTo>
                    <a:lnTo>
                      <a:pt x="576" y="492"/>
                    </a:lnTo>
                    <a:lnTo>
                      <a:pt x="582" y="498"/>
                    </a:lnTo>
                    <a:lnTo>
                      <a:pt x="588" y="498"/>
                    </a:lnTo>
                    <a:lnTo>
                      <a:pt x="594" y="492"/>
                    </a:lnTo>
                    <a:lnTo>
                      <a:pt x="600" y="480"/>
                    </a:lnTo>
                    <a:lnTo>
                      <a:pt x="618" y="462"/>
                    </a:lnTo>
                    <a:lnTo>
                      <a:pt x="618" y="450"/>
                    </a:lnTo>
                    <a:lnTo>
                      <a:pt x="612" y="444"/>
                    </a:lnTo>
                    <a:lnTo>
                      <a:pt x="600" y="438"/>
                    </a:lnTo>
                    <a:lnTo>
                      <a:pt x="588" y="42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8" name="Vietna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13A1059-672F-41D7-BF19-64A2727C596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10083" y="3674444"/>
                <a:ext cx="269064" cy="534965"/>
              </a:xfrm>
              <a:custGeom>
                <a:avLst/>
                <a:gdLst>
                  <a:gd name="T0" fmla="*/ 2147483647 w 606"/>
                  <a:gd name="T1" fmla="*/ 2147483647 h 1194"/>
                  <a:gd name="T2" fmla="*/ 2147483647 w 606"/>
                  <a:gd name="T3" fmla="*/ 2147483647 h 1194"/>
                  <a:gd name="T4" fmla="*/ 2147483647 w 606"/>
                  <a:gd name="T5" fmla="*/ 2147483647 h 1194"/>
                  <a:gd name="T6" fmla="*/ 2147483647 w 606"/>
                  <a:gd name="T7" fmla="*/ 2147483647 h 1194"/>
                  <a:gd name="T8" fmla="*/ 2147483647 w 606"/>
                  <a:gd name="T9" fmla="*/ 2147483647 h 1194"/>
                  <a:gd name="T10" fmla="*/ 2147483647 w 606"/>
                  <a:gd name="T11" fmla="*/ 2147483647 h 1194"/>
                  <a:gd name="T12" fmla="*/ 2147483647 w 606"/>
                  <a:gd name="T13" fmla="*/ 2147483647 h 1194"/>
                  <a:gd name="T14" fmla="*/ 2147483647 w 606"/>
                  <a:gd name="T15" fmla="*/ 2147483647 h 1194"/>
                  <a:gd name="T16" fmla="*/ 2147483647 w 606"/>
                  <a:gd name="T17" fmla="*/ 2147483647 h 1194"/>
                  <a:gd name="T18" fmla="*/ 2147483647 w 606"/>
                  <a:gd name="T19" fmla="*/ 2147483647 h 1194"/>
                  <a:gd name="T20" fmla="*/ 2147483647 w 606"/>
                  <a:gd name="T21" fmla="*/ 2147483647 h 1194"/>
                  <a:gd name="T22" fmla="*/ 2147483647 w 606"/>
                  <a:gd name="T23" fmla="*/ 2147483647 h 1194"/>
                  <a:gd name="T24" fmla="*/ 2147483647 w 606"/>
                  <a:gd name="T25" fmla="*/ 2147483647 h 1194"/>
                  <a:gd name="T26" fmla="*/ 2147483647 w 606"/>
                  <a:gd name="T27" fmla="*/ 2147483647 h 1194"/>
                  <a:gd name="T28" fmla="*/ 2147483647 w 606"/>
                  <a:gd name="T29" fmla="*/ 2147483647 h 1194"/>
                  <a:gd name="T30" fmla="*/ 2147483647 w 606"/>
                  <a:gd name="T31" fmla="*/ 2147483647 h 1194"/>
                  <a:gd name="T32" fmla="*/ 2147483647 w 606"/>
                  <a:gd name="T33" fmla="*/ 2147483647 h 1194"/>
                  <a:gd name="T34" fmla="*/ 2147483647 w 606"/>
                  <a:gd name="T35" fmla="*/ 2147483647 h 1194"/>
                  <a:gd name="T36" fmla="*/ 2147483647 w 606"/>
                  <a:gd name="T37" fmla="*/ 2147483647 h 1194"/>
                  <a:gd name="T38" fmla="*/ 2147483647 w 606"/>
                  <a:gd name="T39" fmla="*/ 2147483647 h 1194"/>
                  <a:gd name="T40" fmla="*/ 2147483647 w 606"/>
                  <a:gd name="T41" fmla="*/ 2147483647 h 1194"/>
                  <a:gd name="T42" fmla="*/ 2147483647 w 606"/>
                  <a:gd name="T43" fmla="*/ 2147483647 h 1194"/>
                  <a:gd name="T44" fmla="*/ 2147483647 w 606"/>
                  <a:gd name="T45" fmla="*/ 2147483647 h 1194"/>
                  <a:gd name="T46" fmla="*/ 2147483647 w 606"/>
                  <a:gd name="T47" fmla="*/ 2147483647 h 1194"/>
                  <a:gd name="T48" fmla="*/ 2147483647 w 606"/>
                  <a:gd name="T49" fmla="*/ 2147483647 h 1194"/>
                  <a:gd name="T50" fmla="*/ 2147483647 w 606"/>
                  <a:gd name="T51" fmla="*/ 2147483647 h 1194"/>
                  <a:gd name="T52" fmla="*/ 2147483647 w 606"/>
                  <a:gd name="T53" fmla="*/ 2147483647 h 1194"/>
                  <a:gd name="T54" fmla="*/ 2147483647 w 606"/>
                  <a:gd name="T55" fmla="*/ 2147483647 h 1194"/>
                  <a:gd name="T56" fmla="*/ 2147483647 w 606"/>
                  <a:gd name="T57" fmla="*/ 2147483647 h 1194"/>
                  <a:gd name="T58" fmla="*/ 2147483647 w 606"/>
                  <a:gd name="T59" fmla="*/ 2147483647 h 1194"/>
                  <a:gd name="T60" fmla="*/ 2147483647 w 606"/>
                  <a:gd name="T61" fmla="*/ 2147483647 h 1194"/>
                  <a:gd name="T62" fmla="*/ 2147483647 w 606"/>
                  <a:gd name="T63" fmla="*/ 2147483647 h 1194"/>
                  <a:gd name="T64" fmla="*/ 2147483647 w 606"/>
                  <a:gd name="T65" fmla="*/ 2147483647 h 1194"/>
                  <a:gd name="T66" fmla="*/ 2147483647 w 606"/>
                  <a:gd name="T67" fmla="*/ 2147483647 h 1194"/>
                  <a:gd name="T68" fmla="*/ 2147483647 w 606"/>
                  <a:gd name="T69" fmla="*/ 2147483647 h 1194"/>
                  <a:gd name="T70" fmla="*/ 2147483647 w 606"/>
                  <a:gd name="T71" fmla="*/ 2147483647 h 1194"/>
                  <a:gd name="T72" fmla="*/ 2147483647 w 606"/>
                  <a:gd name="T73" fmla="*/ 2147483647 h 1194"/>
                  <a:gd name="T74" fmla="*/ 2147483647 w 606"/>
                  <a:gd name="T75" fmla="*/ 2147483647 h 1194"/>
                  <a:gd name="T76" fmla="*/ 2147483647 w 606"/>
                  <a:gd name="T77" fmla="*/ 2147483647 h 1194"/>
                  <a:gd name="T78" fmla="*/ 2147483647 w 606"/>
                  <a:gd name="T79" fmla="*/ 2147483647 h 1194"/>
                  <a:gd name="T80" fmla="*/ 2147483647 w 606"/>
                  <a:gd name="T81" fmla="*/ 2147483647 h 1194"/>
                  <a:gd name="T82" fmla="*/ 2147483647 w 606"/>
                  <a:gd name="T83" fmla="*/ 2147483647 h 1194"/>
                  <a:gd name="T84" fmla="*/ 2147483647 w 606"/>
                  <a:gd name="T85" fmla="*/ 2147483647 h 1194"/>
                  <a:gd name="T86" fmla="*/ 2147483647 w 606"/>
                  <a:gd name="T87" fmla="*/ 2147483647 h 1194"/>
                  <a:gd name="T88" fmla="*/ 2147483647 w 606"/>
                  <a:gd name="T89" fmla="*/ 2147483647 h 1194"/>
                  <a:gd name="T90" fmla="*/ 2147483647 w 606"/>
                  <a:gd name="T91" fmla="*/ 2147483647 h 1194"/>
                  <a:gd name="T92" fmla="*/ 2147483647 w 606"/>
                  <a:gd name="T93" fmla="*/ 2147483647 h 1194"/>
                  <a:gd name="T94" fmla="*/ 2147483647 w 606"/>
                  <a:gd name="T95" fmla="*/ 2147483647 h 1194"/>
                  <a:gd name="T96" fmla="*/ 2147483647 w 606"/>
                  <a:gd name="T97" fmla="*/ 2147483647 h 1194"/>
                  <a:gd name="T98" fmla="*/ 2147483647 w 606"/>
                  <a:gd name="T99" fmla="*/ 2147483647 h 1194"/>
                  <a:gd name="T100" fmla="*/ 2147483647 w 606"/>
                  <a:gd name="T101" fmla="*/ 2147483647 h 1194"/>
                  <a:gd name="T102" fmla="*/ 2147483647 w 606"/>
                  <a:gd name="T103" fmla="*/ 2147483647 h 1194"/>
                  <a:gd name="T104" fmla="*/ 2147483647 w 606"/>
                  <a:gd name="T105" fmla="*/ 2147483647 h 1194"/>
                  <a:gd name="T106" fmla="*/ 2147483647 w 606"/>
                  <a:gd name="T107" fmla="*/ 2147483647 h 1194"/>
                  <a:gd name="T108" fmla="*/ 2147483647 w 606"/>
                  <a:gd name="T109" fmla="*/ 2147483647 h 1194"/>
                  <a:gd name="T110" fmla="*/ 2147483647 w 606"/>
                  <a:gd name="T111" fmla="*/ 2147483647 h 1194"/>
                  <a:gd name="T112" fmla="*/ 2147483647 w 606"/>
                  <a:gd name="T113" fmla="*/ 2147483647 h 1194"/>
                  <a:gd name="T114" fmla="*/ 2147483647 w 606"/>
                  <a:gd name="T115" fmla="*/ 2147483647 h 1194"/>
                  <a:gd name="T116" fmla="*/ 2147483647 w 606"/>
                  <a:gd name="T117" fmla="*/ 2147483647 h 1194"/>
                  <a:gd name="T118" fmla="*/ 2147483647 w 606"/>
                  <a:gd name="T119" fmla="*/ 2147483647 h 1194"/>
                  <a:gd name="T120" fmla="*/ 2147483647 w 606"/>
                  <a:gd name="T121" fmla="*/ 2147483647 h 1194"/>
                  <a:gd name="T122" fmla="*/ 2147483647 w 606"/>
                  <a:gd name="T123" fmla="*/ 2147483647 h 119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06"/>
                  <a:gd name="T187" fmla="*/ 0 h 1194"/>
                  <a:gd name="T188" fmla="*/ 606 w 606"/>
                  <a:gd name="T189" fmla="*/ 1194 h 119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06" h="1194">
                    <a:moveTo>
                      <a:pt x="6" y="48"/>
                    </a:moveTo>
                    <a:lnTo>
                      <a:pt x="0" y="60"/>
                    </a:lnTo>
                    <a:lnTo>
                      <a:pt x="0" y="72"/>
                    </a:lnTo>
                    <a:lnTo>
                      <a:pt x="12" y="96"/>
                    </a:lnTo>
                    <a:lnTo>
                      <a:pt x="18" y="102"/>
                    </a:lnTo>
                    <a:lnTo>
                      <a:pt x="24" y="114"/>
                    </a:lnTo>
                    <a:lnTo>
                      <a:pt x="36" y="120"/>
                    </a:lnTo>
                    <a:lnTo>
                      <a:pt x="42" y="132"/>
                    </a:lnTo>
                    <a:lnTo>
                      <a:pt x="48" y="126"/>
                    </a:lnTo>
                    <a:lnTo>
                      <a:pt x="54" y="126"/>
                    </a:lnTo>
                    <a:lnTo>
                      <a:pt x="54" y="156"/>
                    </a:lnTo>
                    <a:lnTo>
                      <a:pt x="66" y="180"/>
                    </a:lnTo>
                    <a:lnTo>
                      <a:pt x="84" y="198"/>
                    </a:lnTo>
                    <a:lnTo>
                      <a:pt x="90" y="210"/>
                    </a:lnTo>
                    <a:lnTo>
                      <a:pt x="108" y="210"/>
                    </a:lnTo>
                    <a:lnTo>
                      <a:pt x="108" y="216"/>
                    </a:lnTo>
                    <a:lnTo>
                      <a:pt x="120" y="228"/>
                    </a:lnTo>
                    <a:lnTo>
                      <a:pt x="126" y="222"/>
                    </a:lnTo>
                    <a:lnTo>
                      <a:pt x="132" y="210"/>
                    </a:lnTo>
                    <a:lnTo>
                      <a:pt x="132" y="204"/>
                    </a:lnTo>
                    <a:lnTo>
                      <a:pt x="138" y="192"/>
                    </a:lnTo>
                    <a:lnTo>
                      <a:pt x="150" y="192"/>
                    </a:lnTo>
                    <a:lnTo>
                      <a:pt x="162" y="198"/>
                    </a:lnTo>
                    <a:lnTo>
                      <a:pt x="186" y="222"/>
                    </a:lnTo>
                    <a:lnTo>
                      <a:pt x="180" y="222"/>
                    </a:lnTo>
                    <a:lnTo>
                      <a:pt x="174" y="228"/>
                    </a:lnTo>
                    <a:lnTo>
                      <a:pt x="174" y="234"/>
                    </a:lnTo>
                    <a:lnTo>
                      <a:pt x="198" y="246"/>
                    </a:lnTo>
                    <a:lnTo>
                      <a:pt x="216" y="252"/>
                    </a:lnTo>
                    <a:lnTo>
                      <a:pt x="228" y="258"/>
                    </a:lnTo>
                    <a:lnTo>
                      <a:pt x="228" y="270"/>
                    </a:lnTo>
                    <a:lnTo>
                      <a:pt x="222" y="282"/>
                    </a:lnTo>
                    <a:lnTo>
                      <a:pt x="210" y="288"/>
                    </a:lnTo>
                    <a:lnTo>
                      <a:pt x="204" y="300"/>
                    </a:lnTo>
                    <a:lnTo>
                      <a:pt x="198" y="306"/>
                    </a:lnTo>
                    <a:lnTo>
                      <a:pt x="180" y="306"/>
                    </a:lnTo>
                    <a:lnTo>
                      <a:pt x="174" y="300"/>
                    </a:lnTo>
                    <a:lnTo>
                      <a:pt x="150" y="300"/>
                    </a:lnTo>
                    <a:lnTo>
                      <a:pt x="156" y="306"/>
                    </a:lnTo>
                    <a:lnTo>
                      <a:pt x="156" y="324"/>
                    </a:lnTo>
                    <a:lnTo>
                      <a:pt x="168" y="330"/>
                    </a:lnTo>
                    <a:lnTo>
                      <a:pt x="174" y="336"/>
                    </a:lnTo>
                    <a:lnTo>
                      <a:pt x="210" y="354"/>
                    </a:lnTo>
                    <a:lnTo>
                      <a:pt x="222" y="366"/>
                    </a:lnTo>
                    <a:lnTo>
                      <a:pt x="234" y="372"/>
                    </a:lnTo>
                    <a:lnTo>
                      <a:pt x="240" y="378"/>
                    </a:lnTo>
                    <a:lnTo>
                      <a:pt x="252" y="378"/>
                    </a:lnTo>
                    <a:lnTo>
                      <a:pt x="252" y="408"/>
                    </a:lnTo>
                    <a:lnTo>
                      <a:pt x="258" y="414"/>
                    </a:lnTo>
                    <a:lnTo>
                      <a:pt x="270" y="414"/>
                    </a:lnTo>
                    <a:lnTo>
                      <a:pt x="282" y="420"/>
                    </a:lnTo>
                    <a:lnTo>
                      <a:pt x="288" y="426"/>
                    </a:lnTo>
                    <a:lnTo>
                      <a:pt x="294" y="426"/>
                    </a:lnTo>
                    <a:lnTo>
                      <a:pt x="294" y="450"/>
                    </a:lnTo>
                    <a:lnTo>
                      <a:pt x="306" y="474"/>
                    </a:lnTo>
                    <a:lnTo>
                      <a:pt x="324" y="486"/>
                    </a:lnTo>
                    <a:lnTo>
                      <a:pt x="342" y="504"/>
                    </a:lnTo>
                    <a:lnTo>
                      <a:pt x="348" y="522"/>
                    </a:lnTo>
                    <a:lnTo>
                      <a:pt x="366" y="522"/>
                    </a:lnTo>
                    <a:lnTo>
                      <a:pt x="366" y="528"/>
                    </a:lnTo>
                    <a:lnTo>
                      <a:pt x="372" y="534"/>
                    </a:lnTo>
                    <a:lnTo>
                      <a:pt x="384" y="558"/>
                    </a:lnTo>
                    <a:lnTo>
                      <a:pt x="396" y="570"/>
                    </a:lnTo>
                    <a:lnTo>
                      <a:pt x="408" y="570"/>
                    </a:lnTo>
                    <a:lnTo>
                      <a:pt x="414" y="576"/>
                    </a:lnTo>
                    <a:lnTo>
                      <a:pt x="426" y="582"/>
                    </a:lnTo>
                    <a:lnTo>
                      <a:pt x="432" y="588"/>
                    </a:lnTo>
                    <a:lnTo>
                      <a:pt x="432" y="600"/>
                    </a:lnTo>
                    <a:lnTo>
                      <a:pt x="426" y="606"/>
                    </a:lnTo>
                    <a:lnTo>
                      <a:pt x="420" y="606"/>
                    </a:lnTo>
                    <a:lnTo>
                      <a:pt x="414" y="612"/>
                    </a:lnTo>
                    <a:lnTo>
                      <a:pt x="408" y="612"/>
                    </a:lnTo>
                    <a:lnTo>
                      <a:pt x="432" y="636"/>
                    </a:lnTo>
                    <a:lnTo>
                      <a:pt x="456" y="648"/>
                    </a:lnTo>
                    <a:lnTo>
                      <a:pt x="462" y="654"/>
                    </a:lnTo>
                    <a:lnTo>
                      <a:pt x="468" y="654"/>
                    </a:lnTo>
                    <a:lnTo>
                      <a:pt x="450" y="690"/>
                    </a:lnTo>
                    <a:lnTo>
                      <a:pt x="456" y="690"/>
                    </a:lnTo>
                    <a:lnTo>
                      <a:pt x="468" y="702"/>
                    </a:lnTo>
                    <a:lnTo>
                      <a:pt x="468" y="708"/>
                    </a:lnTo>
                    <a:lnTo>
                      <a:pt x="456" y="720"/>
                    </a:lnTo>
                    <a:lnTo>
                      <a:pt x="450" y="720"/>
                    </a:lnTo>
                    <a:lnTo>
                      <a:pt x="450" y="762"/>
                    </a:lnTo>
                    <a:lnTo>
                      <a:pt x="456" y="762"/>
                    </a:lnTo>
                    <a:lnTo>
                      <a:pt x="468" y="774"/>
                    </a:lnTo>
                    <a:lnTo>
                      <a:pt x="480" y="798"/>
                    </a:lnTo>
                    <a:lnTo>
                      <a:pt x="480" y="804"/>
                    </a:lnTo>
                    <a:lnTo>
                      <a:pt x="468" y="816"/>
                    </a:lnTo>
                    <a:lnTo>
                      <a:pt x="462" y="816"/>
                    </a:lnTo>
                    <a:lnTo>
                      <a:pt x="462" y="828"/>
                    </a:lnTo>
                    <a:lnTo>
                      <a:pt x="468" y="834"/>
                    </a:lnTo>
                    <a:lnTo>
                      <a:pt x="468" y="864"/>
                    </a:lnTo>
                    <a:lnTo>
                      <a:pt x="474" y="870"/>
                    </a:lnTo>
                    <a:lnTo>
                      <a:pt x="474" y="900"/>
                    </a:lnTo>
                    <a:lnTo>
                      <a:pt x="462" y="894"/>
                    </a:lnTo>
                    <a:lnTo>
                      <a:pt x="444" y="894"/>
                    </a:lnTo>
                    <a:lnTo>
                      <a:pt x="438" y="900"/>
                    </a:lnTo>
                    <a:lnTo>
                      <a:pt x="438" y="918"/>
                    </a:lnTo>
                    <a:lnTo>
                      <a:pt x="408" y="918"/>
                    </a:lnTo>
                    <a:lnTo>
                      <a:pt x="408" y="942"/>
                    </a:lnTo>
                    <a:lnTo>
                      <a:pt x="366" y="942"/>
                    </a:lnTo>
                    <a:lnTo>
                      <a:pt x="366" y="966"/>
                    </a:lnTo>
                    <a:lnTo>
                      <a:pt x="378" y="990"/>
                    </a:lnTo>
                    <a:lnTo>
                      <a:pt x="396" y="1008"/>
                    </a:lnTo>
                    <a:lnTo>
                      <a:pt x="396" y="1020"/>
                    </a:lnTo>
                    <a:lnTo>
                      <a:pt x="390" y="1014"/>
                    </a:lnTo>
                    <a:lnTo>
                      <a:pt x="378" y="1008"/>
                    </a:lnTo>
                    <a:lnTo>
                      <a:pt x="372" y="1002"/>
                    </a:lnTo>
                    <a:lnTo>
                      <a:pt x="360" y="996"/>
                    </a:lnTo>
                    <a:lnTo>
                      <a:pt x="348" y="996"/>
                    </a:lnTo>
                    <a:lnTo>
                      <a:pt x="342" y="1002"/>
                    </a:lnTo>
                    <a:lnTo>
                      <a:pt x="342" y="1008"/>
                    </a:lnTo>
                    <a:lnTo>
                      <a:pt x="306" y="1008"/>
                    </a:lnTo>
                    <a:lnTo>
                      <a:pt x="312" y="1014"/>
                    </a:lnTo>
                    <a:lnTo>
                      <a:pt x="318" y="1014"/>
                    </a:lnTo>
                    <a:lnTo>
                      <a:pt x="324" y="1020"/>
                    </a:lnTo>
                    <a:lnTo>
                      <a:pt x="324" y="1026"/>
                    </a:lnTo>
                    <a:lnTo>
                      <a:pt x="312" y="1032"/>
                    </a:lnTo>
                    <a:lnTo>
                      <a:pt x="294" y="1032"/>
                    </a:lnTo>
                    <a:lnTo>
                      <a:pt x="276" y="1038"/>
                    </a:lnTo>
                    <a:lnTo>
                      <a:pt x="270" y="1050"/>
                    </a:lnTo>
                    <a:lnTo>
                      <a:pt x="270" y="1056"/>
                    </a:lnTo>
                    <a:lnTo>
                      <a:pt x="288" y="1074"/>
                    </a:lnTo>
                    <a:lnTo>
                      <a:pt x="300" y="1080"/>
                    </a:lnTo>
                    <a:lnTo>
                      <a:pt x="306" y="1086"/>
                    </a:lnTo>
                    <a:lnTo>
                      <a:pt x="312" y="1086"/>
                    </a:lnTo>
                    <a:lnTo>
                      <a:pt x="294" y="1104"/>
                    </a:lnTo>
                    <a:lnTo>
                      <a:pt x="294" y="1110"/>
                    </a:lnTo>
                    <a:lnTo>
                      <a:pt x="300" y="1116"/>
                    </a:lnTo>
                    <a:lnTo>
                      <a:pt x="300" y="1128"/>
                    </a:lnTo>
                    <a:lnTo>
                      <a:pt x="306" y="1140"/>
                    </a:lnTo>
                    <a:lnTo>
                      <a:pt x="306" y="1152"/>
                    </a:lnTo>
                    <a:lnTo>
                      <a:pt x="312" y="1158"/>
                    </a:lnTo>
                    <a:lnTo>
                      <a:pt x="294" y="1176"/>
                    </a:lnTo>
                    <a:lnTo>
                      <a:pt x="294" y="1188"/>
                    </a:lnTo>
                    <a:lnTo>
                      <a:pt x="306" y="1194"/>
                    </a:lnTo>
                    <a:lnTo>
                      <a:pt x="318" y="1194"/>
                    </a:lnTo>
                    <a:lnTo>
                      <a:pt x="330" y="1188"/>
                    </a:lnTo>
                    <a:lnTo>
                      <a:pt x="354" y="1164"/>
                    </a:lnTo>
                    <a:lnTo>
                      <a:pt x="366" y="1158"/>
                    </a:lnTo>
                    <a:lnTo>
                      <a:pt x="378" y="1158"/>
                    </a:lnTo>
                    <a:lnTo>
                      <a:pt x="384" y="1134"/>
                    </a:lnTo>
                    <a:lnTo>
                      <a:pt x="384" y="1110"/>
                    </a:lnTo>
                    <a:lnTo>
                      <a:pt x="396" y="1110"/>
                    </a:lnTo>
                    <a:lnTo>
                      <a:pt x="402" y="1116"/>
                    </a:lnTo>
                    <a:lnTo>
                      <a:pt x="414" y="1116"/>
                    </a:lnTo>
                    <a:lnTo>
                      <a:pt x="426" y="1104"/>
                    </a:lnTo>
                    <a:lnTo>
                      <a:pt x="426" y="1092"/>
                    </a:lnTo>
                    <a:lnTo>
                      <a:pt x="420" y="1086"/>
                    </a:lnTo>
                    <a:lnTo>
                      <a:pt x="414" y="1074"/>
                    </a:lnTo>
                    <a:lnTo>
                      <a:pt x="408" y="1068"/>
                    </a:lnTo>
                    <a:lnTo>
                      <a:pt x="408" y="1062"/>
                    </a:lnTo>
                    <a:lnTo>
                      <a:pt x="414" y="1056"/>
                    </a:lnTo>
                    <a:lnTo>
                      <a:pt x="426" y="1056"/>
                    </a:lnTo>
                    <a:lnTo>
                      <a:pt x="438" y="1050"/>
                    </a:lnTo>
                    <a:lnTo>
                      <a:pt x="444" y="1044"/>
                    </a:lnTo>
                    <a:lnTo>
                      <a:pt x="450" y="1044"/>
                    </a:lnTo>
                    <a:lnTo>
                      <a:pt x="456" y="1050"/>
                    </a:lnTo>
                    <a:lnTo>
                      <a:pt x="468" y="1050"/>
                    </a:lnTo>
                    <a:lnTo>
                      <a:pt x="480" y="1044"/>
                    </a:lnTo>
                    <a:lnTo>
                      <a:pt x="498" y="1038"/>
                    </a:lnTo>
                    <a:lnTo>
                      <a:pt x="546" y="1014"/>
                    </a:lnTo>
                    <a:lnTo>
                      <a:pt x="582" y="978"/>
                    </a:lnTo>
                    <a:lnTo>
                      <a:pt x="588" y="960"/>
                    </a:lnTo>
                    <a:lnTo>
                      <a:pt x="594" y="936"/>
                    </a:lnTo>
                    <a:lnTo>
                      <a:pt x="606" y="876"/>
                    </a:lnTo>
                    <a:lnTo>
                      <a:pt x="606" y="846"/>
                    </a:lnTo>
                    <a:lnTo>
                      <a:pt x="600" y="834"/>
                    </a:lnTo>
                    <a:lnTo>
                      <a:pt x="576" y="810"/>
                    </a:lnTo>
                    <a:lnTo>
                      <a:pt x="594" y="804"/>
                    </a:lnTo>
                    <a:lnTo>
                      <a:pt x="594" y="774"/>
                    </a:lnTo>
                    <a:lnTo>
                      <a:pt x="588" y="756"/>
                    </a:lnTo>
                    <a:lnTo>
                      <a:pt x="588" y="744"/>
                    </a:lnTo>
                    <a:lnTo>
                      <a:pt x="570" y="708"/>
                    </a:lnTo>
                    <a:lnTo>
                      <a:pt x="564" y="690"/>
                    </a:lnTo>
                    <a:lnTo>
                      <a:pt x="558" y="684"/>
                    </a:lnTo>
                    <a:lnTo>
                      <a:pt x="552" y="672"/>
                    </a:lnTo>
                    <a:lnTo>
                      <a:pt x="558" y="666"/>
                    </a:lnTo>
                    <a:lnTo>
                      <a:pt x="558" y="642"/>
                    </a:lnTo>
                    <a:lnTo>
                      <a:pt x="522" y="606"/>
                    </a:lnTo>
                    <a:lnTo>
                      <a:pt x="486" y="576"/>
                    </a:lnTo>
                    <a:lnTo>
                      <a:pt x="456" y="552"/>
                    </a:lnTo>
                    <a:lnTo>
                      <a:pt x="432" y="534"/>
                    </a:lnTo>
                    <a:lnTo>
                      <a:pt x="420" y="528"/>
                    </a:lnTo>
                    <a:lnTo>
                      <a:pt x="402" y="516"/>
                    </a:lnTo>
                    <a:lnTo>
                      <a:pt x="390" y="510"/>
                    </a:lnTo>
                    <a:lnTo>
                      <a:pt x="384" y="504"/>
                    </a:lnTo>
                    <a:lnTo>
                      <a:pt x="384" y="468"/>
                    </a:lnTo>
                    <a:lnTo>
                      <a:pt x="336" y="420"/>
                    </a:lnTo>
                    <a:lnTo>
                      <a:pt x="306" y="384"/>
                    </a:lnTo>
                    <a:lnTo>
                      <a:pt x="288" y="354"/>
                    </a:lnTo>
                    <a:lnTo>
                      <a:pt x="282" y="336"/>
                    </a:lnTo>
                    <a:lnTo>
                      <a:pt x="282" y="318"/>
                    </a:lnTo>
                    <a:lnTo>
                      <a:pt x="276" y="306"/>
                    </a:lnTo>
                    <a:lnTo>
                      <a:pt x="276" y="282"/>
                    </a:lnTo>
                    <a:lnTo>
                      <a:pt x="282" y="276"/>
                    </a:lnTo>
                    <a:lnTo>
                      <a:pt x="294" y="252"/>
                    </a:lnTo>
                    <a:lnTo>
                      <a:pt x="294" y="240"/>
                    </a:lnTo>
                    <a:lnTo>
                      <a:pt x="300" y="240"/>
                    </a:lnTo>
                    <a:lnTo>
                      <a:pt x="312" y="228"/>
                    </a:lnTo>
                    <a:lnTo>
                      <a:pt x="324" y="222"/>
                    </a:lnTo>
                    <a:lnTo>
                      <a:pt x="336" y="210"/>
                    </a:lnTo>
                    <a:lnTo>
                      <a:pt x="336" y="204"/>
                    </a:lnTo>
                    <a:lnTo>
                      <a:pt x="342" y="198"/>
                    </a:lnTo>
                    <a:lnTo>
                      <a:pt x="372" y="198"/>
                    </a:lnTo>
                    <a:lnTo>
                      <a:pt x="384" y="186"/>
                    </a:lnTo>
                    <a:lnTo>
                      <a:pt x="390" y="174"/>
                    </a:lnTo>
                    <a:lnTo>
                      <a:pt x="390" y="156"/>
                    </a:lnTo>
                    <a:lnTo>
                      <a:pt x="396" y="144"/>
                    </a:lnTo>
                    <a:lnTo>
                      <a:pt x="390" y="144"/>
                    </a:lnTo>
                    <a:lnTo>
                      <a:pt x="384" y="138"/>
                    </a:lnTo>
                    <a:lnTo>
                      <a:pt x="354" y="138"/>
                    </a:lnTo>
                    <a:lnTo>
                      <a:pt x="342" y="132"/>
                    </a:lnTo>
                    <a:lnTo>
                      <a:pt x="336" y="120"/>
                    </a:lnTo>
                    <a:lnTo>
                      <a:pt x="330" y="114"/>
                    </a:lnTo>
                    <a:lnTo>
                      <a:pt x="312" y="114"/>
                    </a:lnTo>
                    <a:lnTo>
                      <a:pt x="312" y="96"/>
                    </a:lnTo>
                    <a:lnTo>
                      <a:pt x="300" y="90"/>
                    </a:lnTo>
                    <a:lnTo>
                      <a:pt x="294" y="72"/>
                    </a:lnTo>
                    <a:lnTo>
                      <a:pt x="312" y="54"/>
                    </a:lnTo>
                    <a:lnTo>
                      <a:pt x="312" y="48"/>
                    </a:lnTo>
                    <a:lnTo>
                      <a:pt x="306" y="42"/>
                    </a:lnTo>
                    <a:lnTo>
                      <a:pt x="276" y="42"/>
                    </a:lnTo>
                    <a:lnTo>
                      <a:pt x="264" y="30"/>
                    </a:lnTo>
                    <a:lnTo>
                      <a:pt x="234" y="36"/>
                    </a:lnTo>
                    <a:lnTo>
                      <a:pt x="204" y="0"/>
                    </a:lnTo>
                    <a:lnTo>
                      <a:pt x="198" y="0"/>
                    </a:lnTo>
                    <a:lnTo>
                      <a:pt x="192" y="6"/>
                    </a:lnTo>
                    <a:lnTo>
                      <a:pt x="180" y="12"/>
                    </a:lnTo>
                    <a:lnTo>
                      <a:pt x="174" y="18"/>
                    </a:lnTo>
                    <a:lnTo>
                      <a:pt x="174" y="30"/>
                    </a:lnTo>
                    <a:lnTo>
                      <a:pt x="168" y="42"/>
                    </a:lnTo>
                    <a:lnTo>
                      <a:pt x="168" y="48"/>
                    </a:lnTo>
                    <a:lnTo>
                      <a:pt x="150" y="48"/>
                    </a:lnTo>
                    <a:lnTo>
                      <a:pt x="144" y="54"/>
                    </a:lnTo>
                    <a:lnTo>
                      <a:pt x="138" y="48"/>
                    </a:lnTo>
                    <a:lnTo>
                      <a:pt x="120" y="48"/>
                    </a:lnTo>
                    <a:lnTo>
                      <a:pt x="132" y="60"/>
                    </a:lnTo>
                    <a:lnTo>
                      <a:pt x="132" y="72"/>
                    </a:lnTo>
                    <a:lnTo>
                      <a:pt x="114" y="72"/>
                    </a:lnTo>
                    <a:lnTo>
                      <a:pt x="108" y="66"/>
                    </a:lnTo>
                    <a:lnTo>
                      <a:pt x="96" y="48"/>
                    </a:lnTo>
                    <a:lnTo>
                      <a:pt x="90" y="48"/>
                    </a:lnTo>
                    <a:lnTo>
                      <a:pt x="90" y="66"/>
                    </a:lnTo>
                    <a:lnTo>
                      <a:pt x="72" y="48"/>
                    </a:lnTo>
                    <a:lnTo>
                      <a:pt x="66" y="54"/>
                    </a:lnTo>
                    <a:lnTo>
                      <a:pt x="60" y="66"/>
                    </a:lnTo>
                    <a:lnTo>
                      <a:pt x="54" y="72"/>
                    </a:lnTo>
                    <a:lnTo>
                      <a:pt x="42" y="72"/>
                    </a:lnTo>
                    <a:lnTo>
                      <a:pt x="18" y="48"/>
                    </a:lnTo>
                    <a:lnTo>
                      <a:pt x="6" y="4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69" name="Lao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ED281C3-BADE-4F75-A9CF-C4F192BC53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52426" y="3706328"/>
                <a:ext cx="265570" cy="311769"/>
              </a:xfrm>
              <a:custGeom>
                <a:avLst/>
                <a:gdLst>
                  <a:gd name="T0" fmla="*/ 2147483647 w 600"/>
                  <a:gd name="T1" fmla="*/ 2147483647 h 696"/>
                  <a:gd name="T2" fmla="*/ 2147483647 w 600"/>
                  <a:gd name="T3" fmla="*/ 2147483647 h 696"/>
                  <a:gd name="T4" fmla="*/ 2147483647 w 600"/>
                  <a:gd name="T5" fmla="*/ 2147483647 h 696"/>
                  <a:gd name="T6" fmla="*/ 2147483647 w 600"/>
                  <a:gd name="T7" fmla="*/ 2147483647 h 696"/>
                  <a:gd name="T8" fmla="*/ 2147483647 w 600"/>
                  <a:gd name="T9" fmla="*/ 2147483647 h 696"/>
                  <a:gd name="T10" fmla="*/ 2147483647 w 600"/>
                  <a:gd name="T11" fmla="*/ 2147483647 h 696"/>
                  <a:gd name="T12" fmla="*/ 2147483647 w 600"/>
                  <a:gd name="T13" fmla="*/ 2147483647 h 696"/>
                  <a:gd name="T14" fmla="*/ 2147483647 w 600"/>
                  <a:gd name="T15" fmla="*/ 2147483647 h 696"/>
                  <a:gd name="T16" fmla="*/ 2147483647 w 600"/>
                  <a:gd name="T17" fmla="*/ 2147483647 h 696"/>
                  <a:gd name="T18" fmla="*/ 2147483647 w 600"/>
                  <a:gd name="T19" fmla="*/ 2147483647 h 696"/>
                  <a:gd name="T20" fmla="*/ 2147483647 w 600"/>
                  <a:gd name="T21" fmla="*/ 2147483647 h 696"/>
                  <a:gd name="T22" fmla="*/ 2147483647 w 600"/>
                  <a:gd name="T23" fmla="*/ 2147483647 h 696"/>
                  <a:gd name="T24" fmla="*/ 2147483647 w 600"/>
                  <a:gd name="T25" fmla="*/ 2147483647 h 696"/>
                  <a:gd name="T26" fmla="*/ 2147483647 w 600"/>
                  <a:gd name="T27" fmla="*/ 2147483647 h 696"/>
                  <a:gd name="T28" fmla="*/ 2147483647 w 600"/>
                  <a:gd name="T29" fmla="*/ 2147483647 h 696"/>
                  <a:gd name="T30" fmla="*/ 2147483647 w 600"/>
                  <a:gd name="T31" fmla="*/ 2147483647 h 696"/>
                  <a:gd name="T32" fmla="*/ 2147483647 w 600"/>
                  <a:gd name="T33" fmla="*/ 2147483647 h 696"/>
                  <a:gd name="T34" fmla="*/ 2147483647 w 600"/>
                  <a:gd name="T35" fmla="*/ 2147483647 h 696"/>
                  <a:gd name="T36" fmla="*/ 2147483647 w 600"/>
                  <a:gd name="T37" fmla="*/ 2147483647 h 696"/>
                  <a:gd name="T38" fmla="*/ 2147483647 w 600"/>
                  <a:gd name="T39" fmla="*/ 2147483647 h 696"/>
                  <a:gd name="T40" fmla="*/ 2147483647 w 600"/>
                  <a:gd name="T41" fmla="*/ 2147483647 h 696"/>
                  <a:gd name="T42" fmla="*/ 2147483647 w 600"/>
                  <a:gd name="T43" fmla="*/ 2147483647 h 696"/>
                  <a:gd name="T44" fmla="*/ 2147483647 w 600"/>
                  <a:gd name="T45" fmla="*/ 2147483647 h 696"/>
                  <a:gd name="T46" fmla="*/ 2147483647 w 600"/>
                  <a:gd name="T47" fmla="*/ 2147483647 h 696"/>
                  <a:gd name="T48" fmla="*/ 2147483647 w 600"/>
                  <a:gd name="T49" fmla="*/ 2147483647 h 696"/>
                  <a:gd name="T50" fmla="*/ 2147483647 w 600"/>
                  <a:gd name="T51" fmla="*/ 2147483647 h 696"/>
                  <a:gd name="T52" fmla="*/ 2147483647 w 600"/>
                  <a:gd name="T53" fmla="*/ 2147483647 h 696"/>
                  <a:gd name="T54" fmla="*/ 2147483647 w 600"/>
                  <a:gd name="T55" fmla="*/ 2147483647 h 696"/>
                  <a:gd name="T56" fmla="*/ 2147483647 w 600"/>
                  <a:gd name="T57" fmla="*/ 2147483647 h 696"/>
                  <a:gd name="T58" fmla="*/ 2147483647 w 600"/>
                  <a:gd name="T59" fmla="*/ 2147483647 h 696"/>
                  <a:gd name="T60" fmla="*/ 2147483647 w 600"/>
                  <a:gd name="T61" fmla="*/ 2147483647 h 696"/>
                  <a:gd name="T62" fmla="*/ 2147483647 w 600"/>
                  <a:gd name="T63" fmla="*/ 2147483647 h 696"/>
                  <a:gd name="T64" fmla="*/ 2147483647 w 600"/>
                  <a:gd name="T65" fmla="*/ 2147483647 h 696"/>
                  <a:gd name="T66" fmla="*/ 2147483647 w 600"/>
                  <a:gd name="T67" fmla="*/ 2147483647 h 696"/>
                  <a:gd name="T68" fmla="*/ 2147483647 w 600"/>
                  <a:gd name="T69" fmla="*/ 2147483647 h 696"/>
                  <a:gd name="T70" fmla="*/ 2147483647 w 600"/>
                  <a:gd name="T71" fmla="*/ 2147483647 h 696"/>
                  <a:gd name="T72" fmla="*/ 2147483647 w 600"/>
                  <a:gd name="T73" fmla="*/ 2147483647 h 696"/>
                  <a:gd name="T74" fmla="*/ 2147483647 w 600"/>
                  <a:gd name="T75" fmla="*/ 2147483647 h 696"/>
                  <a:gd name="T76" fmla="*/ 2147483647 w 600"/>
                  <a:gd name="T77" fmla="*/ 2147483647 h 696"/>
                  <a:gd name="T78" fmla="*/ 2147483647 w 600"/>
                  <a:gd name="T79" fmla="*/ 2147483647 h 696"/>
                  <a:gd name="T80" fmla="*/ 2147483647 w 600"/>
                  <a:gd name="T81" fmla="*/ 2147483647 h 696"/>
                  <a:gd name="T82" fmla="*/ 2147483647 w 600"/>
                  <a:gd name="T83" fmla="*/ 2147483647 h 696"/>
                  <a:gd name="T84" fmla="*/ 2147483647 w 600"/>
                  <a:gd name="T85" fmla="*/ 2147483647 h 696"/>
                  <a:gd name="T86" fmla="*/ 2147483647 w 600"/>
                  <a:gd name="T87" fmla="*/ 2147483647 h 696"/>
                  <a:gd name="T88" fmla="*/ 2147483647 w 600"/>
                  <a:gd name="T89" fmla="*/ 2147483647 h 696"/>
                  <a:gd name="T90" fmla="*/ 2147483647 w 600"/>
                  <a:gd name="T91" fmla="*/ 2147483647 h 696"/>
                  <a:gd name="T92" fmla="*/ 2147483647 w 600"/>
                  <a:gd name="T93" fmla="*/ 2147483647 h 696"/>
                  <a:gd name="T94" fmla="*/ 2147483647 w 600"/>
                  <a:gd name="T95" fmla="*/ 2147483647 h 696"/>
                  <a:gd name="T96" fmla="*/ 2147483647 w 600"/>
                  <a:gd name="T97" fmla="*/ 2147483647 h 696"/>
                  <a:gd name="T98" fmla="*/ 2147483647 w 600"/>
                  <a:gd name="T99" fmla="*/ 2147483647 h 696"/>
                  <a:gd name="T100" fmla="*/ 2147483647 w 600"/>
                  <a:gd name="T101" fmla="*/ 2147483647 h 696"/>
                  <a:gd name="T102" fmla="*/ 2147483647 w 600"/>
                  <a:gd name="T103" fmla="*/ 2147483647 h 696"/>
                  <a:gd name="T104" fmla="*/ 2147483647 w 600"/>
                  <a:gd name="T105" fmla="*/ 2147483647 h 696"/>
                  <a:gd name="T106" fmla="*/ 2147483647 w 600"/>
                  <a:gd name="T107" fmla="*/ 2147483647 h 696"/>
                  <a:gd name="T108" fmla="*/ 2147483647 w 600"/>
                  <a:gd name="T109" fmla="*/ 2147483647 h 696"/>
                  <a:gd name="T110" fmla="*/ 2147483647 w 600"/>
                  <a:gd name="T111" fmla="*/ 2147483647 h 696"/>
                  <a:gd name="T112" fmla="*/ 2147483647 w 600"/>
                  <a:gd name="T113" fmla="*/ 2147483647 h 696"/>
                  <a:gd name="T114" fmla="*/ 2147483647 w 600"/>
                  <a:gd name="T115" fmla="*/ 2147483647 h 696"/>
                  <a:gd name="T116" fmla="*/ 2147483647 w 600"/>
                  <a:gd name="T117" fmla="*/ 2147483647 h 696"/>
                  <a:gd name="T118" fmla="*/ 0 w 600"/>
                  <a:gd name="T119" fmla="*/ 2147483647 h 696"/>
                  <a:gd name="T120" fmla="*/ 2147483647 w 600"/>
                  <a:gd name="T121" fmla="*/ 2147483647 h 69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00"/>
                  <a:gd name="T184" fmla="*/ 0 h 696"/>
                  <a:gd name="T185" fmla="*/ 600 w 600"/>
                  <a:gd name="T186" fmla="*/ 696 h 69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00" h="696">
                    <a:moveTo>
                      <a:pt x="24" y="180"/>
                    </a:moveTo>
                    <a:lnTo>
                      <a:pt x="36" y="180"/>
                    </a:lnTo>
                    <a:lnTo>
                      <a:pt x="42" y="186"/>
                    </a:lnTo>
                    <a:lnTo>
                      <a:pt x="42" y="198"/>
                    </a:lnTo>
                    <a:lnTo>
                      <a:pt x="36" y="204"/>
                    </a:lnTo>
                    <a:lnTo>
                      <a:pt x="36" y="228"/>
                    </a:lnTo>
                    <a:lnTo>
                      <a:pt x="42" y="240"/>
                    </a:lnTo>
                    <a:lnTo>
                      <a:pt x="48" y="246"/>
                    </a:lnTo>
                    <a:lnTo>
                      <a:pt x="66" y="246"/>
                    </a:lnTo>
                    <a:lnTo>
                      <a:pt x="66" y="234"/>
                    </a:lnTo>
                    <a:lnTo>
                      <a:pt x="78" y="234"/>
                    </a:lnTo>
                    <a:lnTo>
                      <a:pt x="84" y="228"/>
                    </a:lnTo>
                    <a:lnTo>
                      <a:pt x="90" y="228"/>
                    </a:lnTo>
                    <a:lnTo>
                      <a:pt x="102" y="234"/>
                    </a:lnTo>
                    <a:lnTo>
                      <a:pt x="102" y="264"/>
                    </a:lnTo>
                    <a:lnTo>
                      <a:pt x="96" y="270"/>
                    </a:lnTo>
                    <a:lnTo>
                      <a:pt x="102" y="276"/>
                    </a:lnTo>
                    <a:lnTo>
                      <a:pt x="108" y="288"/>
                    </a:lnTo>
                    <a:lnTo>
                      <a:pt x="108" y="300"/>
                    </a:lnTo>
                    <a:lnTo>
                      <a:pt x="102" y="312"/>
                    </a:lnTo>
                    <a:lnTo>
                      <a:pt x="90" y="324"/>
                    </a:lnTo>
                    <a:lnTo>
                      <a:pt x="102" y="324"/>
                    </a:lnTo>
                    <a:lnTo>
                      <a:pt x="108" y="330"/>
                    </a:lnTo>
                    <a:lnTo>
                      <a:pt x="108" y="342"/>
                    </a:lnTo>
                    <a:lnTo>
                      <a:pt x="84" y="390"/>
                    </a:lnTo>
                    <a:lnTo>
                      <a:pt x="84" y="402"/>
                    </a:lnTo>
                    <a:lnTo>
                      <a:pt x="102" y="402"/>
                    </a:lnTo>
                    <a:lnTo>
                      <a:pt x="126" y="390"/>
                    </a:lnTo>
                    <a:lnTo>
                      <a:pt x="132" y="384"/>
                    </a:lnTo>
                    <a:lnTo>
                      <a:pt x="132" y="378"/>
                    </a:lnTo>
                    <a:lnTo>
                      <a:pt x="144" y="366"/>
                    </a:lnTo>
                    <a:lnTo>
                      <a:pt x="150" y="354"/>
                    </a:lnTo>
                    <a:lnTo>
                      <a:pt x="156" y="348"/>
                    </a:lnTo>
                    <a:lnTo>
                      <a:pt x="168" y="348"/>
                    </a:lnTo>
                    <a:lnTo>
                      <a:pt x="174" y="354"/>
                    </a:lnTo>
                    <a:lnTo>
                      <a:pt x="198" y="366"/>
                    </a:lnTo>
                    <a:lnTo>
                      <a:pt x="216" y="366"/>
                    </a:lnTo>
                    <a:lnTo>
                      <a:pt x="234" y="348"/>
                    </a:lnTo>
                    <a:lnTo>
                      <a:pt x="234" y="336"/>
                    </a:lnTo>
                    <a:lnTo>
                      <a:pt x="240" y="330"/>
                    </a:lnTo>
                    <a:lnTo>
                      <a:pt x="258" y="330"/>
                    </a:lnTo>
                    <a:lnTo>
                      <a:pt x="264" y="336"/>
                    </a:lnTo>
                    <a:lnTo>
                      <a:pt x="276" y="342"/>
                    </a:lnTo>
                    <a:lnTo>
                      <a:pt x="300" y="342"/>
                    </a:lnTo>
                    <a:lnTo>
                      <a:pt x="306" y="348"/>
                    </a:lnTo>
                    <a:lnTo>
                      <a:pt x="306" y="360"/>
                    </a:lnTo>
                    <a:lnTo>
                      <a:pt x="318" y="372"/>
                    </a:lnTo>
                    <a:lnTo>
                      <a:pt x="336" y="384"/>
                    </a:lnTo>
                    <a:lnTo>
                      <a:pt x="348" y="390"/>
                    </a:lnTo>
                    <a:lnTo>
                      <a:pt x="366" y="408"/>
                    </a:lnTo>
                    <a:lnTo>
                      <a:pt x="372" y="450"/>
                    </a:lnTo>
                    <a:lnTo>
                      <a:pt x="372" y="462"/>
                    </a:lnTo>
                    <a:lnTo>
                      <a:pt x="384" y="486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26" y="534"/>
                    </a:lnTo>
                    <a:lnTo>
                      <a:pt x="426" y="546"/>
                    </a:lnTo>
                    <a:lnTo>
                      <a:pt x="432" y="540"/>
                    </a:lnTo>
                    <a:lnTo>
                      <a:pt x="432" y="546"/>
                    </a:lnTo>
                    <a:lnTo>
                      <a:pt x="444" y="558"/>
                    </a:lnTo>
                    <a:lnTo>
                      <a:pt x="432" y="582"/>
                    </a:lnTo>
                    <a:lnTo>
                      <a:pt x="426" y="588"/>
                    </a:lnTo>
                    <a:lnTo>
                      <a:pt x="426" y="594"/>
                    </a:lnTo>
                    <a:lnTo>
                      <a:pt x="438" y="606"/>
                    </a:lnTo>
                    <a:lnTo>
                      <a:pt x="450" y="612"/>
                    </a:lnTo>
                    <a:lnTo>
                      <a:pt x="456" y="618"/>
                    </a:lnTo>
                    <a:lnTo>
                      <a:pt x="456" y="630"/>
                    </a:lnTo>
                    <a:lnTo>
                      <a:pt x="450" y="636"/>
                    </a:lnTo>
                    <a:lnTo>
                      <a:pt x="444" y="648"/>
                    </a:lnTo>
                    <a:lnTo>
                      <a:pt x="432" y="654"/>
                    </a:lnTo>
                    <a:lnTo>
                      <a:pt x="426" y="660"/>
                    </a:lnTo>
                    <a:lnTo>
                      <a:pt x="426" y="672"/>
                    </a:lnTo>
                    <a:lnTo>
                      <a:pt x="450" y="672"/>
                    </a:lnTo>
                    <a:lnTo>
                      <a:pt x="456" y="678"/>
                    </a:lnTo>
                    <a:lnTo>
                      <a:pt x="462" y="678"/>
                    </a:lnTo>
                    <a:lnTo>
                      <a:pt x="462" y="684"/>
                    </a:lnTo>
                    <a:lnTo>
                      <a:pt x="474" y="696"/>
                    </a:lnTo>
                    <a:lnTo>
                      <a:pt x="486" y="696"/>
                    </a:lnTo>
                    <a:lnTo>
                      <a:pt x="492" y="690"/>
                    </a:lnTo>
                    <a:lnTo>
                      <a:pt x="492" y="678"/>
                    </a:lnTo>
                    <a:lnTo>
                      <a:pt x="480" y="666"/>
                    </a:lnTo>
                    <a:lnTo>
                      <a:pt x="498" y="654"/>
                    </a:lnTo>
                    <a:lnTo>
                      <a:pt x="510" y="642"/>
                    </a:lnTo>
                    <a:lnTo>
                      <a:pt x="546" y="654"/>
                    </a:lnTo>
                    <a:lnTo>
                      <a:pt x="558" y="642"/>
                    </a:lnTo>
                    <a:lnTo>
                      <a:pt x="582" y="648"/>
                    </a:lnTo>
                    <a:lnTo>
                      <a:pt x="588" y="648"/>
                    </a:lnTo>
                    <a:lnTo>
                      <a:pt x="600" y="636"/>
                    </a:lnTo>
                    <a:lnTo>
                      <a:pt x="600" y="630"/>
                    </a:lnTo>
                    <a:lnTo>
                      <a:pt x="588" y="618"/>
                    </a:lnTo>
                    <a:lnTo>
                      <a:pt x="582" y="618"/>
                    </a:lnTo>
                    <a:lnTo>
                      <a:pt x="600" y="582"/>
                    </a:lnTo>
                    <a:lnTo>
                      <a:pt x="594" y="582"/>
                    </a:lnTo>
                    <a:lnTo>
                      <a:pt x="588" y="576"/>
                    </a:lnTo>
                    <a:lnTo>
                      <a:pt x="564" y="564"/>
                    </a:lnTo>
                    <a:lnTo>
                      <a:pt x="540" y="540"/>
                    </a:lnTo>
                    <a:lnTo>
                      <a:pt x="546" y="540"/>
                    </a:lnTo>
                    <a:lnTo>
                      <a:pt x="552" y="534"/>
                    </a:lnTo>
                    <a:lnTo>
                      <a:pt x="558" y="534"/>
                    </a:lnTo>
                    <a:lnTo>
                      <a:pt x="564" y="528"/>
                    </a:lnTo>
                    <a:lnTo>
                      <a:pt x="564" y="516"/>
                    </a:lnTo>
                    <a:lnTo>
                      <a:pt x="558" y="510"/>
                    </a:lnTo>
                    <a:lnTo>
                      <a:pt x="546" y="504"/>
                    </a:lnTo>
                    <a:lnTo>
                      <a:pt x="540" y="498"/>
                    </a:lnTo>
                    <a:lnTo>
                      <a:pt x="528" y="498"/>
                    </a:lnTo>
                    <a:lnTo>
                      <a:pt x="516" y="486"/>
                    </a:lnTo>
                    <a:lnTo>
                      <a:pt x="504" y="462"/>
                    </a:lnTo>
                    <a:lnTo>
                      <a:pt x="498" y="456"/>
                    </a:lnTo>
                    <a:lnTo>
                      <a:pt x="498" y="450"/>
                    </a:lnTo>
                    <a:lnTo>
                      <a:pt x="480" y="450"/>
                    </a:lnTo>
                    <a:lnTo>
                      <a:pt x="474" y="432"/>
                    </a:lnTo>
                    <a:lnTo>
                      <a:pt x="456" y="414"/>
                    </a:lnTo>
                    <a:lnTo>
                      <a:pt x="438" y="402"/>
                    </a:lnTo>
                    <a:lnTo>
                      <a:pt x="426" y="378"/>
                    </a:lnTo>
                    <a:lnTo>
                      <a:pt x="426" y="354"/>
                    </a:lnTo>
                    <a:lnTo>
                      <a:pt x="420" y="354"/>
                    </a:lnTo>
                    <a:lnTo>
                      <a:pt x="414" y="348"/>
                    </a:lnTo>
                    <a:lnTo>
                      <a:pt x="402" y="342"/>
                    </a:lnTo>
                    <a:lnTo>
                      <a:pt x="390" y="342"/>
                    </a:lnTo>
                    <a:lnTo>
                      <a:pt x="384" y="336"/>
                    </a:lnTo>
                    <a:lnTo>
                      <a:pt x="384" y="306"/>
                    </a:lnTo>
                    <a:lnTo>
                      <a:pt x="372" y="306"/>
                    </a:lnTo>
                    <a:lnTo>
                      <a:pt x="366" y="300"/>
                    </a:lnTo>
                    <a:lnTo>
                      <a:pt x="354" y="294"/>
                    </a:lnTo>
                    <a:lnTo>
                      <a:pt x="342" y="282"/>
                    </a:lnTo>
                    <a:lnTo>
                      <a:pt x="306" y="264"/>
                    </a:lnTo>
                    <a:lnTo>
                      <a:pt x="300" y="258"/>
                    </a:lnTo>
                    <a:lnTo>
                      <a:pt x="288" y="252"/>
                    </a:lnTo>
                    <a:lnTo>
                      <a:pt x="288" y="234"/>
                    </a:lnTo>
                    <a:lnTo>
                      <a:pt x="282" y="228"/>
                    </a:lnTo>
                    <a:lnTo>
                      <a:pt x="306" y="228"/>
                    </a:lnTo>
                    <a:lnTo>
                      <a:pt x="312" y="234"/>
                    </a:lnTo>
                    <a:lnTo>
                      <a:pt x="330" y="234"/>
                    </a:lnTo>
                    <a:lnTo>
                      <a:pt x="336" y="228"/>
                    </a:lnTo>
                    <a:lnTo>
                      <a:pt x="342" y="216"/>
                    </a:lnTo>
                    <a:lnTo>
                      <a:pt x="354" y="210"/>
                    </a:lnTo>
                    <a:lnTo>
                      <a:pt x="360" y="198"/>
                    </a:lnTo>
                    <a:lnTo>
                      <a:pt x="360" y="186"/>
                    </a:lnTo>
                    <a:lnTo>
                      <a:pt x="348" y="180"/>
                    </a:lnTo>
                    <a:lnTo>
                      <a:pt x="330" y="174"/>
                    </a:lnTo>
                    <a:lnTo>
                      <a:pt x="306" y="162"/>
                    </a:lnTo>
                    <a:lnTo>
                      <a:pt x="306" y="156"/>
                    </a:lnTo>
                    <a:lnTo>
                      <a:pt x="312" y="150"/>
                    </a:lnTo>
                    <a:lnTo>
                      <a:pt x="318" y="150"/>
                    </a:lnTo>
                    <a:lnTo>
                      <a:pt x="294" y="126"/>
                    </a:lnTo>
                    <a:lnTo>
                      <a:pt x="282" y="120"/>
                    </a:lnTo>
                    <a:lnTo>
                      <a:pt x="270" y="120"/>
                    </a:lnTo>
                    <a:lnTo>
                      <a:pt x="264" y="132"/>
                    </a:lnTo>
                    <a:lnTo>
                      <a:pt x="264" y="138"/>
                    </a:lnTo>
                    <a:lnTo>
                      <a:pt x="258" y="150"/>
                    </a:lnTo>
                    <a:lnTo>
                      <a:pt x="252" y="156"/>
                    </a:lnTo>
                    <a:lnTo>
                      <a:pt x="240" y="144"/>
                    </a:lnTo>
                    <a:lnTo>
                      <a:pt x="240" y="138"/>
                    </a:lnTo>
                    <a:lnTo>
                      <a:pt x="222" y="138"/>
                    </a:lnTo>
                    <a:lnTo>
                      <a:pt x="216" y="126"/>
                    </a:lnTo>
                    <a:lnTo>
                      <a:pt x="198" y="108"/>
                    </a:lnTo>
                    <a:lnTo>
                      <a:pt x="186" y="84"/>
                    </a:lnTo>
                    <a:lnTo>
                      <a:pt x="186" y="54"/>
                    </a:lnTo>
                    <a:lnTo>
                      <a:pt x="180" y="54"/>
                    </a:lnTo>
                    <a:lnTo>
                      <a:pt x="174" y="60"/>
                    </a:lnTo>
                    <a:lnTo>
                      <a:pt x="168" y="48"/>
                    </a:lnTo>
                    <a:lnTo>
                      <a:pt x="156" y="42"/>
                    </a:lnTo>
                    <a:lnTo>
                      <a:pt x="150" y="30"/>
                    </a:lnTo>
                    <a:lnTo>
                      <a:pt x="144" y="24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96" y="0"/>
                    </a:lnTo>
                    <a:lnTo>
                      <a:pt x="90" y="6"/>
                    </a:lnTo>
                    <a:lnTo>
                      <a:pt x="90" y="48"/>
                    </a:lnTo>
                    <a:lnTo>
                      <a:pt x="114" y="72"/>
                    </a:lnTo>
                    <a:lnTo>
                      <a:pt x="114" y="108"/>
                    </a:lnTo>
                    <a:lnTo>
                      <a:pt x="72" y="108"/>
                    </a:lnTo>
                    <a:lnTo>
                      <a:pt x="72" y="84"/>
                    </a:lnTo>
                    <a:lnTo>
                      <a:pt x="36" y="102"/>
                    </a:lnTo>
                    <a:lnTo>
                      <a:pt x="36" y="114"/>
                    </a:lnTo>
                    <a:lnTo>
                      <a:pt x="30" y="126"/>
                    </a:lnTo>
                    <a:lnTo>
                      <a:pt x="36" y="132"/>
                    </a:lnTo>
                    <a:lnTo>
                      <a:pt x="30" y="138"/>
                    </a:lnTo>
                    <a:lnTo>
                      <a:pt x="18" y="138"/>
                    </a:lnTo>
                    <a:lnTo>
                      <a:pt x="0" y="156"/>
                    </a:lnTo>
                    <a:lnTo>
                      <a:pt x="0" y="168"/>
                    </a:lnTo>
                    <a:lnTo>
                      <a:pt x="6" y="168"/>
                    </a:lnTo>
                    <a:lnTo>
                      <a:pt x="12" y="174"/>
                    </a:lnTo>
                    <a:lnTo>
                      <a:pt x="24" y="18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</p:grpSp>
        <p:grpSp>
          <p:nvGrpSpPr>
            <p:cNvPr id="199" name="Asia">
              <a:extLst>
                <a:ext uri="{FF2B5EF4-FFF2-40B4-BE49-F238E27FC236}">
                  <a16:creationId xmlns:a16="http://schemas.microsoft.com/office/drawing/2014/main" id="{092B5523-5751-43BD-B82C-089762397958}"/>
                </a:ext>
              </a:extLst>
            </p:cNvPr>
            <p:cNvGrpSpPr/>
            <p:nvPr/>
          </p:nvGrpSpPr>
          <p:grpSpPr>
            <a:xfrm>
              <a:off x="8053936" y="1950735"/>
              <a:ext cx="2465051" cy="2033781"/>
              <a:chOff x="7661781" y="2592116"/>
              <a:chExt cx="2082630" cy="1718266"/>
            </a:xfrm>
            <a:solidFill>
              <a:srgbClr val="66A697"/>
            </a:solidFill>
          </p:grpSpPr>
          <p:sp>
            <p:nvSpPr>
              <p:cNvPr id="250" name="Taiw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98070E3-BDB9-4430-A63E-8F01DE6C94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49963" y="3605357"/>
                <a:ext cx="52416" cy="120456"/>
              </a:xfrm>
              <a:custGeom>
                <a:avLst/>
                <a:gdLst>
                  <a:gd name="T0" fmla="*/ 2147483647 w 120"/>
                  <a:gd name="T1" fmla="*/ 2147483647 h 270"/>
                  <a:gd name="T2" fmla="*/ 2147483647 w 120"/>
                  <a:gd name="T3" fmla="*/ 2147483647 h 270"/>
                  <a:gd name="T4" fmla="*/ 2147483647 w 120"/>
                  <a:gd name="T5" fmla="*/ 2147483647 h 270"/>
                  <a:gd name="T6" fmla="*/ 2147483647 w 120"/>
                  <a:gd name="T7" fmla="*/ 2147483647 h 270"/>
                  <a:gd name="T8" fmla="*/ 2147483647 w 120"/>
                  <a:gd name="T9" fmla="*/ 2147483647 h 270"/>
                  <a:gd name="T10" fmla="*/ 2147483647 w 120"/>
                  <a:gd name="T11" fmla="*/ 2147483647 h 270"/>
                  <a:gd name="T12" fmla="*/ 2147483647 w 120"/>
                  <a:gd name="T13" fmla="*/ 2147483647 h 270"/>
                  <a:gd name="T14" fmla="*/ 2147483647 w 120"/>
                  <a:gd name="T15" fmla="*/ 2147483647 h 270"/>
                  <a:gd name="T16" fmla="*/ 2147483647 w 120"/>
                  <a:gd name="T17" fmla="*/ 2147483647 h 270"/>
                  <a:gd name="T18" fmla="*/ 2147483647 w 120"/>
                  <a:gd name="T19" fmla="*/ 2147483647 h 270"/>
                  <a:gd name="T20" fmla="*/ 2147483647 w 120"/>
                  <a:gd name="T21" fmla="*/ 0 h 270"/>
                  <a:gd name="T22" fmla="*/ 2147483647 w 120"/>
                  <a:gd name="T23" fmla="*/ 2147483647 h 270"/>
                  <a:gd name="T24" fmla="*/ 2147483647 w 120"/>
                  <a:gd name="T25" fmla="*/ 2147483647 h 270"/>
                  <a:gd name="T26" fmla="*/ 2147483647 w 120"/>
                  <a:gd name="T27" fmla="*/ 2147483647 h 270"/>
                  <a:gd name="T28" fmla="*/ 2147483647 w 120"/>
                  <a:gd name="T29" fmla="*/ 2147483647 h 270"/>
                  <a:gd name="T30" fmla="*/ 0 w 120"/>
                  <a:gd name="T31" fmla="*/ 2147483647 h 270"/>
                  <a:gd name="T32" fmla="*/ 0 w 120"/>
                  <a:gd name="T33" fmla="*/ 2147483647 h 270"/>
                  <a:gd name="T34" fmla="*/ 2147483647 w 120"/>
                  <a:gd name="T35" fmla="*/ 2147483647 h 270"/>
                  <a:gd name="T36" fmla="*/ 2147483647 w 120"/>
                  <a:gd name="T37" fmla="*/ 2147483647 h 270"/>
                  <a:gd name="T38" fmla="*/ 2147483647 w 120"/>
                  <a:gd name="T39" fmla="*/ 2147483647 h 270"/>
                  <a:gd name="T40" fmla="*/ 2147483647 w 120"/>
                  <a:gd name="T41" fmla="*/ 2147483647 h 270"/>
                  <a:gd name="T42" fmla="*/ 2147483647 w 120"/>
                  <a:gd name="T43" fmla="*/ 2147483647 h 270"/>
                  <a:gd name="T44" fmla="*/ 2147483647 w 120"/>
                  <a:gd name="T45" fmla="*/ 2147483647 h 270"/>
                  <a:gd name="T46" fmla="*/ 2147483647 w 120"/>
                  <a:gd name="T47" fmla="*/ 2147483647 h 270"/>
                  <a:gd name="T48" fmla="*/ 2147483647 w 120"/>
                  <a:gd name="T49" fmla="*/ 2147483647 h 270"/>
                  <a:gd name="T50" fmla="*/ 2147483647 w 120"/>
                  <a:gd name="T51" fmla="*/ 2147483647 h 270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0"/>
                  <a:gd name="T79" fmla="*/ 0 h 270"/>
                  <a:gd name="T80" fmla="*/ 120 w 120"/>
                  <a:gd name="T81" fmla="*/ 270 h 270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0" h="270">
                    <a:moveTo>
                      <a:pt x="84" y="270"/>
                    </a:moveTo>
                    <a:lnTo>
                      <a:pt x="84" y="222"/>
                    </a:lnTo>
                    <a:lnTo>
                      <a:pt x="90" y="216"/>
                    </a:lnTo>
                    <a:lnTo>
                      <a:pt x="102" y="192"/>
                    </a:lnTo>
                    <a:lnTo>
                      <a:pt x="102" y="102"/>
                    </a:lnTo>
                    <a:lnTo>
                      <a:pt x="108" y="96"/>
                    </a:lnTo>
                    <a:lnTo>
                      <a:pt x="114" y="84"/>
                    </a:lnTo>
                    <a:lnTo>
                      <a:pt x="114" y="54"/>
                    </a:lnTo>
                    <a:lnTo>
                      <a:pt x="120" y="36"/>
                    </a:lnTo>
                    <a:lnTo>
                      <a:pt x="120" y="24"/>
                    </a:lnTo>
                    <a:lnTo>
                      <a:pt x="72" y="0"/>
                    </a:lnTo>
                    <a:lnTo>
                      <a:pt x="48" y="30"/>
                    </a:lnTo>
                    <a:lnTo>
                      <a:pt x="42" y="42"/>
                    </a:lnTo>
                    <a:lnTo>
                      <a:pt x="30" y="78"/>
                    </a:lnTo>
                    <a:lnTo>
                      <a:pt x="12" y="11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6" y="180"/>
                    </a:lnTo>
                    <a:lnTo>
                      <a:pt x="18" y="192"/>
                    </a:lnTo>
                    <a:lnTo>
                      <a:pt x="24" y="204"/>
                    </a:lnTo>
                    <a:lnTo>
                      <a:pt x="36" y="210"/>
                    </a:lnTo>
                    <a:lnTo>
                      <a:pt x="42" y="222"/>
                    </a:lnTo>
                    <a:lnTo>
                      <a:pt x="42" y="228"/>
                    </a:lnTo>
                    <a:lnTo>
                      <a:pt x="48" y="234"/>
                    </a:lnTo>
                    <a:lnTo>
                      <a:pt x="60" y="258"/>
                    </a:lnTo>
                    <a:lnTo>
                      <a:pt x="84" y="27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51" name="Sri Lank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8BC87A5-BE00-411F-B6AE-9270A7DFBF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054895" y="4173983"/>
                <a:ext cx="75128" cy="136399"/>
              </a:xfrm>
              <a:custGeom>
                <a:avLst/>
                <a:gdLst>
                  <a:gd name="T0" fmla="*/ 2147483647 w 174"/>
                  <a:gd name="T1" fmla="*/ 2147483647 h 306"/>
                  <a:gd name="T2" fmla="*/ 2147483647 w 174"/>
                  <a:gd name="T3" fmla="*/ 0 h 306"/>
                  <a:gd name="T4" fmla="*/ 2147483647 w 174"/>
                  <a:gd name="T5" fmla="*/ 0 h 306"/>
                  <a:gd name="T6" fmla="*/ 2147483647 w 174"/>
                  <a:gd name="T7" fmla="*/ 2147483647 h 306"/>
                  <a:gd name="T8" fmla="*/ 2147483647 w 174"/>
                  <a:gd name="T9" fmla="*/ 2147483647 h 306"/>
                  <a:gd name="T10" fmla="*/ 2147483647 w 174"/>
                  <a:gd name="T11" fmla="*/ 2147483647 h 306"/>
                  <a:gd name="T12" fmla="*/ 2147483647 w 174"/>
                  <a:gd name="T13" fmla="*/ 2147483647 h 306"/>
                  <a:gd name="T14" fmla="*/ 2147483647 w 174"/>
                  <a:gd name="T15" fmla="*/ 2147483647 h 306"/>
                  <a:gd name="T16" fmla="*/ 2147483647 w 174"/>
                  <a:gd name="T17" fmla="*/ 2147483647 h 306"/>
                  <a:gd name="T18" fmla="*/ 2147483647 w 174"/>
                  <a:gd name="T19" fmla="*/ 2147483647 h 306"/>
                  <a:gd name="T20" fmla="*/ 2147483647 w 174"/>
                  <a:gd name="T21" fmla="*/ 2147483647 h 306"/>
                  <a:gd name="T22" fmla="*/ 2147483647 w 174"/>
                  <a:gd name="T23" fmla="*/ 2147483647 h 306"/>
                  <a:gd name="T24" fmla="*/ 2147483647 w 174"/>
                  <a:gd name="T25" fmla="*/ 2147483647 h 306"/>
                  <a:gd name="T26" fmla="*/ 2147483647 w 174"/>
                  <a:gd name="T27" fmla="*/ 2147483647 h 306"/>
                  <a:gd name="T28" fmla="*/ 2147483647 w 174"/>
                  <a:gd name="T29" fmla="*/ 2147483647 h 306"/>
                  <a:gd name="T30" fmla="*/ 2147483647 w 174"/>
                  <a:gd name="T31" fmla="*/ 2147483647 h 306"/>
                  <a:gd name="T32" fmla="*/ 2147483647 w 174"/>
                  <a:gd name="T33" fmla="*/ 2147483647 h 306"/>
                  <a:gd name="T34" fmla="*/ 2147483647 w 174"/>
                  <a:gd name="T35" fmla="*/ 2147483647 h 306"/>
                  <a:gd name="T36" fmla="*/ 2147483647 w 174"/>
                  <a:gd name="T37" fmla="*/ 2147483647 h 306"/>
                  <a:gd name="T38" fmla="*/ 2147483647 w 174"/>
                  <a:gd name="T39" fmla="*/ 2147483647 h 306"/>
                  <a:gd name="T40" fmla="*/ 0 w 174"/>
                  <a:gd name="T41" fmla="*/ 2147483647 h 306"/>
                  <a:gd name="T42" fmla="*/ 0 w 174"/>
                  <a:gd name="T43" fmla="*/ 2147483647 h 306"/>
                  <a:gd name="T44" fmla="*/ 2147483647 w 174"/>
                  <a:gd name="T45" fmla="*/ 2147483647 h 306"/>
                  <a:gd name="T46" fmla="*/ 2147483647 w 174"/>
                  <a:gd name="T47" fmla="*/ 2147483647 h 306"/>
                  <a:gd name="T48" fmla="*/ 2147483647 w 174"/>
                  <a:gd name="T49" fmla="*/ 2147483647 h 306"/>
                  <a:gd name="T50" fmla="*/ 2147483647 w 174"/>
                  <a:gd name="T51" fmla="*/ 2147483647 h 306"/>
                  <a:gd name="T52" fmla="*/ 2147483647 w 174"/>
                  <a:gd name="T53" fmla="*/ 2147483647 h 306"/>
                  <a:gd name="T54" fmla="*/ 0 w 174"/>
                  <a:gd name="T55" fmla="*/ 2147483647 h 306"/>
                  <a:gd name="T56" fmla="*/ 2147483647 w 174"/>
                  <a:gd name="T57" fmla="*/ 2147483647 h 306"/>
                  <a:gd name="T58" fmla="*/ 2147483647 w 174"/>
                  <a:gd name="T59" fmla="*/ 2147483647 h 30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74"/>
                  <a:gd name="T91" fmla="*/ 0 h 306"/>
                  <a:gd name="T92" fmla="*/ 174 w 174"/>
                  <a:gd name="T93" fmla="*/ 306 h 30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74" h="306">
                    <a:moveTo>
                      <a:pt x="24" y="6"/>
                    </a:moveTo>
                    <a:lnTo>
                      <a:pt x="36" y="0"/>
                    </a:lnTo>
                    <a:lnTo>
                      <a:pt x="48" y="0"/>
                    </a:lnTo>
                    <a:lnTo>
                      <a:pt x="66" y="6"/>
                    </a:lnTo>
                    <a:lnTo>
                      <a:pt x="78" y="12"/>
                    </a:lnTo>
                    <a:lnTo>
                      <a:pt x="114" y="66"/>
                    </a:lnTo>
                    <a:lnTo>
                      <a:pt x="132" y="84"/>
                    </a:lnTo>
                    <a:lnTo>
                      <a:pt x="126" y="120"/>
                    </a:lnTo>
                    <a:lnTo>
                      <a:pt x="150" y="114"/>
                    </a:lnTo>
                    <a:lnTo>
                      <a:pt x="156" y="168"/>
                    </a:lnTo>
                    <a:lnTo>
                      <a:pt x="162" y="174"/>
                    </a:lnTo>
                    <a:lnTo>
                      <a:pt x="168" y="198"/>
                    </a:lnTo>
                    <a:lnTo>
                      <a:pt x="174" y="228"/>
                    </a:lnTo>
                    <a:lnTo>
                      <a:pt x="174" y="258"/>
                    </a:lnTo>
                    <a:lnTo>
                      <a:pt x="156" y="276"/>
                    </a:lnTo>
                    <a:lnTo>
                      <a:pt x="120" y="294"/>
                    </a:lnTo>
                    <a:lnTo>
                      <a:pt x="84" y="306"/>
                    </a:lnTo>
                    <a:lnTo>
                      <a:pt x="48" y="306"/>
                    </a:lnTo>
                    <a:lnTo>
                      <a:pt x="24" y="282"/>
                    </a:lnTo>
                    <a:lnTo>
                      <a:pt x="12" y="240"/>
                    </a:lnTo>
                    <a:lnTo>
                      <a:pt x="0" y="192"/>
                    </a:lnTo>
                    <a:lnTo>
                      <a:pt x="0" y="156"/>
                    </a:lnTo>
                    <a:lnTo>
                      <a:pt x="12" y="138"/>
                    </a:lnTo>
                    <a:lnTo>
                      <a:pt x="18" y="132"/>
                    </a:lnTo>
                    <a:lnTo>
                      <a:pt x="24" y="120"/>
                    </a:lnTo>
                    <a:lnTo>
                      <a:pt x="30" y="102"/>
                    </a:lnTo>
                    <a:lnTo>
                      <a:pt x="30" y="78"/>
                    </a:lnTo>
                    <a:lnTo>
                      <a:pt x="0" y="36"/>
                    </a:lnTo>
                    <a:lnTo>
                      <a:pt x="24" y="36"/>
                    </a:lnTo>
                    <a:lnTo>
                      <a:pt x="24" y="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52" name="Korea, South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A72AB6D-DBC3-4F74-B13C-A3A4FFBAE01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288400" y="3127080"/>
                <a:ext cx="120554" cy="191312"/>
              </a:xfrm>
              <a:custGeom>
                <a:avLst/>
                <a:gdLst>
                  <a:gd name="T0" fmla="*/ 2147483647 w 276"/>
                  <a:gd name="T1" fmla="*/ 2147483647 h 426"/>
                  <a:gd name="T2" fmla="*/ 2147483647 w 276"/>
                  <a:gd name="T3" fmla="*/ 2147483647 h 426"/>
                  <a:gd name="T4" fmla="*/ 2147483647 w 276"/>
                  <a:gd name="T5" fmla="*/ 2147483647 h 426"/>
                  <a:gd name="T6" fmla="*/ 2147483647 w 276"/>
                  <a:gd name="T7" fmla="*/ 2147483647 h 426"/>
                  <a:gd name="T8" fmla="*/ 2147483647 w 276"/>
                  <a:gd name="T9" fmla="*/ 2147483647 h 426"/>
                  <a:gd name="T10" fmla="*/ 2147483647 w 276"/>
                  <a:gd name="T11" fmla="*/ 2147483647 h 426"/>
                  <a:gd name="T12" fmla="*/ 2147483647 w 276"/>
                  <a:gd name="T13" fmla="*/ 2147483647 h 426"/>
                  <a:gd name="T14" fmla="*/ 2147483647 w 276"/>
                  <a:gd name="T15" fmla="*/ 2147483647 h 426"/>
                  <a:gd name="T16" fmla="*/ 2147483647 w 276"/>
                  <a:gd name="T17" fmla="*/ 2147483647 h 426"/>
                  <a:gd name="T18" fmla="*/ 2147483647 w 276"/>
                  <a:gd name="T19" fmla="*/ 2147483647 h 426"/>
                  <a:gd name="T20" fmla="*/ 2147483647 w 276"/>
                  <a:gd name="T21" fmla="*/ 2147483647 h 426"/>
                  <a:gd name="T22" fmla="*/ 2147483647 w 276"/>
                  <a:gd name="T23" fmla="*/ 2147483647 h 426"/>
                  <a:gd name="T24" fmla="*/ 2147483647 w 276"/>
                  <a:gd name="T25" fmla="*/ 0 h 426"/>
                  <a:gd name="T26" fmla="*/ 2147483647 w 276"/>
                  <a:gd name="T27" fmla="*/ 2147483647 h 426"/>
                  <a:gd name="T28" fmla="*/ 2147483647 w 276"/>
                  <a:gd name="T29" fmla="*/ 2147483647 h 426"/>
                  <a:gd name="T30" fmla="*/ 2147483647 w 276"/>
                  <a:gd name="T31" fmla="*/ 2147483647 h 426"/>
                  <a:gd name="T32" fmla="*/ 2147483647 w 276"/>
                  <a:gd name="T33" fmla="*/ 2147483647 h 426"/>
                  <a:gd name="T34" fmla="*/ 0 w 276"/>
                  <a:gd name="T35" fmla="*/ 2147483647 h 426"/>
                  <a:gd name="T36" fmla="*/ 2147483647 w 276"/>
                  <a:gd name="T37" fmla="*/ 2147483647 h 426"/>
                  <a:gd name="T38" fmla="*/ 2147483647 w 276"/>
                  <a:gd name="T39" fmla="*/ 2147483647 h 426"/>
                  <a:gd name="T40" fmla="*/ 2147483647 w 276"/>
                  <a:gd name="T41" fmla="*/ 2147483647 h 426"/>
                  <a:gd name="T42" fmla="*/ 2147483647 w 276"/>
                  <a:gd name="T43" fmla="*/ 2147483647 h 426"/>
                  <a:gd name="T44" fmla="*/ 2147483647 w 276"/>
                  <a:gd name="T45" fmla="*/ 2147483647 h 426"/>
                  <a:gd name="T46" fmla="*/ 2147483647 w 276"/>
                  <a:gd name="T47" fmla="*/ 2147483647 h 426"/>
                  <a:gd name="T48" fmla="*/ 2147483647 w 276"/>
                  <a:gd name="T49" fmla="*/ 2147483647 h 426"/>
                  <a:gd name="T50" fmla="*/ 2147483647 w 276"/>
                  <a:gd name="T51" fmla="*/ 2147483647 h 426"/>
                  <a:gd name="T52" fmla="*/ 2147483647 w 276"/>
                  <a:gd name="T53" fmla="*/ 2147483647 h 426"/>
                  <a:gd name="T54" fmla="*/ 2147483647 w 276"/>
                  <a:gd name="T55" fmla="*/ 2147483647 h 426"/>
                  <a:gd name="T56" fmla="*/ 2147483647 w 276"/>
                  <a:gd name="T57" fmla="*/ 2147483647 h 426"/>
                  <a:gd name="T58" fmla="*/ 2147483647 w 276"/>
                  <a:gd name="T59" fmla="*/ 2147483647 h 426"/>
                  <a:gd name="T60" fmla="*/ 2147483647 w 276"/>
                  <a:gd name="T61" fmla="*/ 2147483647 h 426"/>
                  <a:gd name="T62" fmla="*/ 2147483647 w 276"/>
                  <a:gd name="T63" fmla="*/ 2147483647 h 426"/>
                  <a:gd name="T64" fmla="*/ 2147483647 w 276"/>
                  <a:gd name="T65" fmla="*/ 2147483647 h 426"/>
                  <a:gd name="T66" fmla="*/ 2147483647 w 276"/>
                  <a:gd name="T67" fmla="*/ 2147483647 h 426"/>
                  <a:gd name="T68" fmla="*/ 2147483647 w 276"/>
                  <a:gd name="T69" fmla="*/ 2147483647 h 426"/>
                  <a:gd name="T70" fmla="*/ 2147483647 w 276"/>
                  <a:gd name="T71" fmla="*/ 2147483647 h 426"/>
                  <a:gd name="T72" fmla="*/ 2147483647 w 276"/>
                  <a:gd name="T73" fmla="*/ 2147483647 h 426"/>
                  <a:gd name="T74" fmla="*/ 2147483647 w 276"/>
                  <a:gd name="T75" fmla="*/ 2147483647 h 42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76"/>
                  <a:gd name="T115" fmla="*/ 0 h 426"/>
                  <a:gd name="T116" fmla="*/ 276 w 276"/>
                  <a:gd name="T117" fmla="*/ 426 h 42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76" h="426">
                    <a:moveTo>
                      <a:pt x="150" y="402"/>
                    </a:moveTo>
                    <a:lnTo>
                      <a:pt x="132" y="408"/>
                    </a:lnTo>
                    <a:lnTo>
                      <a:pt x="126" y="414"/>
                    </a:lnTo>
                    <a:lnTo>
                      <a:pt x="138" y="426"/>
                    </a:lnTo>
                    <a:lnTo>
                      <a:pt x="162" y="426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2"/>
                    </a:lnTo>
                    <a:lnTo>
                      <a:pt x="150" y="402"/>
                    </a:lnTo>
                    <a:close/>
                    <a:moveTo>
                      <a:pt x="276" y="246"/>
                    </a:moveTo>
                    <a:lnTo>
                      <a:pt x="270" y="228"/>
                    </a:lnTo>
                    <a:lnTo>
                      <a:pt x="264" y="216"/>
                    </a:lnTo>
                    <a:lnTo>
                      <a:pt x="246" y="198"/>
                    </a:lnTo>
                    <a:lnTo>
                      <a:pt x="252" y="186"/>
                    </a:lnTo>
                    <a:lnTo>
                      <a:pt x="252" y="180"/>
                    </a:lnTo>
                    <a:lnTo>
                      <a:pt x="246" y="162"/>
                    </a:lnTo>
                    <a:lnTo>
                      <a:pt x="240" y="150"/>
                    </a:lnTo>
                    <a:lnTo>
                      <a:pt x="210" y="120"/>
                    </a:lnTo>
                    <a:lnTo>
                      <a:pt x="198" y="102"/>
                    </a:lnTo>
                    <a:lnTo>
                      <a:pt x="168" y="72"/>
                    </a:lnTo>
                    <a:lnTo>
                      <a:pt x="144" y="66"/>
                    </a:lnTo>
                    <a:lnTo>
                      <a:pt x="144" y="60"/>
                    </a:lnTo>
                    <a:lnTo>
                      <a:pt x="138" y="54"/>
                    </a:lnTo>
                    <a:lnTo>
                      <a:pt x="132" y="42"/>
                    </a:lnTo>
                    <a:lnTo>
                      <a:pt x="102" y="12"/>
                    </a:lnTo>
                    <a:lnTo>
                      <a:pt x="96" y="0"/>
                    </a:lnTo>
                    <a:lnTo>
                      <a:pt x="78" y="12"/>
                    </a:lnTo>
                    <a:lnTo>
                      <a:pt x="48" y="12"/>
                    </a:lnTo>
                    <a:lnTo>
                      <a:pt x="24" y="24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12" y="36"/>
                    </a:lnTo>
                    <a:lnTo>
                      <a:pt x="18" y="42"/>
                    </a:lnTo>
                    <a:lnTo>
                      <a:pt x="18" y="48"/>
                    </a:lnTo>
                    <a:lnTo>
                      <a:pt x="12" y="54"/>
                    </a:lnTo>
                    <a:lnTo>
                      <a:pt x="0" y="60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2" y="84"/>
                    </a:lnTo>
                    <a:lnTo>
                      <a:pt x="24" y="90"/>
                    </a:lnTo>
                    <a:lnTo>
                      <a:pt x="30" y="90"/>
                    </a:lnTo>
                    <a:lnTo>
                      <a:pt x="42" y="96"/>
                    </a:lnTo>
                    <a:lnTo>
                      <a:pt x="60" y="132"/>
                    </a:lnTo>
                    <a:lnTo>
                      <a:pt x="54" y="132"/>
                    </a:lnTo>
                    <a:lnTo>
                      <a:pt x="48" y="126"/>
                    </a:lnTo>
                    <a:lnTo>
                      <a:pt x="36" y="126"/>
                    </a:lnTo>
                    <a:lnTo>
                      <a:pt x="24" y="120"/>
                    </a:lnTo>
                    <a:lnTo>
                      <a:pt x="6" y="120"/>
                    </a:lnTo>
                    <a:lnTo>
                      <a:pt x="6" y="126"/>
                    </a:lnTo>
                    <a:lnTo>
                      <a:pt x="18" y="132"/>
                    </a:lnTo>
                    <a:lnTo>
                      <a:pt x="30" y="144"/>
                    </a:lnTo>
                    <a:lnTo>
                      <a:pt x="42" y="150"/>
                    </a:lnTo>
                    <a:lnTo>
                      <a:pt x="54" y="192"/>
                    </a:lnTo>
                    <a:lnTo>
                      <a:pt x="90" y="198"/>
                    </a:lnTo>
                    <a:lnTo>
                      <a:pt x="90" y="228"/>
                    </a:lnTo>
                    <a:lnTo>
                      <a:pt x="78" y="240"/>
                    </a:lnTo>
                    <a:lnTo>
                      <a:pt x="78" y="270"/>
                    </a:lnTo>
                    <a:lnTo>
                      <a:pt x="84" y="282"/>
                    </a:lnTo>
                    <a:lnTo>
                      <a:pt x="102" y="300"/>
                    </a:lnTo>
                    <a:lnTo>
                      <a:pt x="108" y="300"/>
                    </a:lnTo>
                    <a:lnTo>
                      <a:pt x="108" y="306"/>
                    </a:lnTo>
                    <a:lnTo>
                      <a:pt x="102" y="312"/>
                    </a:lnTo>
                    <a:lnTo>
                      <a:pt x="102" y="324"/>
                    </a:lnTo>
                    <a:lnTo>
                      <a:pt x="108" y="330"/>
                    </a:lnTo>
                    <a:lnTo>
                      <a:pt x="132" y="330"/>
                    </a:lnTo>
                    <a:lnTo>
                      <a:pt x="144" y="324"/>
                    </a:lnTo>
                    <a:lnTo>
                      <a:pt x="144" y="318"/>
                    </a:lnTo>
                    <a:lnTo>
                      <a:pt x="150" y="312"/>
                    </a:lnTo>
                    <a:lnTo>
                      <a:pt x="150" y="306"/>
                    </a:lnTo>
                    <a:lnTo>
                      <a:pt x="198" y="282"/>
                    </a:lnTo>
                    <a:lnTo>
                      <a:pt x="222" y="288"/>
                    </a:lnTo>
                    <a:lnTo>
                      <a:pt x="234" y="270"/>
                    </a:lnTo>
                    <a:lnTo>
                      <a:pt x="258" y="270"/>
                    </a:lnTo>
                    <a:lnTo>
                      <a:pt x="270" y="264"/>
                    </a:lnTo>
                    <a:lnTo>
                      <a:pt x="276" y="264"/>
                    </a:lnTo>
                    <a:lnTo>
                      <a:pt x="276" y="24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53" name="Japa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C196D3F-2B8E-427E-BD32-1899628DBF6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9356539" y="2877308"/>
                <a:ext cx="387872" cy="767022"/>
              </a:xfrm>
              <a:custGeom>
                <a:avLst/>
                <a:gdLst>
                  <a:gd name="T0" fmla="*/ 2147483647 w 876"/>
                  <a:gd name="T1" fmla="*/ 2147483647 h 1710"/>
                  <a:gd name="T2" fmla="*/ 2147483647 w 876"/>
                  <a:gd name="T3" fmla="*/ 2147483647 h 1710"/>
                  <a:gd name="T4" fmla="*/ 2147483647 w 876"/>
                  <a:gd name="T5" fmla="*/ 2147483647 h 1710"/>
                  <a:gd name="T6" fmla="*/ 2147483647 w 876"/>
                  <a:gd name="T7" fmla="*/ 2147483647 h 1710"/>
                  <a:gd name="T8" fmla="*/ 2147483647 w 876"/>
                  <a:gd name="T9" fmla="*/ 2147483647 h 1710"/>
                  <a:gd name="T10" fmla="*/ 2147483647 w 876"/>
                  <a:gd name="T11" fmla="*/ 2147483647 h 1710"/>
                  <a:gd name="T12" fmla="*/ 2147483647 w 876"/>
                  <a:gd name="T13" fmla="*/ 2147483647 h 1710"/>
                  <a:gd name="T14" fmla="*/ 2147483647 w 876"/>
                  <a:gd name="T15" fmla="*/ 2147483647 h 1710"/>
                  <a:gd name="T16" fmla="*/ 2147483647 w 876"/>
                  <a:gd name="T17" fmla="*/ 2147483647 h 1710"/>
                  <a:gd name="T18" fmla="*/ 2147483647 w 876"/>
                  <a:gd name="T19" fmla="*/ 2147483647 h 1710"/>
                  <a:gd name="T20" fmla="*/ 2147483647 w 876"/>
                  <a:gd name="T21" fmla="*/ 2147483647 h 1710"/>
                  <a:gd name="T22" fmla="*/ 2147483647 w 876"/>
                  <a:gd name="T23" fmla="*/ 2147483647 h 1710"/>
                  <a:gd name="T24" fmla="*/ 2147483647 w 876"/>
                  <a:gd name="T25" fmla="*/ 2147483647 h 1710"/>
                  <a:gd name="T26" fmla="*/ 2147483647 w 876"/>
                  <a:gd name="T27" fmla="*/ 2147483647 h 1710"/>
                  <a:gd name="T28" fmla="*/ 2147483647 w 876"/>
                  <a:gd name="T29" fmla="*/ 2147483647 h 1710"/>
                  <a:gd name="T30" fmla="*/ 2147483647 w 876"/>
                  <a:gd name="T31" fmla="*/ 2147483647 h 1710"/>
                  <a:gd name="T32" fmla="*/ 2147483647 w 876"/>
                  <a:gd name="T33" fmla="*/ 2147483647 h 1710"/>
                  <a:gd name="T34" fmla="*/ 2147483647 w 876"/>
                  <a:gd name="T35" fmla="*/ 2147483647 h 1710"/>
                  <a:gd name="T36" fmla="*/ 2147483647 w 876"/>
                  <a:gd name="T37" fmla="*/ 2147483647 h 1710"/>
                  <a:gd name="T38" fmla="*/ 2147483647 w 876"/>
                  <a:gd name="T39" fmla="*/ 2147483647 h 1710"/>
                  <a:gd name="T40" fmla="*/ 2147483647 w 876"/>
                  <a:gd name="T41" fmla="*/ 2147483647 h 1710"/>
                  <a:gd name="T42" fmla="*/ 2147483647 w 876"/>
                  <a:gd name="T43" fmla="*/ 2147483647 h 1710"/>
                  <a:gd name="T44" fmla="*/ 2147483647 w 876"/>
                  <a:gd name="T45" fmla="*/ 2147483647 h 1710"/>
                  <a:gd name="T46" fmla="*/ 2147483647 w 876"/>
                  <a:gd name="T47" fmla="*/ 2147483647 h 1710"/>
                  <a:gd name="T48" fmla="*/ 2147483647 w 876"/>
                  <a:gd name="T49" fmla="*/ 2147483647 h 1710"/>
                  <a:gd name="T50" fmla="*/ 2147483647 w 876"/>
                  <a:gd name="T51" fmla="*/ 2147483647 h 1710"/>
                  <a:gd name="T52" fmla="*/ 2147483647 w 876"/>
                  <a:gd name="T53" fmla="*/ 2147483647 h 1710"/>
                  <a:gd name="T54" fmla="*/ 2147483647 w 876"/>
                  <a:gd name="T55" fmla="*/ 2147483647 h 1710"/>
                  <a:gd name="T56" fmla="*/ 2147483647 w 876"/>
                  <a:gd name="T57" fmla="*/ 2147483647 h 1710"/>
                  <a:gd name="T58" fmla="*/ 2147483647 w 876"/>
                  <a:gd name="T59" fmla="*/ 2147483647 h 1710"/>
                  <a:gd name="T60" fmla="*/ 2147483647 w 876"/>
                  <a:gd name="T61" fmla="*/ 2147483647 h 1710"/>
                  <a:gd name="T62" fmla="*/ 2147483647 w 876"/>
                  <a:gd name="T63" fmla="*/ 2147483647 h 1710"/>
                  <a:gd name="T64" fmla="*/ 2147483647 w 876"/>
                  <a:gd name="T65" fmla="*/ 2147483647 h 1710"/>
                  <a:gd name="T66" fmla="*/ 2147483647 w 876"/>
                  <a:gd name="T67" fmla="*/ 2147483647 h 1710"/>
                  <a:gd name="T68" fmla="*/ 2147483647 w 876"/>
                  <a:gd name="T69" fmla="*/ 2147483647 h 1710"/>
                  <a:gd name="T70" fmla="*/ 2147483647 w 876"/>
                  <a:gd name="T71" fmla="*/ 2147483647 h 1710"/>
                  <a:gd name="T72" fmla="*/ 2147483647 w 876"/>
                  <a:gd name="T73" fmla="*/ 2147483647 h 1710"/>
                  <a:gd name="T74" fmla="*/ 2147483647 w 876"/>
                  <a:gd name="T75" fmla="*/ 2147483647 h 1710"/>
                  <a:gd name="T76" fmla="*/ 2147483647 w 876"/>
                  <a:gd name="T77" fmla="*/ 2147483647 h 1710"/>
                  <a:gd name="T78" fmla="*/ 2147483647 w 876"/>
                  <a:gd name="T79" fmla="*/ 2147483647 h 1710"/>
                  <a:gd name="T80" fmla="*/ 2147483647 w 876"/>
                  <a:gd name="T81" fmla="*/ 2147483647 h 1710"/>
                  <a:gd name="T82" fmla="*/ 2147483647 w 876"/>
                  <a:gd name="T83" fmla="*/ 2147483647 h 1710"/>
                  <a:gd name="T84" fmla="*/ 2147483647 w 876"/>
                  <a:gd name="T85" fmla="*/ 2147483647 h 1710"/>
                  <a:gd name="T86" fmla="*/ 2147483647 w 876"/>
                  <a:gd name="T87" fmla="*/ 2147483647 h 1710"/>
                  <a:gd name="T88" fmla="*/ 2147483647 w 876"/>
                  <a:gd name="T89" fmla="*/ 2147483647 h 1710"/>
                  <a:gd name="T90" fmla="*/ 2147483647 w 876"/>
                  <a:gd name="T91" fmla="*/ 2147483647 h 1710"/>
                  <a:gd name="T92" fmla="*/ 2147483647 w 876"/>
                  <a:gd name="T93" fmla="*/ 2147483647 h 1710"/>
                  <a:gd name="T94" fmla="*/ 2147483647 w 876"/>
                  <a:gd name="T95" fmla="*/ 2147483647 h 1710"/>
                  <a:gd name="T96" fmla="*/ 2147483647 w 876"/>
                  <a:gd name="T97" fmla="*/ 2147483647 h 1710"/>
                  <a:gd name="T98" fmla="*/ 2147483647 w 876"/>
                  <a:gd name="T99" fmla="*/ 2147483647 h 1710"/>
                  <a:gd name="T100" fmla="*/ 2147483647 w 876"/>
                  <a:gd name="T101" fmla="*/ 2147483647 h 1710"/>
                  <a:gd name="T102" fmla="*/ 2147483647 w 876"/>
                  <a:gd name="T103" fmla="*/ 2147483647 h 1710"/>
                  <a:gd name="T104" fmla="*/ 2147483647 w 876"/>
                  <a:gd name="T105" fmla="*/ 2147483647 h 1710"/>
                  <a:gd name="T106" fmla="*/ 2147483647 w 876"/>
                  <a:gd name="T107" fmla="*/ 2147483647 h 1710"/>
                  <a:gd name="T108" fmla="*/ 2147483647 w 876"/>
                  <a:gd name="T109" fmla="*/ 2147483647 h 1710"/>
                  <a:gd name="T110" fmla="*/ 2147483647 w 876"/>
                  <a:gd name="T111" fmla="*/ 2147483647 h 1710"/>
                  <a:gd name="T112" fmla="*/ 2147483647 w 876"/>
                  <a:gd name="T113" fmla="*/ 2147483647 h 1710"/>
                  <a:gd name="T114" fmla="*/ 2147483647 w 876"/>
                  <a:gd name="T115" fmla="*/ 2147483647 h 1710"/>
                  <a:gd name="T116" fmla="*/ 2147483647 w 876"/>
                  <a:gd name="T117" fmla="*/ 2147483647 h 1710"/>
                  <a:gd name="T118" fmla="*/ 2147483647 w 876"/>
                  <a:gd name="T119" fmla="*/ 2147483647 h 171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76"/>
                  <a:gd name="T181" fmla="*/ 0 h 1710"/>
                  <a:gd name="T182" fmla="*/ 876 w 876"/>
                  <a:gd name="T183" fmla="*/ 1710 h 171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76" h="1710">
                    <a:moveTo>
                      <a:pt x="876" y="780"/>
                    </a:moveTo>
                    <a:lnTo>
                      <a:pt x="864" y="774"/>
                    </a:lnTo>
                    <a:lnTo>
                      <a:pt x="858" y="768"/>
                    </a:lnTo>
                    <a:lnTo>
                      <a:pt x="846" y="762"/>
                    </a:lnTo>
                    <a:lnTo>
                      <a:pt x="840" y="750"/>
                    </a:lnTo>
                    <a:lnTo>
                      <a:pt x="828" y="744"/>
                    </a:lnTo>
                    <a:lnTo>
                      <a:pt x="828" y="720"/>
                    </a:lnTo>
                    <a:lnTo>
                      <a:pt x="834" y="702"/>
                    </a:lnTo>
                    <a:lnTo>
                      <a:pt x="834" y="684"/>
                    </a:lnTo>
                    <a:lnTo>
                      <a:pt x="828" y="666"/>
                    </a:lnTo>
                    <a:lnTo>
                      <a:pt x="816" y="642"/>
                    </a:lnTo>
                    <a:lnTo>
                      <a:pt x="792" y="618"/>
                    </a:lnTo>
                    <a:lnTo>
                      <a:pt x="786" y="600"/>
                    </a:lnTo>
                    <a:lnTo>
                      <a:pt x="786" y="576"/>
                    </a:lnTo>
                    <a:lnTo>
                      <a:pt x="792" y="570"/>
                    </a:lnTo>
                    <a:lnTo>
                      <a:pt x="810" y="570"/>
                    </a:lnTo>
                    <a:lnTo>
                      <a:pt x="810" y="528"/>
                    </a:lnTo>
                    <a:lnTo>
                      <a:pt x="798" y="516"/>
                    </a:lnTo>
                    <a:lnTo>
                      <a:pt x="810" y="510"/>
                    </a:lnTo>
                    <a:lnTo>
                      <a:pt x="810" y="498"/>
                    </a:lnTo>
                    <a:lnTo>
                      <a:pt x="804" y="486"/>
                    </a:lnTo>
                    <a:lnTo>
                      <a:pt x="804" y="474"/>
                    </a:lnTo>
                    <a:lnTo>
                      <a:pt x="798" y="468"/>
                    </a:lnTo>
                    <a:lnTo>
                      <a:pt x="792" y="456"/>
                    </a:lnTo>
                    <a:lnTo>
                      <a:pt x="786" y="450"/>
                    </a:lnTo>
                    <a:lnTo>
                      <a:pt x="774" y="444"/>
                    </a:lnTo>
                    <a:lnTo>
                      <a:pt x="768" y="438"/>
                    </a:lnTo>
                    <a:lnTo>
                      <a:pt x="762" y="420"/>
                    </a:lnTo>
                    <a:lnTo>
                      <a:pt x="756" y="420"/>
                    </a:lnTo>
                    <a:lnTo>
                      <a:pt x="738" y="402"/>
                    </a:lnTo>
                    <a:lnTo>
                      <a:pt x="714" y="390"/>
                    </a:lnTo>
                    <a:lnTo>
                      <a:pt x="702" y="378"/>
                    </a:lnTo>
                    <a:lnTo>
                      <a:pt x="696" y="360"/>
                    </a:lnTo>
                    <a:lnTo>
                      <a:pt x="690" y="348"/>
                    </a:lnTo>
                    <a:lnTo>
                      <a:pt x="690" y="330"/>
                    </a:lnTo>
                    <a:lnTo>
                      <a:pt x="684" y="324"/>
                    </a:lnTo>
                    <a:lnTo>
                      <a:pt x="678" y="324"/>
                    </a:lnTo>
                    <a:lnTo>
                      <a:pt x="666" y="318"/>
                    </a:lnTo>
                    <a:lnTo>
                      <a:pt x="654" y="318"/>
                    </a:lnTo>
                    <a:lnTo>
                      <a:pt x="648" y="324"/>
                    </a:lnTo>
                    <a:lnTo>
                      <a:pt x="648" y="342"/>
                    </a:lnTo>
                    <a:lnTo>
                      <a:pt x="654" y="342"/>
                    </a:lnTo>
                    <a:lnTo>
                      <a:pt x="660" y="348"/>
                    </a:lnTo>
                    <a:lnTo>
                      <a:pt x="672" y="342"/>
                    </a:lnTo>
                    <a:lnTo>
                      <a:pt x="678" y="348"/>
                    </a:lnTo>
                    <a:lnTo>
                      <a:pt x="678" y="366"/>
                    </a:lnTo>
                    <a:lnTo>
                      <a:pt x="672" y="366"/>
                    </a:lnTo>
                    <a:lnTo>
                      <a:pt x="666" y="360"/>
                    </a:lnTo>
                    <a:lnTo>
                      <a:pt x="654" y="372"/>
                    </a:lnTo>
                    <a:lnTo>
                      <a:pt x="630" y="342"/>
                    </a:lnTo>
                    <a:lnTo>
                      <a:pt x="612" y="342"/>
                    </a:lnTo>
                    <a:lnTo>
                      <a:pt x="636" y="378"/>
                    </a:lnTo>
                    <a:lnTo>
                      <a:pt x="618" y="378"/>
                    </a:lnTo>
                    <a:lnTo>
                      <a:pt x="648" y="426"/>
                    </a:lnTo>
                    <a:lnTo>
                      <a:pt x="636" y="438"/>
                    </a:lnTo>
                    <a:lnTo>
                      <a:pt x="648" y="444"/>
                    </a:lnTo>
                    <a:lnTo>
                      <a:pt x="666" y="462"/>
                    </a:lnTo>
                    <a:lnTo>
                      <a:pt x="678" y="468"/>
                    </a:lnTo>
                    <a:lnTo>
                      <a:pt x="684" y="480"/>
                    </a:lnTo>
                    <a:lnTo>
                      <a:pt x="684" y="504"/>
                    </a:lnTo>
                    <a:lnTo>
                      <a:pt x="678" y="516"/>
                    </a:lnTo>
                    <a:lnTo>
                      <a:pt x="678" y="534"/>
                    </a:lnTo>
                    <a:lnTo>
                      <a:pt x="672" y="540"/>
                    </a:lnTo>
                    <a:lnTo>
                      <a:pt x="672" y="570"/>
                    </a:lnTo>
                    <a:lnTo>
                      <a:pt x="678" y="570"/>
                    </a:lnTo>
                    <a:lnTo>
                      <a:pt x="690" y="582"/>
                    </a:lnTo>
                    <a:lnTo>
                      <a:pt x="690" y="600"/>
                    </a:lnTo>
                    <a:lnTo>
                      <a:pt x="678" y="606"/>
                    </a:lnTo>
                    <a:lnTo>
                      <a:pt x="660" y="606"/>
                    </a:lnTo>
                    <a:lnTo>
                      <a:pt x="660" y="618"/>
                    </a:lnTo>
                    <a:lnTo>
                      <a:pt x="666" y="630"/>
                    </a:lnTo>
                    <a:lnTo>
                      <a:pt x="666" y="642"/>
                    </a:lnTo>
                    <a:lnTo>
                      <a:pt x="660" y="654"/>
                    </a:lnTo>
                    <a:lnTo>
                      <a:pt x="654" y="660"/>
                    </a:lnTo>
                    <a:lnTo>
                      <a:pt x="642" y="666"/>
                    </a:lnTo>
                    <a:lnTo>
                      <a:pt x="630" y="666"/>
                    </a:lnTo>
                    <a:lnTo>
                      <a:pt x="618" y="672"/>
                    </a:lnTo>
                    <a:lnTo>
                      <a:pt x="612" y="678"/>
                    </a:lnTo>
                    <a:lnTo>
                      <a:pt x="606" y="678"/>
                    </a:lnTo>
                    <a:lnTo>
                      <a:pt x="606" y="696"/>
                    </a:lnTo>
                    <a:lnTo>
                      <a:pt x="588" y="696"/>
                    </a:lnTo>
                    <a:lnTo>
                      <a:pt x="564" y="672"/>
                    </a:lnTo>
                    <a:lnTo>
                      <a:pt x="564" y="654"/>
                    </a:lnTo>
                    <a:lnTo>
                      <a:pt x="570" y="636"/>
                    </a:lnTo>
                    <a:lnTo>
                      <a:pt x="558" y="636"/>
                    </a:lnTo>
                    <a:lnTo>
                      <a:pt x="552" y="642"/>
                    </a:lnTo>
                    <a:lnTo>
                      <a:pt x="540" y="648"/>
                    </a:lnTo>
                    <a:lnTo>
                      <a:pt x="534" y="654"/>
                    </a:lnTo>
                    <a:lnTo>
                      <a:pt x="534" y="660"/>
                    </a:lnTo>
                    <a:lnTo>
                      <a:pt x="540" y="666"/>
                    </a:lnTo>
                    <a:lnTo>
                      <a:pt x="558" y="702"/>
                    </a:lnTo>
                    <a:lnTo>
                      <a:pt x="558" y="714"/>
                    </a:lnTo>
                    <a:lnTo>
                      <a:pt x="552" y="720"/>
                    </a:lnTo>
                    <a:lnTo>
                      <a:pt x="540" y="744"/>
                    </a:lnTo>
                    <a:lnTo>
                      <a:pt x="540" y="756"/>
                    </a:lnTo>
                    <a:lnTo>
                      <a:pt x="546" y="762"/>
                    </a:lnTo>
                    <a:lnTo>
                      <a:pt x="546" y="768"/>
                    </a:lnTo>
                    <a:lnTo>
                      <a:pt x="552" y="780"/>
                    </a:lnTo>
                    <a:lnTo>
                      <a:pt x="558" y="786"/>
                    </a:lnTo>
                    <a:lnTo>
                      <a:pt x="558" y="792"/>
                    </a:lnTo>
                    <a:lnTo>
                      <a:pt x="522" y="792"/>
                    </a:lnTo>
                    <a:lnTo>
                      <a:pt x="498" y="780"/>
                    </a:lnTo>
                    <a:lnTo>
                      <a:pt x="474" y="780"/>
                    </a:lnTo>
                    <a:lnTo>
                      <a:pt x="450" y="792"/>
                    </a:lnTo>
                    <a:lnTo>
                      <a:pt x="438" y="792"/>
                    </a:lnTo>
                    <a:lnTo>
                      <a:pt x="420" y="798"/>
                    </a:lnTo>
                    <a:lnTo>
                      <a:pt x="414" y="804"/>
                    </a:lnTo>
                    <a:lnTo>
                      <a:pt x="378" y="804"/>
                    </a:lnTo>
                    <a:lnTo>
                      <a:pt x="366" y="792"/>
                    </a:lnTo>
                    <a:lnTo>
                      <a:pt x="336" y="816"/>
                    </a:lnTo>
                    <a:lnTo>
                      <a:pt x="330" y="828"/>
                    </a:lnTo>
                    <a:lnTo>
                      <a:pt x="312" y="846"/>
                    </a:lnTo>
                    <a:lnTo>
                      <a:pt x="306" y="864"/>
                    </a:lnTo>
                    <a:lnTo>
                      <a:pt x="300" y="870"/>
                    </a:lnTo>
                    <a:lnTo>
                      <a:pt x="294" y="882"/>
                    </a:lnTo>
                    <a:lnTo>
                      <a:pt x="270" y="882"/>
                    </a:lnTo>
                    <a:lnTo>
                      <a:pt x="264" y="888"/>
                    </a:lnTo>
                    <a:lnTo>
                      <a:pt x="258" y="888"/>
                    </a:lnTo>
                    <a:lnTo>
                      <a:pt x="258" y="900"/>
                    </a:lnTo>
                    <a:lnTo>
                      <a:pt x="264" y="912"/>
                    </a:lnTo>
                    <a:lnTo>
                      <a:pt x="276" y="924"/>
                    </a:lnTo>
                    <a:lnTo>
                      <a:pt x="288" y="924"/>
                    </a:lnTo>
                    <a:lnTo>
                      <a:pt x="294" y="918"/>
                    </a:lnTo>
                    <a:lnTo>
                      <a:pt x="312" y="918"/>
                    </a:lnTo>
                    <a:lnTo>
                      <a:pt x="318" y="924"/>
                    </a:lnTo>
                    <a:lnTo>
                      <a:pt x="324" y="924"/>
                    </a:lnTo>
                    <a:lnTo>
                      <a:pt x="336" y="930"/>
                    </a:lnTo>
                    <a:lnTo>
                      <a:pt x="342" y="930"/>
                    </a:lnTo>
                    <a:lnTo>
                      <a:pt x="348" y="924"/>
                    </a:lnTo>
                    <a:lnTo>
                      <a:pt x="348" y="912"/>
                    </a:lnTo>
                    <a:lnTo>
                      <a:pt x="354" y="906"/>
                    </a:lnTo>
                    <a:lnTo>
                      <a:pt x="354" y="894"/>
                    </a:lnTo>
                    <a:lnTo>
                      <a:pt x="372" y="906"/>
                    </a:lnTo>
                    <a:lnTo>
                      <a:pt x="378" y="906"/>
                    </a:lnTo>
                    <a:lnTo>
                      <a:pt x="384" y="900"/>
                    </a:lnTo>
                    <a:lnTo>
                      <a:pt x="420" y="882"/>
                    </a:lnTo>
                    <a:lnTo>
                      <a:pt x="426" y="882"/>
                    </a:lnTo>
                    <a:lnTo>
                      <a:pt x="432" y="876"/>
                    </a:lnTo>
                    <a:lnTo>
                      <a:pt x="444" y="876"/>
                    </a:lnTo>
                    <a:lnTo>
                      <a:pt x="456" y="882"/>
                    </a:lnTo>
                    <a:lnTo>
                      <a:pt x="480" y="882"/>
                    </a:lnTo>
                    <a:lnTo>
                      <a:pt x="480" y="876"/>
                    </a:lnTo>
                    <a:lnTo>
                      <a:pt x="474" y="870"/>
                    </a:lnTo>
                    <a:lnTo>
                      <a:pt x="474" y="864"/>
                    </a:lnTo>
                    <a:lnTo>
                      <a:pt x="480" y="858"/>
                    </a:lnTo>
                    <a:lnTo>
                      <a:pt x="498" y="858"/>
                    </a:lnTo>
                    <a:lnTo>
                      <a:pt x="516" y="876"/>
                    </a:lnTo>
                    <a:lnTo>
                      <a:pt x="522" y="870"/>
                    </a:lnTo>
                    <a:lnTo>
                      <a:pt x="534" y="864"/>
                    </a:lnTo>
                    <a:lnTo>
                      <a:pt x="540" y="864"/>
                    </a:lnTo>
                    <a:lnTo>
                      <a:pt x="546" y="858"/>
                    </a:lnTo>
                    <a:lnTo>
                      <a:pt x="552" y="864"/>
                    </a:lnTo>
                    <a:lnTo>
                      <a:pt x="552" y="882"/>
                    </a:lnTo>
                    <a:lnTo>
                      <a:pt x="546" y="894"/>
                    </a:lnTo>
                    <a:lnTo>
                      <a:pt x="540" y="900"/>
                    </a:lnTo>
                    <a:lnTo>
                      <a:pt x="540" y="912"/>
                    </a:lnTo>
                    <a:lnTo>
                      <a:pt x="546" y="918"/>
                    </a:lnTo>
                    <a:lnTo>
                      <a:pt x="552" y="930"/>
                    </a:lnTo>
                    <a:lnTo>
                      <a:pt x="576" y="954"/>
                    </a:lnTo>
                    <a:lnTo>
                      <a:pt x="600" y="966"/>
                    </a:lnTo>
                    <a:lnTo>
                      <a:pt x="612" y="960"/>
                    </a:lnTo>
                    <a:lnTo>
                      <a:pt x="618" y="954"/>
                    </a:lnTo>
                    <a:lnTo>
                      <a:pt x="630" y="930"/>
                    </a:lnTo>
                    <a:lnTo>
                      <a:pt x="630" y="906"/>
                    </a:lnTo>
                    <a:lnTo>
                      <a:pt x="660" y="900"/>
                    </a:lnTo>
                    <a:lnTo>
                      <a:pt x="654" y="894"/>
                    </a:lnTo>
                    <a:lnTo>
                      <a:pt x="648" y="882"/>
                    </a:lnTo>
                    <a:lnTo>
                      <a:pt x="636" y="870"/>
                    </a:lnTo>
                    <a:lnTo>
                      <a:pt x="624" y="870"/>
                    </a:lnTo>
                    <a:lnTo>
                      <a:pt x="612" y="858"/>
                    </a:lnTo>
                    <a:lnTo>
                      <a:pt x="630" y="834"/>
                    </a:lnTo>
                    <a:lnTo>
                      <a:pt x="636" y="834"/>
                    </a:lnTo>
                    <a:lnTo>
                      <a:pt x="636" y="840"/>
                    </a:lnTo>
                    <a:lnTo>
                      <a:pt x="642" y="852"/>
                    </a:lnTo>
                    <a:lnTo>
                      <a:pt x="642" y="858"/>
                    </a:lnTo>
                    <a:lnTo>
                      <a:pt x="654" y="858"/>
                    </a:lnTo>
                    <a:lnTo>
                      <a:pt x="666" y="870"/>
                    </a:lnTo>
                    <a:lnTo>
                      <a:pt x="666" y="876"/>
                    </a:lnTo>
                    <a:lnTo>
                      <a:pt x="684" y="864"/>
                    </a:lnTo>
                    <a:lnTo>
                      <a:pt x="696" y="870"/>
                    </a:lnTo>
                    <a:lnTo>
                      <a:pt x="732" y="870"/>
                    </a:lnTo>
                    <a:lnTo>
                      <a:pt x="744" y="858"/>
                    </a:lnTo>
                    <a:lnTo>
                      <a:pt x="744" y="852"/>
                    </a:lnTo>
                    <a:lnTo>
                      <a:pt x="738" y="846"/>
                    </a:lnTo>
                    <a:lnTo>
                      <a:pt x="738" y="840"/>
                    </a:lnTo>
                    <a:lnTo>
                      <a:pt x="744" y="834"/>
                    </a:lnTo>
                    <a:lnTo>
                      <a:pt x="762" y="834"/>
                    </a:lnTo>
                    <a:lnTo>
                      <a:pt x="768" y="840"/>
                    </a:lnTo>
                    <a:lnTo>
                      <a:pt x="768" y="858"/>
                    </a:lnTo>
                    <a:lnTo>
                      <a:pt x="774" y="864"/>
                    </a:lnTo>
                    <a:lnTo>
                      <a:pt x="774" y="870"/>
                    </a:lnTo>
                    <a:lnTo>
                      <a:pt x="780" y="870"/>
                    </a:lnTo>
                    <a:lnTo>
                      <a:pt x="786" y="864"/>
                    </a:lnTo>
                    <a:lnTo>
                      <a:pt x="786" y="852"/>
                    </a:lnTo>
                    <a:lnTo>
                      <a:pt x="780" y="840"/>
                    </a:lnTo>
                    <a:lnTo>
                      <a:pt x="780" y="816"/>
                    </a:lnTo>
                    <a:lnTo>
                      <a:pt x="804" y="816"/>
                    </a:lnTo>
                    <a:lnTo>
                      <a:pt x="804" y="798"/>
                    </a:lnTo>
                    <a:lnTo>
                      <a:pt x="810" y="792"/>
                    </a:lnTo>
                    <a:lnTo>
                      <a:pt x="810" y="786"/>
                    </a:lnTo>
                    <a:lnTo>
                      <a:pt x="816" y="780"/>
                    </a:lnTo>
                    <a:lnTo>
                      <a:pt x="828" y="792"/>
                    </a:lnTo>
                    <a:lnTo>
                      <a:pt x="828" y="840"/>
                    </a:lnTo>
                    <a:lnTo>
                      <a:pt x="852" y="840"/>
                    </a:lnTo>
                    <a:lnTo>
                      <a:pt x="858" y="828"/>
                    </a:lnTo>
                    <a:lnTo>
                      <a:pt x="858" y="792"/>
                    </a:lnTo>
                    <a:lnTo>
                      <a:pt x="876" y="780"/>
                    </a:lnTo>
                    <a:close/>
                    <a:moveTo>
                      <a:pt x="498" y="912"/>
                    </a:moveTo>
                    <a:lnTo>
                      <a:pt x="486" y="906"/>
                    </a:lnTo>
                    <a:lnTo>
                      <a:pt x="480" y="900"/>
                    </a:lnTo>
                    <a:lnTo>
                      <a:pt x="468" y="894"/>
                    </a:lnTo>
                    <a:lnTo>
                      <a:pt x="444" y="894"/>
                    </a:lnTo>
                    <a:lnTo>
                      <a:pt x="438" y="900"/>
                    </a:lnTo>
                    <a:lnTo>
                      <a:pt x="438" y="924"/>
                    </a:lnTo>
                    <a:lnTo>
                      <a:pt x="432" y="924"/>
                    </a:lnTo>
                    <a:lnTo>
                      <a:pt x="426" y="918"/>
                    </a:lnTo>
                    <a:lnTo>
                      <a:pt x="396" y="918"/>
                    </a:lnTo>
                    <a:lnTo>
                      <a:pt x="390" y="924"/>
                    </a:lnTo>
                    <a:lnTo>
                      <a:pt x="390" y="942"/>
                    </a:lnTo>
                    <a:lnTo>
                      <a:pt x="396" y="948"/>
                    </a:lnTo>
                    <a:lnTo>
                      <a:pt x="396" y="954"/>
                    </a:lnTo>
                    <a:lnTo>
                      <a:pt x="378" y="972"/>
                    </a:lnTo>
                    <a:lnTo>
                      <a:pt x="390" y="978"/>
                    </a:lnTo>
                    <a:lnTo>
                      <a:pt x="396" y="990"/>
                    </a:lnTo>
                    <a:lnTo>
                      <a:pt x="408" y="1002"/>
                    </a:lnTo>
                    <a:lnTo>
                      <a:pt x="432" y="1014"/>
                    </a:lnTo>
                    <a:lnTo>
                      <a:pt x="438" y="1020"/>
                    </a:lnTo>
                    <a:lnTo>
                      <a:pt x="450" y="1026"/>
                    </a:lnTo>
                    <a:lnTo>
                      <a:pt x="450" y="984"/>
                    </a:lnTo>
                    <a:lnTo>
                      <a:pt x="456" y="972"/>
                    </a:lnTo>
                    <a:lnTo>
                      <a:pt x="462" y="966"/>
                    </a:lnTo>
                    <a:lnTo>
                      <a:pt x="474" y="960"/>
                    </a:lnTo>
                    <a:lnTo>
                      <a:pt x="486" y="960"/>
                    </a:lnTo>
                    <a:lnTo>
                      <a:pt x="492" y="966"/>
                    </a:lnTo>
                    <a:lnTo>
                      <a:pt x="504" y="972"/>
                    </a:lnTo>
                    <a:lnTo>
                      <a:pt x="510" y="984"/>
                    </a:lnTo>
                    <a:lnTo>
                      <a:pt x="516" y="990"/>
                    </a:lnTo>
                    <a:lnTo>
                      <a:pt x="516" y="978"/>
                    </a:lnTo>
                    <a:lnTo>
                      <a:pt x="522" y="966"/>
                    </a:lnTo>
                    <a:lnTo>
                      <a:pt x="522" y="954"/>
                    </a:lnTo>
                    <a:lnTo>
                      <a:pt x="528" y="942"/>
                    </a:lnTo>
                    <a:lnTo>
                      <a:pt x="528" y="930"/>
                    </a:lnTo>
                    <a:lnTo>
                      <a:pt x="522" y="918"/>
                    </a:lnTo>
                    <a:lnTo>
                      <a:pt x="516" y="912"/>
                    </a:lnTo>
                    <a:lnTo>
                      <a:pt x="516" y="906"/>
                    </a:lnTo>
                    <a:lnTo>
                      <a:pt x="498" y="912"/>
                    </a:lnTo>
                    <a:close/>
                    <a:moveTo>
                      <a:pt x="354" y="1050"/>
                    </a:moveTo>
                    <a:lnTo>
                      <a:pt x="354" y="1038"/>
                    </a:lnTo>
                    <a:lnTo>
                      <a:pt x="372" y="1020"/>
                    </a:lnTo>
                    <a:lnTo>
                      <a:pt x="372" y="1008"/>
                    </a:lnTo>
                    <a:lnTo>
                      <a:pt x="360" y="1002"/>
                    </a:lnTo>
                    <a:lnTo>
                      <a:pt x="354" y="990"/>
                    </a:lnTo>
                    <a:lnTo>
                      <a:pt x="348" y="984"/>
                    </a:lnTo>
                    <a:lnTo>
                      <a:pt x="336" y="978"/>
                    </a:lnTo>
                    <a:lnTo>
                      <a:pt x="336" y="966"/>
                    </a:lnTo>
                    <a:lnTo>
                      <a:pt x="330" y="960"/>
                    </a:lnTo>
                    <a:lnTo>
                      <a:pt x="324" y="960"/>
                    </a:lnTo>
                    <a:lnTo>
                      <a:pt x="318" y="954"/>
                    </a:lnTo>
                    <a:lnTo>
                      <a:pt x="300" y="954"/>
                    </a:lnTo>
                    <a:lnTo>
                      <a:pt x="294" y="948"/>
                    </a:lnTo>
                    <a:lnTo>
                      <a:pt x="270" y="936"/>
                    </a:lnTo>
                    <a:lnTo>
                      <a:pt x="258" y="936"/>
                    </a:lnTo>
                    <a:lnTo>
                      <a:pt x="240" y="954"/>
                    </a:lnTo>
                    <a:lnTo>
                      <a:pt x="204" y="972"/>
                    </a:lnTo>
                    <a:lnTo>
                      <a:pt x="234" y="1026"/>
                    </a:lnTo>
                    <a:lnTo>
                      <a:pt x="252" y="1014"/>
                    </a:lnTo>
                    <a:lnTo>
                      <a:pt x="252" y="1008"/>
                    </a:lnTo>
                    <a:lnTo>
                      <a:pt x="246" y="1002"/>
                    </a:lnTo>
                    <a:lnTo>
                      <a:pt x="246" y="990"/>
                    </a:lnTo>
                    <a:lnTo>
                      <a:pt x="252" y="990"/>
                    </a:lnTo>
                    <a:lnTo>
                      <a:pt x="264" y="1002"/>
                    </a:lnTo>
                    <a:lnTo>
                      <a:pt x="270" y="1014"/>
                    </a:lnTo>
                    <a:lnTo>
                      <a:pt x="276" y="1020"/>
                    </a:lnTo>
                    <a:lnTo>
                      <a:pt x="282" y="1032"/>
                    </a:lnTo>
                    <a:lnTo>
                      <a:pt x="282" y="1068"/>
                    </a:lnTo>
                    <a:lnTo>
                      <a:pt x="264" y="1074"/>
                    </a:lnTo>
                    <a:lnTo>
                      <a:pt x="264" y="1080"/>
                    </a:lnTo>
                    <a:lnTo>
                      <a:pt x="270" y="1086"/>
                    </a:lnTo>
                    <a:lnTo>
                      <a:pt x="270" y="1104"/>
                    </a:lnTo>
                    <a:lnTo>
                      <a:pt x="276" y="1116"/>
                    </a:lnTo>
                    <a:lnTo>
                      <a:pt x="282" y="1134"/>
                    </a:lnTo>
                    <a:lnTo>
                      <a:pt x="294" y="1146"/>
                    </a:lnTo>
                    <a:lnTo>
                      <a:pt x="300" y="1146"/>
                    </a:lnTo>
                    <a:lnTo>
                      <a:pt x="306" y="1140"/>
                    </a:lnTo>
                    <a:lnTo>
                      <a:pt x="306" y="1104"/>
                    </a:lnTo>
                    <a:lnTo>
                      <a:pt x="336" y="1116"/>
                    </a:lnTo>
                    <a:lnTo>
                      <a:pt x="336" y="1140"/>
                    </a:lnTo>
                    <a:lnTo>
                      <a:pt x="342" y="1146"/>
                    </a:lnTo>
                    <a:lnTo>
                      <a:pt x="342" y="1152"/>
                    </a:lnTo>
                    <a:lnTo>
                      <a:pt x="348" y="1152"/>
                    </a:lnTo>
                    <a:lnTo>
                      <a:pt x="348" y="1140"/>
                    </a:lnTo>
                    <a:lnTo>
                      <a:pt x="360" y="1128"/>
                    </a:lnTo>
                    <a:lnTo>
                      <a:pt x="366" y="1116"/>
                    </a:lnTo>
                    <a:lnTo>
                      <a:pt x="366" y="1110"/>
                    </a:lnTo>
                    <a:lnTo>
                      <a:pt x="360" y="1104"/>
                    </a:lnTo>
                    <a:lnTo>
                      <a:pt x="360" y="1074"/>
                    </a:lnTo>
                    <a:lnTo>
                      <a:pt x="354" y="1062"/>
                    </a:lnTo>
                    <a:lnTo>
                      <a:pt x="354" y="1050"/>
                    </a:lnTo>
                    <a:close/>
                    <a:moveTo>
                      <a:pt x="264" y="1026"/>
                    </a:moveTo>
                    <a:lnTo>
                      <a:pt x="246" y="1062"/>
                    </a:lnTo>
                    <a:lnTo>
                      <a:pt x="264" y="1056"/>
                    </a:lnTo>
                    <a:lnTo>
                      <a:pt x="264" y="1026"/>
                    </a:lnTo>
                    <a:close/>
                    <a:moveTo>
                      <a:pt x="624" y="618"/>
                    </a:moveTo>
                    <a:lnTo>
                      <a:pt x="636" y="618"/>
                    </a:lnTo>
                    <a:lnTo>
                      <a:pt x="636" y="594"/>
                    </a:lnTo>
                    <a:lnTo>
                      <a:pt x="630" y="594"/>
                    </a:lnTo>
                    <a:lnTo>
                      <a:pt x="612" y="570"/>
                    </a:lnTo>
                    <a:lnTo>
                      <a:pt x="606" y="582"/>
                    </a:lnTo>
                    <a:lnTo>
                      <a:pt x="618" y="600"/>
                    </a:lnTo>
                    <a:lnTo>
                      <a:pt x="624" y="618"/>
                    </a:lnTo>
                    <a:close/>
                    <a:moveTo>
                      <a:pt x="546" y="72"/>
                    </a:moveTo>
                    <a:lnTo>
                      <a:pt x="552" y="96"/>
                    </a:lnTo>
                    <a:lnTo>
                      <a:pt x="558" y="102"/>
                    </a:lnTo>
                    <a:lnTo>
                      <a:pt x="570" y="108"/>
                    </a:lnTo>
                    <a:lnTo>
                      <a:pt x="576" y="114"/>
                    </a:lnTo>
                    <a:lnTo>
                      <a:pt x="576" y="132"/>
                    </a:lnTo>
                    <a:lnTo>
                      <a:pt x="564" y="144"/>
                    </a:lnTo>
                    <a:lnTo>
                      <a:pt x="564" y="150"/>
                    </a:lnTo>
                    <a:lnTo>
                      <a:pt x="570" y="156"/>
                    </a:lnTo>
                    <a:lnTo>
                      <a:pt x="576" y="168"/>
                    </a:lnTo>
                    <a:lnTo>
                      <a:pt x="582" y="174"/>
                    </a:lnTo>
                    <a:lnTo>
                      <a:pt x="582" y="186"/>
                    </a:lnTo>
                    <a:lnTo>
                      <a:pt x="576" y="186"/>
                    </a:lnTo>
                    <a:lnTo>
                      <a:pt x="564" y="180"/>
                    </a:lnTo>
                    <a:lnTo>
                      <a:pt x="552" y="180"/>
                    </a:lnTo>
                    <a:lnTo>
                      <a:pt x="540" y="174"/>
                    </a:lnTo>
                    <a:lnTo>
                      <a:pt x="528" y="174"/>
                    </a:lnTo>
                    <a:lnTo>
                      <a:pt x="522" y="168"/>
                    </a:lnTo>
                    <a:lnTo>
                      <a:pt x="522" y="180"/>
                    </a:lnTo>
                    <a:lnTo>
                      <a:pt x="540" y="198"/>
                    </a:lnTo>
                    <a:lnTo>
                      <a:pt x="516" y="228"/>
                    </a:lnTo>
                    <a:lnTo>
                      <a:pt x="522" y="240"/>
                    </a:lnTo>
                    <a:lnTo>
                      <a:pt x="528" y="246"/>
                    </a:lnTo>
                    <a:lnTo>
                      <a:pt x="528" y="252"/>
                    </a:lnTo>
                    <a:lnTo>
                      <a:pt x="534" y="258"/>
                    </a:lnTo>
                    <a:lnTo>
                      <a:pt x="546" y="264"/>
                    </a:lnTo>
                    <a:lnTo>
                      <a:pt x="552" y="270"/>
                    </a:lnTo>
                    <a:lnTo>
                      <a:pt x="564" y="276"/>
                    </a:lnTo>
                    <a:lnTo>
                      <a:pt x="570" y="282"/>
                    </a:lnTo>
                    <a:lnTo>
                      <a:pt x="576" y="282"/>
                    </a:lnTo>
                    <a:lnTo>
                      <a:pt x="576" y="318"/>
                    </a:lnTo>
                    <a:lnTo>
                      <a:pt x="582" y="330"/>
                    </a:lnTo>
                    <a:lnTo>
                      <a:pt x="600" y="330"/>
                    </a:lnTo>
                    <a:lnTo>
                      <a:pt x="600" y="300"/>
                    </a:lnTo>
                    <a:lnTo>
                      <a:pt x="636" y="300"/>
                    </a:lnTo>
                    <a:lnTo>
                      <a:pt x="642" y="294"/>
                    </a:lnTo>
                    <a:lnTo>
                      <a:pt x="606" y="270"/>
                    </a:lnTo>
                    <a:lnTo>
                      <a:pt x="588" y="270"/>
                    </a:lnTo>
                    <a:lnTo>
                      <a:pt x="576" y="264"/>
                    </a:lnTo>
                    <a:lnTo>
                      <a:pt x="570" y="264"/>
                    </a:lnTo>
                    <a:lnTo>
                      <a:pt x="558" y="258"/>
                    </a:lnTo>
                    <a:lnTo>
                      <a:pt x="558" y="246"/>
                    </a:lnTo>
                    <a:lnTo>
                      <a:pt x="564" y="240"/>
                    </a:lnTo>
                    <a:lnTo>
                      <a:pt x="576" y="234"/>
                    </a:lnTo>
                    <a:lnTo>
                      <a:pt x="600" y="246"/>
                    </a:lnTo>
                    <a:lnTo>
                      <a:pt x="606" y="252"/>
                    </a:lnTo>
                    <a:lnTo>
                      <a:pt x="618" y="240"/>
                    </a:lnTo>
                    <a:lnTo>
                      <a:pt x="630" y="234"/>
                    </a:lnTo>
                    <a:lnTo>
                      <a:pt x="636" y="234"/>
                    </a:lnTo>
                    <a:lnTo>
                      <a:pt x="690" y="252"/>
                    </a:lnTo>
                    <a:lnTo>
                      <a:pt x="726" y="270"/>
                    </a:lnTo>
                    <a:lnTo>
                      <a:pt x="756" y="282"/>
                    </a:lnTo>
                    <a:lnTo>
                      <a:pt x="768" y="282"/>
                    </a:lnTo>
                    <a:lnTo>
                      <a:pt x="768" y="270"/>
                    </a:lnTo>
                    <a:lnTo>
                      <a:pt x="762" y="258"/>
                    </a:lnTo>
                    <a:lnTo>
                      <a:pt x="762" y="222"/>
                    </a:lnTo>
                    <a:lnTo>
                      <a:pt x="780" y="204"/>
                    </a:lnTo>
                    <a:lnTo>
                      <a:pt x="792" y="204"/>
                    </a:lnTo>
                    <a:lnTo>
                      <a:pt x="798" y="210"/>
                    </a:lnTo>
                    <a:lnTo>
                      <a:pt x="816" y="210"/>
                    </a:lnTo>
                    <a:lnTo>
                      <a:pt x="840" y="198"/>
                    </a:lnTo>
                    <a:lnTo>
                      <a:pt x="858" y="180"/>
                    </a:lnTo>
                    <a:lnTo>
                      <a:pt x="804" y="144"/>
                    </a:lnTo>
                    <a:lnTo>
                      <a:pt x="804" y="120"/>
                    </a:lnTo>
                    <a:lnTo>
                      <a:pt x="798" y="108"/>
                    </a:lnTo>
                    <a:lnTo>
                      <a:pt x="792" y="102"/>
                    </a:lnTo>
                    <a:lnTo>
                      <a:pt x="786" y="102"/>
                    </a:lnTo>
                    <a:lnTo>
                      <a:pt x="774" y="114"/>
                    </a:lnTo>
                    <a:lnTo>
                      <a:pt x="774" y="126"/>
                    </a:lnTo>
                    <a:lnTo>
                      <a:pt x="756" y="120"/>
                    </a:lnTo>
                    <a:lnTo>
                      <a:pt x="720" y="114"/>
                    </a:lnTo>
                    <a:lnTo>
                      <a:pt x="678" y="102"/>
                    </a:lnTo>
                    <a:lnTo>
                      <a:pt x="648" y="90"/>
                    </a:lnTo>
                    <a:lnTo>
                      <a:pt x="624" y="72"/>
                    </a:lnTo>
                    <a:lnTo>
                      <a:pt x="552" y="24"/>
                    </a:lnTo>
                    <a:lnTo>
                      <a:pt x="516" y="6"/>
                    </a:lnTo>
                    <a:lnTo>
                      <a:pt x="498" y="0"/>
                    </a:lnTo>
                    <a:lnTo>
                      <a:pt x="498" y="18"/>
                    </a:lnTo>
                    <a:lnTo>
                      <a:pt x="510" y="30"/>
                    </a:lnTo>
                    <a:lnTo>
                      <a:pt x="516" y="42"/>
                    </a:lnTo>
                    <a:lnTo>
                      <a:pt x="528" y="54"/>
                    </a:lnTo>
                    <a:lnTo>
                      <a:pt x="534" y="66"/>
                    </a:lnTo>
                    <a:lnTo>
                      <a:pt x="546" y="72"/>
                    </a:lnTo>
                    <a:close/>
                    <a:moveTo>
                      <a:pt x="282" y="1458"/>
                    </a:moveTo>
                    <a:lnTo>
                      <a:pt x="306" y="1458"/>
                    </a:lnTo>
                    <a:lnTo>
                      <a:pt x="276" y="1440"/>
                    </a:lnTo>
                    <a:lnTo>
                      <a:pt x="282" y="1458"/>
                    </a:lnTo>
                    <a:close/>
                    <a:moveTo>
                      <a:pt x="300" y="1386"/>
                    </a:moveTo>
                    <a:lnTo>
                      <a:pt x="312" y="1398"/>
                    </a:lnTo>
                    <a:lnTo>
                      <a:pt x="318" y="1398"/>
                    </a:lnTo>
                    <a:lnTo>
                      <a:pt x="330" y="1386"/>
                    </a:lnTo>
                    <a:lnTo>
                      <a:pt x="336" y="1386"/>
                    </a:lnTo>
                    <a:lnTo>
                      <a:pt x="342" y="1380"/>
                    </a:lnTo>
                    <a:lnTo>
                      <a:pt x="342" y="1368"/>
                    </a:lnTo>
                    <a:lnTo>
                      <a:pt x="336" y="1362"/>
                    </a:lnTo>
                    <a:lnTo>
                      <a:pt x="318" y="1362"/>
                    </a:lnTo>
                    <a:lnTo>
                      <a:pt x="306" y="1368"/>
                    </a:lnTo>
                    <a:lnTo>
                      <a:pt x="300" y="1380"/>
                    </a:lnTo>
                    <a:lnTo>
                      <a:pt x="300" y="1386"/>
                    </a:lnTo>
                    <a:close/>
                    <a:moveTo>
                      <a:pt x="312" y="1416"/>
                    </a:moveTo>
                    <a:lnTo>
                      <a:pt x="300" y="1416"/>
                    </a:lnTo>
                    <a:lnTo>
                      <a:pt x="300" y="1428"/>
                    </a:lnTo>
                    <a:lnTo>
                      <a:pt x="318" y="1428"/>
                    </a:lnTo>
                    <a:lnTo>
                      <a:pt x="318" y="1422"/>
                    </a:lnTo>
                    <a:lnTo>
                      <a:pt x="312" y="1416"/>
                    </a:lnTo>
                    <a:close/>
                    <a:moveTo>
                      <a:pt x="336" y="1200"/>
                    </a:moveTo>
                    <a:lnTo>
                      <a:pt x="336" y="1206"/>
                    </a:lnTo>
                    <a:lnTo>
                      <a:pt x="330" y="1206"/>
                    </a:lnTo>
                    <a:lnTo>
                      <a:pt x="318" y="1212"/>
                    </a:lnTo>
                    <a:lnTo>
                      <a:pt x="342" y="1230"/>
                    </a:lnTo>
                    <a:lnTo>
                      <a:pt x="342" y="1218"/>
                    </a:lnTo>
                    <a:lnTo>
                      <a:pt x="336" y="1206"/>
                    </a:lnTo>
                    <a:lnTo>
                      <a:pt x="336" y="1200"/>
                    </a:lnTo>
                    <a:close/>
                    <a:moveTo>
                      <a:pt x="366" y="1170"/>
                    </a:moveTo>
                    <a:lnTo>
                      <a:pt x="366" y="1182"/>
                    </a:lnTo>
                    <a:lnTo>
                      <a:pt x="360" y="1194"/>
                    </a:lnTo>
                    <a:lnTo>
                      <a:pt x="378" y="1224"/>
                    </a:lnTo>
                    <a:lnTo>
                      <a:pt x="378" y="1200"/>
                    </a:lnTo>
                    <a:lnTo>
                      <a:pt x="372" y="1194"/>
                    </a:lnTo>
                    <a:lnTo>
                      <a:pt x="372" y="1176"/>
                    </a:lnTo>
                    <a:lnTo>
                      <a:pt x="366" y="1170"/>
                    </a:lnTo>
                    <a:close/>
                    <a:moveTo>
                      <a:pt x="36" y="1698"/>
                    </a:moveTo>
                    <a:lnTo>
                      <a:pt x="54" y="1698"/>
                    </a:lnTo>
                    <a:lnTo>
                      <a:pt x="60" y="1692"/>
                    </a:lnTo>
                    <a:lnTo>
                      <a:pt x="72" y="1692"/>
                    </a:lnTo>
                    <a:lnTo>
                      <a:pt x="42" y="1680"/>
                    </a:lnTo>
                    <a:lnTo>
                      <a:pt x="36" y="1686"/>
                    </a:lnTo>
                    <a:lnTo>
                      <a:pt x="36" y="1698"/>
                    </a:lnTo>
                    <a:close/>
                    <a:moveTo>
                      <a:pt x="114" y="1662"/>
                    </a:moveTo>
                    <a:lnTo>
                      <a:pt x="96" y="1632"/>
                    </a:lnTo>
                    <a:lnTo>
                      <a:pt x="96" y="1662"/>
                    </a:lnTo>
                    <a:lnTo>
                      <a:pt x="102" y="1674"/>
                    </a:lnTo>
                    <a:lnTo>
                      <a:pt x="114" y="1680"/>
                    </a:lnTo>
                    <a:lnTo>
                      <a:pt x="120" y="1680"/>
                    </a:lnTo>
                    <a:lnTo>
                      <a:pt x="126" y="1674"/>
                    </a:lnTo>
                    <a:lnTo>
                      <a:pt x="126" y="1662"/>
                    </a:lnTo>
                    <a:lnTo>
                      <a:pt x="114" y="1662"/>
                    </a:lnTo>
                    <a:close/>
                    <a:moveTo>
                      <a:pt x="12" y="1686"/>
                    </a:moveTo>
                    <a:lnTo>
                      <a:pt x="6" y="1686"/>
                    </a:lnTo>
                    <a:lnTo>
                      <a:pt x="0" y="1692"/>
                    </a:lnTo>
                    <a:lnTo>
                      <a:pt x="0" y="1704"/>
                    </a:lnTo>
                    <a:lnTo>
                      <a:pt x="6" y="1710"/>
                    </a:lnTo>
                    <a:lnTo>
                      <a:pt x="12" y="1710"/>
                    </a:lnTo>
                    <a:lnTo>
                      <a:pt x="24" y="1698"/>
                    </a:lnTo>
                    <a:lnTo>
                      <a:pt x="24" y="1686"/>
                    </a:lnTo>
                    <a:lnTo>
                      <a:pt x="12" y="1686"/>
                    </a:lnTo>
                    <a:close/>
                    <a:moveTo>
                      <a:pt x="168" y="1536"/>
                    </a:moveTo>
                    <a:lnTo>
                      <a:pt x="168" y="1542"/>
                    </a:lnTo>
                    <a:lnTo>
                      <a:pt x="180" y="1548"/>
                    </a:lnTo>
                    <a:lnTo>
                      <a:pt x="186" y="1548"/>
                    </a:lnTo>
                    <a:lnTo>
                      <a:pt x="186" y="1536"/>
                    </a:lnTo>
                    <a:lnTo>
                      <a:pt x="180" y="1530"/>
                    </a:lnTo>
                    <a:lnTo>
                      <a:pt x="168" y="1530"/>
                    </a:lnTo>
                    <a:lnTo>
                      <a:pt x="168" y="1536"/>
                    </a:lnTo>
                    <a:close/>
                    <a:moveTo>
                      <a:pt x="264" y="1494"/>
                    </a:moveTo>
                    <a:lnTo>
                      <a:pt x="252" y="1518"/>
                    </a:lnTo>
                    <a:lnTo>
                      <a:pt x="246" y="1536"/>
                    </a:lnTo>
                    <a:lnTo>
                      <a:pt x="246" y="1548"/>
                    </a:lnTo>
                    <a:lnTo>
                      <a:pt x="240" y="1554"/>
                    </a:lnTo>
                    <a:lnTo>
                      <a:pt x="240" y="1560"/>
                    </a:lnTo>
                    <a:lnTo>
                      <a:pt x="258" y="1566"/>
                    </a:lnTo>
                    <a:lnTo>
                      <a:pt x="264" y="1554"/>
                    </a:lnTo>
                    <a:lnTo>
                      <a:pt x="264" y="1548"/>
                    </a:lnTo>
                    <a:lnTo>
                      <a:pt x="270" y="1542"/>
                    </a:lnTo>
                    <a:lnTo>
                      <a:pt x="270" y="1524"/>
                    </a:lnTo>
                    <a:lnTo>
                      <a:pt x="288" y="1506"/>
                    </a:lnTo>
                    <a:lnTo>
                      <a:pt x="282" y="1500"/>
                    </a:lnTo>
                    <a:lnTo>
                      <a:pt x="282" y="1494"/>
                    </a:lnTo>
                    <a:lnTo>
                      <a:pt x="276" y="1488"/>
                    </a:lnTo>
                    <a:lnTo>
                      <a:pt x="264" y="149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54" name="Ind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BB0E338-FB24-4817-A840-BFC2B22F12E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661781" y="3217420"/>
                <a:ext cx="864851" cy="1059303"/>
              </a:xfrm>
              <a:custGeom>
                <a:avLst/>
                <a:gdLst>
                  <a:gd name="T0" fmla="*/ 2147483647 w 1956"/>
                  <a:gd name="T1" fmla="*/ 2147483647 h 2358"/>
                  <a:gd name="T2" fmla="*/ 2147483647 w 1956"/>
                  <a:gd name="T3" fmla="*/ 2147483647 h 2358"/>
                  <a:gd name="T4" fmla="*/ 2147483647 w 1956"/>
                  <a:gd name="T5" fmla="*/ 2147483647 h 2358"/>
                  <a:gd name="T6" fmla="*/ 2147483647 w 1956"/>
                  <a:gd name="T7" fmla="*/ 2147483647 h 2358"/>
                  <a:gd name="T8" fmla="*/ 2147483647 w 1956"/>
                  <a:gd name="T9" fmla="*/ 2147483647 h 2358"/>
                  <a:gd name="T10" fmla="*/ 2147483647 w 1956"/>
                  <a:gd name="T11" fmla="*/ 2147483647 h 2358"/>
                  <a:gd name="T12" fmla="*/ 2147483647 w 1956"/>
                  <a:gd name="T13" fmla="*/ 2147483647 h 2358"/>
                  <a:gd name="T14" fmla="*/ 2147483647 w 1956"/>
                  <a:gd name="T15" fmla="*/ 2147483647 h 2358"/>
                  <a:gd name="T16" fmla="*/ 2147483647 w 1956"/>
                  <a:gd name="T17" fmla="*/ 2147483647 h 2358"/>
                  <a:gd name="T18" fmla="*/ 2147483647 w 1956"/>
                  <a:gd name="T19" fmla="*/ 2147483647 h 2358"/>
                  <a:gd name="T20" fmla="*/ 2147483647 w 1956"/>
                  <a:gd name="T21" fmla="*/ 2147483647 h 2358"/>
                  <a:gd name="T22" fmla="*/ 2147483647 w 1956"/>
                  <a:gd name="T23" fmla="*/ 2147483647 h 2358"/>
                  <a:gd name="T24" fmla="*/ 2147483647 w 1956"/>
                  <a:gd name="T25" fmla="*/ 2147483647 h 2358"/>
                  <a:gd name="T26" fmla="*/ 2147483647 w 1956"/>
                  <a:gd name="T27" fmla="*/ 2147483647 h 2358"/>
                  <a:gd name="T28" fmla="*/ 2147483647 w 1956"/>
                  <a:gd name="T29" fmla="*/ 2147483647 h 2358"/>
                  <a:gd name="T30" fmla="*/ 2147483647 w 1956"/>
                  <a:gd name="T31" fmla="*/ 2147483647 h 2358"/>
                  <a:gd name="T32" fmla="*/ 2147483647 w 1956"/>
                  <a:gd name="T33" fmla="*/ 2147483647 h 2358"/>
                  <a:gd name="T34" fmla="*/ 2147483647 w 1956"/>
                  <a:gd name="T35" fmla="*/ 2147483647 h 2358"/>
                  <a:gd name="T36" fmla="*/ 2147483647 w 1956"/>
                  <a:gd name="T37" fmla="*/ 2147483647 h 2358"/>
                  <a:gd name="T38" fmla="*/ 2147483647 w 1956"/>
                  <a:gd name="T39" fmla="*/ 2147483647 h 2358"/>
                  <a:gd name="T40" fmla="*/ 2147483647 w 1956"/>
                  <a:gd name="T41" fmla="*/ 2147483647 h 2358"/>
                  <a:gd name="T42" fmla="*/ 2147483647 w 1956"/>
                  <a:gd name="T43" fmla="*/ 2147483647 h 2358"/>
                  <a:gd name="T44" fmla="*/ 2147483647 w 1956"/>
                  <a:gd name="T45" fmla="*/ 2147483647 h 2358"/>
                  <a:gd name="T46" fmla="*/ 2147483647 w 1956"/>
                  <a:gd name="T47" fmla="*/ 2147483647 h 2358"/>
                  <a:gd name="T48" fmla="*/ 2147483647 w 1956"/>
                  <a:gd name="T49" fmla="*/ 2147483647 h 2358"/>
                  <a:gd name="T50" fmla="*/ 2147483647 w 1956"/>
                  <a:gd name="T51" fmla="*/ 2147483647 h 2358"/>
                  <a:gd name="T52" fmla="*/ 2147483647 w 1956"/>
                  <a:gd name="T53" fmla="*/ 2147483647 h 2358"/>
                  <a:gd name="T54" fmla="*/ 2147483647 w 1956"/>
                  <a:gd name="T55" fmla="*/ 2147483647 h 2358"/>
                  <a:gd name="T56" fmla="*/ 2147483647 w 1956"/>
                  <a:gd name="T57" fmla="*/ 2147483647 h 2358"/>
                  <a:gd name="T58" fmla="*/ 2147483647 w 1956"/>
                  <a:gd name="T59" fmla="*/ 2147483647 h 2358"/>
                  <a:gd name="T60" fmla="*/ 2147483647 w 1956"/>
                  <a:gd name="T61" fmla="*/ 2147483647 h 2358"/>
                  <a:gd name="T62" fmla="*/ 2147483647 w 1956"/>
                  <a:gd name="T63" fmla="*/ 2147483647 h 2358"/>
                  <a:gd name="T64" fmla="*/ 2147483647 w 1956"/>
                  <a:gd name="T65" fmla="*/ 2147483647 h 2358"/>
                  <a:gd name="T66" fmla="*/ 2147483647 w 1956"/>
                  <a:gd name="T67" fmla="*/ 2147483647 h 2358"/>
                  <a:gd name="T68" fmla="*/ 2147483647 w 1956"/>
                  <a:gd name="T69" fmla="*/ 2147483647 h 2358"/>
                  <a:gd name="T70" fmla="*/ 2147483647 w 1956"/>
                  <a:gd name="T71" fmla="*/ 2147483647 h 2358"/>
                  <a:gd name="T72" fmla="*/ 2147483647 w 1956"/>
                  <a:gd name="T73" fmla="*/ 2147483647 h 2358"/>
                  <a:gd name="T74" fmla="*/ 2147483647 w 1956"/>
                  <a:gd name="T75" fmla="*/ 2147483647 h 2358"/>
                  <a:gd name="T76" fmla="*/ 2147483647 w 1956"/>
                  <a:gd name="T77" fmla="*/ 2147483647 h 2358"/>
                  <a:gd name="T78" fmla="*/ 2147483647 w 1956"/>
                  <a:gd name="T79" fmla="*/ 2147483647 h 2358"/>
                  <a:gd name="T80" fmla="*/ 2147483647 w 1956"/>
                  <a:gd name="T81" fmla="*/ 2147483647 h 2358"/>
                  <a:gd name="T82" fmla="*/ 2147483647 w 1956"/>
                  <a:gd name="T83" fmla="*/ 2147483647 h 2358"/>
                  <a:gd name="T84" fmla="*/ 2147483647 w 1956"/>
                  <a:gd name="T85" fmla="*/ 2147483647 h 2358"/>
                  <a:gd name="T86" fmla="*/ 2147483647 w 1956"/>
                  <a:gd name="T87" fmla="*/ 2147483647 h 2358"/>
                  <a:gd name="T88" fmla="*/ 2147483647 w 1956"/>
                  <a:gd name="T89" fmla="*/ 2147483647 h 2358"/>
                  <a:gd name="T90" fmla="*/ 2147483647 w 1956"/>
                  <a:gd name="T91" fmla="*/ 2147483647 h 2358"/>
                  <a:gd name="T92" fmla="*/ 2147483647 w 1956"/>
                  <a:gd name="T93" fmla="*/ 2147483647 h 2358"/>
                  <a:gd name="T94" fmla="*/ 2147483647 w 1956"/>
                  <a:gd name="T95" fmla="*/ 2147483647 h 2358"/>
                  <a:gd name="T96" fmla="*/ 2147483647 w 1956"/>
                  <a:gd name="T97" fmla="*/ 2147483647 h 2358"/>
                  <a:gd name="T98" fmla="*/ 2147483647 w 1956"/>
                  <a:gd name="T99" fmla="*/ 2147483647 h 2358"/>
                  <a:gd name="T100" fmla="*/ 2147483647 w 1956"/>
                  <a:gd name="T101" fmla="*/ 2147483647 h 2358"/>
                  <a:gd name="T102" fmla="*/ 2147483647 w 1956"/>
                  <a:gd name="T103" fmla="*/ 2147483647 h 2358"/>
                  <a:gd name="T104" fmla="*/ 2147483647 w 1956"/>
                  <a:gd name="T105" fmla="*/ 2147483647 h 2358"/>
                  <a:gd name="T106" fmla="*/ 2147483647 w 1956"/>
                  <a:gd name="T107" fmla="*/ 2147483647 h 2358"/>
                  <a:gd name="T108" fmla="*/ 2147483647 w 1956"/>
                  <a:gd name="T109" fmla="*/ 2147483647 h 2358"/>
                  <a:gd name="T110" fmla="*/ 2147483647 w 1956"/>
                  <a:gd name="T111" fmla="*/ 2147483647 h 2358"/>
                  <a:gd name="T112" fmla="*/ 2147483647 w 1956"/>
                  <a:gd name="T113" fmla="*/ 2147483647 h 2358"/>
                  <a:gd name="T114" fmla="*/ 2147483647 w 1956"/>
                  <a:gd name="T115" fmla="*/ 2147483647 h 2358"/>
                  <a:gd name="T116" fmla="*/ 2147483647 w 1956"/>
                  <a:gd name="T117" fmla="*/ 2147483647 h 2358"/>
                  <a:gd name="T118" fmla="*/ 2147483647 w 1956"/>
                  <a:gd name="T119" fmla="*/ 2147483647 h 235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956"/>
                  <a:gd name="T181" fmla="*/ 0 h 2358"/>
                  <a:gd name="T182" fmla="*/ 1956 w 1956"/>
                  <a:gd name="T183" fmla="*/ 2358 h 235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956" h="2358">
                    <a:moveTo>
                      <a:pt x="1806" y="1788"/>
                    </a:moveTo>
                    <a:lnTo>
                      <a:pt x="1794" y="1800"/>
                    </a:lnTo>
                    <a:lnTo>
                      <a:pt x="1782" y="1824"/>
                    </a:lnTo>
                    <a:lnTo>
                      <a:pt x="1782" y="1884"/>
                    </a:lnTo>
                    <a:lnTo>
                      <a:pt x="1788" y="1980"/>
                    </a:lnTo>
                    <a:lnTo>
                      <a:pt x="1800" y="1950"/>
                    </a:lnTo>
                    <a:lnTo>
                      <a:pt x="1800" y="1848"/>
                    </a:lnTo>
                    <a:lnTo>
                      <a:pt x="1806" y="1836"/>
                    </a:lnTo>
                    <a:lnTo>
                      <a:pt x="1806" y="1830"/>
                    </a:lnTo>
                    <a:lnTo>
                      <a:pt x="1812" y="1818"/>
                    </a:lnTo>
                    <a:lnTo>
                      <a:pt x="1812" y="1806"/>
                    </a:lnTo>
                    <a:lnTo>
                      <a:pt x="1818" y="1800"/>
                    </a:lnTo>
                    <a:lnTo>
                      <a:pt x="1812" y="1788"/>
                    </a:lnTo>
                    <a:lnTo>
                      <a:pt x="1806" y="1788"/>
                    </a:lnTo>
                    <a:close/>
                    <a:moveTo>
                      <a:pt x="1794" y="2028"/>
                    </a:moveTo>
                    <a:lnTo>
                      <a:pt x="1788" y="2028"/>
                    </a:lnTo>
                    <a:lnTo>
                      <a:pt x="1782" y="2040"/>
                    </a:lnTo>
                    <a:lnTo>
                      <a:pt x="1782" y="2046"/>
                    </a:lnTo>
                    <a:lnTo>
                      <a:pt x="1788" y="2058"/>
                    </a:lnTo>
                    <a:lnTo>
                      <a:pt x="1788" y="2064"/>
                    </a:lnTo>
                    <a:lnTo>
                      <a:pt x="1794" y="2076"/>
                    </a:lnTo>
                    <a:lnTo>
                      <a:pt x="1800" y="2064"/>
                    </a:lnTo>
                    <a:lnTo>
                      <a:pt x="1800" y="2028"/>
                    </a:lnTo>
                    <a:lnTo>
                      <a:pt x="1794" y="2028"/>
                    </a:lnTo>
                    <a:close/>
                    <a:moveTo>
                      <a:pt x="1890" y="2310"/>
                    </a:moveTo>
                    <a:lnTo>
                      <a:pt x="1884" y="2316"/>
                    </a:lnTo>
                    <a:lnTo>
                      <a:pt x="1884" y="2334"/>
                    </a:lnTo>
                    <a:lnTo>
                      <a:pt x="1890" y="2346"/>
                    </a:lnTo>
                    <a:lnTo>
                      <a:pt x="1896" y="2352"/>
                    </a:lnTo>
                    <a:lnTo>
                      <a:pt x="1908" y="2358"/>
                    </a:lnTo>
                    <a:lnTo>
                      <a:pt x="1908" y="2346"/>
                    </a:lnTo>
                    <a:lnTo>
                      <a:pt x="1902" y="2334"/>
                    </a:lnTo>
                    <a:lnTo>
                      <a:pt x="1902" y="2322"/>
                    </a:lnTo>
                    <a:lnTo>
                      <a:pt x="1896" y="2310"/>
                    </a:lnTo>
                    <a:lnTo>
                      <a:pt x="1890" y="2310"/>
                    </a:lnTo>
                    <a:close/>
                    <a:moveTo>
                      <a:pt x="1920" y="672"/>
                    </a:moveTo>
                    <a:lnTo>
                      <a:pt x="1932" y="660"/>
                    </a:lnTo>
                    <a:lnTo>
                      <a:pt x="1944" y="654"/>
                    </a:lnTo>
                    <a:lnTo>
                      <a:pt x="1950" y="648"/>
                    </a:lnTo>
                    <a:lnTo>
                      <a:pt x="1956" y="648"/>
                    </a:lnTo>
                    <a:lnTo>
                      <a:pt x="1956" y="618"/>
                    </a:lnTo>
                    <a:lnTo>
                      <a:pt x="1950" y="618"/>
                    </a:lnTo>
                    <a:lnTo>
                      <a:pt x="1944" y="612"/>
                    </a:lnTo>
                    <a:lnTo>
                      <a:pt x="1878" y="612"/>
                    </a:lnTo>
                    <a:lnTo>
                      <a:pt x="1878" y="606"/>
                    </a:lnTo>
                    <a:lnTo>
                      <a:pt x="1890" y="594"/>
                    </a:lnTo>
                    <a:lnTo>
                      <a:pt x="1896" y="594"/>
                    </a:lnTo>
                    <a:lnTo>
                      <a:pt x="1878" y="564"/>
                    </a:lnTo>
                    <a:lnTo>
                      <a:pt x="1848" y="564"/>
                    </a:lnTo>
                    <a:lnTo>
                      <a:pt x="1842" y="558"/>
                    </a:lnTo>
                    <a:lnTo>
                      <a:pt x="1848" y="558"/>
                    </a:lnTo>
                    <a:lnTo>
                      <a:pt x="1860" y="546"/>
                    </a:lnTo>
                    <a:lnTo>
                      <a:pt x="1854" y="540"/>
                    </a:lnTo>
                    <a:lnTo>
                      <a:pt x="1818" y="522"/>
                    </a:lnTo>
                    <a:lnTo>
                      <a:pt x="1806" y="534"/>
                    </a:lnTo>
                    <a:lnTo>
                      <a:pt x="1806" y="558"/>
                    </a:lnTo>
                    <a:lnTo>
                      <a:pt x="1788" y="558"/>
                    </a:lnTo>
                    <a:lnTo>
                      <a:pt x="1770" y="546"/>
                    </a:lnTo>
                    <a:lnTo>
                      <a:pt x="1758" y="540"/>
                    </a:lnTo>
                    <a:lnTo>
                      <a:pt x="1740" y="540"/>
                    </a:lnTo>
                    <a:lnTo>
                      <a:pt x="1728" y="552"/>
                    </a:lnTo>
                    <a:lnTo>
                      <a:pt x="1716" y="558"/>
                    </a:lnTo>
                    <a:lnTo>
                      <a:pt x="1692" y="582"/>
                    </a:lnTo>
                    <a:lnTo>
                      <a:pt x="1656" y="582"/>
                    </a:lnTo>
                    <a:lnTo>
                      <a:pt x="1656" y="588"/>
                    </a:lnTo>
                    <a:lnTo>
                      <a:pt x="1662" y="594"/>
                    </a:lnTo>
                    <a:lnTo>
                      <a:pt x="1662" y="618"/>
                    </a:lnTo>
                    <a:lnTo>
                      <a:pt x="1656" y="624"/>
                    </a:lnTo>
                    <a:lnTo>
                      <a:pt x="1626" y="624"/>
                    </a:lnTo>
                    <a:lnTo>
                      <a:pt x="1632" y="636"/>
                    </a:lnTo>
                    <a:lnTo>
                      <a:pt x="1632" y="654"/>
                    </a:lnTo>
                    <a:lnTo>
                      <a:pt x="1620" y="666"/>
                    </a:lnTo>
                    <a:lnTo>
                      <a:pt x="1566" y="666"/>
                    </a:lnTo>
                    <a:lnTo>
                      <a:pt x="1566" y="684"/>
                    </a:lnTo>
                    <a:lnTo>
                      <a:pt x="1572" y="690"/>
                    </a:lnTo>
                    <a:lnTo>
                      <a:pt x="1596" y="690"/>
                    </a:lnTo>
                    <a:lnTo>
                      <a:pt x="1596" y="714"/>
                    </a:lnTo>
                    <a:lnTo>
                      <a:pt x="1608" y="726"/>
                    </a:lnTo>
                    <a:lnTo>
                      <a:pt x="1608" y="732"/>
                    </a:lnTo>
                    <a:lnTo>
                      <a:pt x="1584" y="744"/>
                    </a:lnTo>
                    <a:lnTo>
                      <a:pt x="1572" y="744"/>
                    </a:lnTo>
                    <a:lnTo>
                      <a:pt x="1566" y="738"/>
                    </a:lnTo>
                    <a:lnTo>
                      <a:pt x="1554" y="738"/>
                    </a:lnTo>
                    <a:lnTo>
                      <a:pt x="1542" y="744"/>
                    </a:lnTo>
                    <a:lnTo>
                      <a:pt x="1512" y="744"/>
                    </a:lnTo>
                    <a:lnTo>
                      <a:pt x="1500" y="738"/>
                    </a:lnTo>
                    <a:lnTo>
                      <a:pt x="1482" y="738"/>
                    </a:lnTo>
                    <a:lnTo>
                      <a:pt x="1476" y="744"/>
                    </a:lnTo>
                    <a:lnTo>
                      <a:pt x="1464" y="750"/>
                    </a:lnTo>
                    <a:lnTo>
                      <a:pt x="1440" y="750"/>
                    </a:lnTo>
                    <a:lnTo>
                      <a:pt x="1428" y="738"/>
                    </a:lnTo>
                    <a:lnTo>
                      <a:pt x="1428" y="732"/>
                    </a:lnTo>
                    <a:lnTo>
                      <a:pt x="1428" y="738"/>
                    </a:lnTo>
                    <a:lnTo>
                      <a:pt x="1416" y="738"/>
                    </a:lnTo>
                    <a:lnTo>
                      <a:pt x="1392" y="726"/>
                    </a:lnTo>
                    <a:lnTo>
                      <a:pt x="1374" y="708"/>
                    </a:lnTo>
                    <a:lnTo>
                      <a:pt x="1374" y="696"/>
                    </a:lnTo>
                    <a:lnTo>
                      <a:pt x="1380" y="696"/>
                    </a:lnTo>
                    <a:lnTo>
                      <a:pt x="1374" y="696"/>
                    </a:lnTo>
                    <a:lnTo>
                      <a:pt x="1368" y="690"/>
                    </a:lnTo>
                    <a:lnTo>
                      <a:pt x="1368" y="642"/>
                    </a:lnTo>
                    <a:lnTo>
                      <a:pt x="1362" y="636"/>
                    </a:lnTo>
                    <a:lnTo>
                      <a:pt x="1350" y="630"/>
                    </a:lnTo>
                    <a:lnTo>
                      <a:pt x="1338" y="630"/>
                    </a:lnTo>
                    <a:lnTo>
                      <a:pt x="1326" y="642"/>
                    </a:lnTo>
                    <a:lnTo>
                      <a:pt x="1314" y="648"/>
                    </a:lnTo>
                    <a:lnTo>
                      <a:pt x="1326" y="666"/>
                    </a:lnTo>
                    <a:lnTo>
                      <a:pt x="1326" y="714"/>
                    </a:lnTo>
                    <a:lnTo>
                      <a:pt x="1338" y="738"/>
                    </a:lnTo>
                    <a:lnTo>
                      <a:pt x="1338" y="774"/>
                    </a:lnTo>
                    <a:lnTo>
                      <a:pt x="1272" y="774"/>
                    </a:lnTo>
                    <a:lnTo>
                      <a:pt x="1272" y="762"/>
                    </a:lnTo>
                    <a:lnTo>
                      <a:pt x="1266" y="756"/>
                    </a:lnTo>
                    <a:lnTo>
                      <a:pt x="1260" y="756"/>
                    </a:lnTo>
                    <a:lnTo>
                      <a:pt x="1248" y="762"/>
                    </a:lnTo>
                    <a:lnTo>
                      <a:pt x="1242" y="774"/>
                    </a:lnTo>
                    <a:lnTo>
                      <a:pt x="1236" y="762"/>
                    </a:lnTo>
                    <a:lnTo>
                      <a:pt x="1224" y="756"/>
                    </a:lnTo>
                    <a:lnTo>
                      <a:pt x="1206" y="750"/>
                    </a:lnTo>
                    <a:lnTo>
                      <a:pt x="1188" y="750"/>
                    </a:lnTo>
                    <a:lnTo>
                      <a:pt x="1182" y="756"/>
                    </a:lnTo>
                    <a:lnTo>
                      <a:pt x="1152" y="738"/>
                    </a:lnTo>
                    <a:lnTo>
                      <a:pt x="1134" y="750"/>
                    </a:lnTo>
                    <a:lnTo>
                      <a:pt x="1080" y="696"/>
                    </a:lnTo>
                    <a:lnTo>
                      <a:pt x="1056" y="696"/>
                    </a:lnTo>
                    <a:lnTo>
                      <a:pt x="1056" y="690"/>
                    </a:lnTo>
                    <a:lnTo>
                      <a:pt x="1044" y="678"/>
                    </a:lnTo>
                    <a:lnTo>
                      <a:pt x="1038" y="678"/>
                    </a:lnTo>
                    <a:lnTo>
                      <a:pt x="1032" y="684"/>
                    </a:lnTo>
                    <a:lnTo>
                      <a:pt x="1032" y="702"/>
                    </a:lnTo>
                    <a:lnTo>
                      <a:pt x="1032" y="696"/>
                    </a:lnTo>
                    <a:lnTo>
                      <a:pt x="1026" y="690"/>
                    </a:lnTo>
                    <a:lnTo>
                      <a:pt x="1008" y="690"/>
                    </a:lnTo>
                    <a:lnTo>
                      <a:pt x="996" y="702"/>
                    </a:lnTo>
                    <a:lnTo>
                      <a:pt x="990" y="690"/>
                    </a:lnTo>
                    <a:lnTo>
                      <a:pt x="984" y="684"/>
                    </a:lnTo>
                    <a:lnTo>
                      <a:pt x="960" y="684"/>
                    </a:lnTo>
                    <a:lnTo>
                      <a:pt x="954" y="678"/>
                    </a:lnTo>
                    <a:lnTo>
                      <a:pt x="954" y="666"/>
                    </a:lnTo>
                    <a:lnTo>
                      <a:pt x="942" y="666"/>
                    </a:lnTo>
                    <a:lnTo>
                      <a:pt x="936" y="672"/>
                    </a:lnTo>
                    <a:lnTo>
                      <a:pt x="918" y="672"/>
                    </a:lnTo>
                    <a:lnTo>
                      <a:pt x="912" y="666"/>
                    </a:lnTo>
                    <a:lnTo>
                      <a:pt x="906" y="654"/>
                    </a:lnTo>
                    <a:lnTo>
                      <a:pt x="900" y="648"/>
                    </a:lnTo>
                    <a:lnTo>
                      <a:pt x="888" y="648"/>
                    </a:lnTo>
                    <a:lnTo>
                      <a:pt x="846" y="630"/>
                    </a:lnTo>
                    <a:lnTo>
                      <a:pt x="834" y="612"/>
                    </a:lnTo>
                    <a:lnTo>
                      <a:pt x="810" y="612"/>
                    </a:lnTo>
                    <a:lnTo>
                      <a:pt x="792" y="588"/>
                    </a:lnTo>
                    <a:lnTo>
                      <a:pt x="780" y="594"/>
                    </a:lnTo>
                    <a:lnTo>
                      <a:pt x="750" y="564"/>
                    </a:lnTo>
                    <a:lnTo>
                      <a:pt x="750" y="552"/>
                    </a:lnTo>
                    <a:lnTo>
                      <a:pt x="762" y="540"/>
                    </a:lnTo>
                    <a:lnTo>
                      <a:pt x="768" y="540"/>
                    </a:lnTo>
                    <a:lnTo>
                      <a:pt x="756" y="528"/>
                    </a:lnTo>
                    <a:lnTo>
                      <a:pt x="756" y="522"/>
                    </a:lnTo>
                    <a:lnTo>
                      <a:pt x="762" y="516"/>
                    </a:lnTo>
                    <a:lnTo>
                      <a:pt x="756" y="504"/>
                    </a:lnTo>
                    <a:lnTo>
                      <a:pt x="780" y="480"/>
                    </a:lnTo>
                    <a:lnTo>
                      <a:pt x="786" y="456"/>
                    </a:lnTo>
                    <a:lnTo>
                      <a:pt x="762" y="438"/>
                    </a:lnTo>
                    <a:lnTo>
                      <a:pt x="750" y="438"/>
                    </a:lnTo>
                    <a:lnTo>
                      <a:pt x="738" y="432"/>
                    </a:lnTo>
                    <a:lnTo>
                      <a:pt x="738" y="414"/>
                    </a:lnTo>
                    <a:lnTo>
                      <a:pt x="720" y="420"/>
                    </a:lnTo>
                    <a:lnTo>
                      <a:pt x="702" y="402"/>
                    </a:lnTo>
                    <a:lnTo>
                      <a:pt x="696" y="402"/>
                    </a:lnTo>
                    <a:lnTo>
                      <a:pt x="690" y="396"/>
                    </a:lnTo>
                    <a:lnTo>
                      <a:pt x="678" y="396"/>
                    </a:lnTo>
                    <a:lnTo>
                      <a:pt x="666" y="390"/>
                    </a:lnTo>
                    <a:lnTo>
                      <a:pt x="654" y="378"/>
                    </a:lnTo>
                    <a:lnTo>
                      <a:pt x="648" y="366"/>
                    </a:lnTo>
                    <a:lnTo>
                      <a:pt x="618" y="366"/>
                    </a:lnTo>
                    <a:lnTo>
                      <a:pt x="612" y="360"/>
                    </a:lnTo>
                    <a:lnTo>
                      <a:pt x="612" y="342"/>
                    </a:lnTo>
                    <a:lnTo>
                      <a:pt x="618" y="336"/>
                    </a:lnTo>
                    <a:lnTo>
                      <a:pt x="618" y="324"/>
                    </a:lnTo>
                    <a:lnTo>
                      <a:pt x="612" y="324"/>
                    </a:lnTo>
                    <a:lnTo>
                      <a:pt x="600" y="312"/>
                    </a:lnTo>
                    <a:lnTo>
                      <a:pt x="594" y="300"/>
                    </a:lnTo>
                    <a:lnTo>
                      <a:pt x="588" y="294"/>
                    </a:lnTo>
                    <a:lnTo>
                      <a:pt x="588" y="276"/>
                    </a:lnTo>
                    <a:lnTo>
                      <a:pt x="594" y="276"/>
                    </a:lnTo>
                    <a:lnTo>
                      <a:pt x="600" y="270"/>
                    </a:lnTo>
                    <a:lnTo>
                      <a:pt x="612" y="270"/>
                    </a:lnTo>
                    <a:lnTo>
                      <a:pt x="612" y="288"/>
                    </a:lnTo>
                    <a:lnTo>
                      <a:pt x="624" y="300"/>
                    </a:lnTo>
                    <a:lnTo>
                      <a:pt x="636" y="282"/>
                    </a:lnTo>
                    <a:lnTo>
                      <a:pt x="642" y="282"/>
                    </a:lnTo>
                    <a:lnTo>
                      <a:pt x="648" y="276"/>
                    </a:lnTo>
                    <a:lnTo>
                      <a:pt x="660" y="270"/>
                    </a:lnTo>
                    <a:lnTo>
                      <a:pt x="660" y="258"/>
                    </a:lnTo>
                    <a:lnTo>
                      <a:pt x="642" y="240"/>
                    </a:lnTo>
                    <a:lnTo>
                      <a:pt x="636" y="228"/>
                    </a:lnTo>
                    <a:lnTo>
                      <a:pt x="630" y="222"/>
                    </a:lnTo>
                    <a:lnTo>
                      <a:pt x="618" y="222"/>
                    </a:lnTo>
                    <a:lnTo>
                      <a:pt x="594" y="210"/>
                    </a:lnTo>
                    <a:lnTo>
                      <a:pt x="594" y="186"/>
                    </a:lnTo>
                    <a:lnTo>
                      <a:pt x="612" y="180"/>
                    </a:lnTo>
                    <a:lnTo>
                      <a:pt x="594" y="156"/>
                    </a:lnTo>
                    <a:lnTo>
                      <a:pt x="624" y="156"/>
                    </a:lnTo>
                    <a:lnTo>
                      <a:pt x="636" y="150"/>
                    </a:lnTo>
                    <a:lnTo>
                      <a:pt x="642" y="138"/>
                    </a:lnTo>
                    <a:lnTo>
                      <a:pt x="642" y="114"/>
                    </a:lnTo>
                    <a:lnTo>
                      <a:pt x="636" y="108"/>
                    </a:lnTo>
                    <a:lnTo>
                      <a:pt x="636" y="102"/>
                    </a:lnTo>
                    <a:lnTo>
                      <a:pt x="654" y="102"/>
                    </a:lnTo>
                    <a:lnTo>
                      <a:pt x="660" y="96"/>
                    </a:lnTo>
                    <a:lnTo>
                      <a:pt x="660" y="36"/>
                    </a:lnTo>
                    <a:lnTo>
                      <a:pt x="618" y="36"/>
                    </a:lnTo>
                    <a:lnTo>
                      <a:pt x="594" y="12"/>
                    </a:lnTo>
                    <a:lnTo>
                      <a:pt x="576" y="0"/>
                    </a:lnTo>
                    <a:lnTo>
                      <a:pt x="564" y="0"/>
                    </a:lnTo>
                    <a:lnTo>
                      <a:pt x="540" y="12"/>
                    </a:lnTo>
                    <a:lnTo>
                      <a:pt x="522" y="18"/>
                    </a:lnTo>
                    <a:lnTo>
                      <a:pt x="516" y="30"/>
                    </a:lnTo>
                    <a:lnTo>
                      <a:pt x="504" y="36"/>
                    </a:lnTo>
                    <a:lnTo>
                      <a:pt x="480" y="36"/>
                    </a:lnTo>
                    <a:lnTo>
                      <a:pt x="456" y="72"/>
                    </a:lnTo>
                    <a:lnTo>
                      <a:pt x="432" y="78"/>
                    </a:lnTo>
                    <a:lnTo>
                      <a:pt x="432" y="96"/>
                    </a:lnTo>
                    <a:lnTo>
                      <a:pt x="408" y="96"/>
                    </a:lnTo>
                    <a:lnTo>
                      <a:pt x="402" y="102"/>
                    </a:lnTo>
                    <a:lnTo>
                      <a:pt x="396" y="96"/>
                    </a:lnTo>
                    <a:lnTo>
                      <a:pt x="390" y="102"/>
                    </a:lnTo>
                    <a:lnTo>
                      <a:pt x="378" y="108"/>
                    </a:lnTo>
                    <a:lnTo>
                      <a:pt x="372" y="114"/>
                    </a:lnTo>
                    <a:lnTo>
                      <a:pt x="360" y="120"/>
                    </a:lnTo>
                    <a:lnTo>
                      <a:pt x="348" y="120"/>
                    </a:lnTo>
                    <a:lnTo>
                      <a:pt x="348" y="108"/>
                    </a:lnTo>
                    <a:lnTo>
                      <a:pt x="342" y="102"/>
                    </a:lnTo>
                    <a:lnTo>
                      <a:pt x="324" y="102"/>
                    </a:lnTo>
                    <a:lnTo>
                      <a:pt x="306" y="96"/>
                    </a:lnTo>
                    <a:lnTo>
                      <a:pt x="264" y="96"/>
                    </a:lnTo>
                    <a:lnTo>
                      <a:pt x="240" y="108"/>
                    </a:lnTo>
                    <a:lnTo>
                      <a:pt x="234" y="120"/>
                    </a:lnTo>
                    <a:lnTo>
                      <a:pt x="234" y="126"/>
                    </a:lnTo>
                    <a:lnTo>
                      <a:pt x="258" y="144"/>
                    </a:lnTo>
                    <a:lnTo>
                      <a:pt x="252" y="156"/>
                    </a:lnTo>
                    <a:lnTo>
                      <a:pt x="282" y="162"/>
                    </a:lnTo>
                    <a:lnTo>
                      <a:pt x="276" y="168"/>
                    </a:lnTo>
                    <a:lnTo>
                      <a:pt x="270" y="180"/>
                    </a:lnTo>
                    <a:lnTo>
                      <a:pt x="264" y="186"/>
                    </a:lnTo>
                    <a:lnTo>
                      <a:pt x="264" y="192"/>
                    </a:lnTo>
                    <a:lnTo>
                      <a:pt x="276" y="204"/>
                    </a:lnTo>
                    <a:lnTo>
                      <a:pt x="282" y="204"/>
                    </a:lnTo>
                    <a:lnTo>
                      <a:pt x="282" y="210"/>
                    </a:lnTo>
                    <a:lnTo>
                      <a:pt x="276" y="222"/>
                    </a:lnTo>
                    <a:lnTo>
                      <a:pt x="276" y="234"/>
                    </a:lnTo>
                    <a:lnTo>
                      <a:pt x="294" y="234"/>
                    </a:lnTo>
                    <a:lnTo>
                      <a:pt x="306" y="252"/>
                    </a:lnTo>
                    <a:lnTo>
                      <a:pt x="324" y="252"/>
                    </a:lnTo>
                    <a:lnTo>
                      <a:pt x="330" y="288"/>
                    </a:lnTo>
                    <a:lnTo>
                      <a:pt x="366" y="288"/>
                    </a:lnTo>
                    <a:lnTo>
                      <a:pt x="378" y="294"/>
                    </a:lnTo>
                    <a:lnTo>
                      <a:pt x="384" y="300"/>
                    </a:lnTo>
                    <a:lnTo>
                      <a:pt x="384" y="306"/>
                    </a:lnTo>
                    <a:lnTo>
                      <a:pt x="378" y="312"/>
                    </a:lnTo>
                    <a:lnTo>
                      <a:pt x="354" y="324"/>
                    </a:lnTo>
                    <a:lnTo>
                      <a:pt x="342" y="324"/>
                    </a:lnTo>
                    <a:lnTo>
                      <a:pt x="336" y="330"/>
                    </a:lnTo>
                    <a:lnTo>
                      <a:pt x="336" y="366"/>
                    </a:lnTo>
                    <a:lnTo>
                      <a:pt x="342" y="378"/>
                    </a:lnTo>
                    <a:lnTo>
                      <a:pt x="354" y="390"/>
                    </a:lnTo>
                    <a:lnTo>
                      <a:pt x="354" y="396"/>
                    </a:lnTo>
                    <a:lnTo>
                      <a:pt x="324" y="414"/>
                    </a:lnTo>
                    <a:lnTo>
                      <a:pt x="300" y="450"/>
                    </a:lnTo>
                    <a:lnTo>
                      <a:pt x="318" y="474"/>
                    </a:lnTo>
                    <a:lnTo>
                      <a:pt x="306" y="474"/>
                    </a:lnTo>
                    <a:lnTo>
                      <a:pt x="300" y="480"/>
                    </a:lnTo>
                    <a:lnTo>
                      <a:pt x="288" y="486"/>
                    </a:lnTo>
                    <a:lnTo>
                      <a:pt x="282" y="492"/>
                    </a:lnTo>
                    <a:lnTo>
                      <a:pt x="282" y="504"/>
                    </a:lnTo>
                    <a:lnTo>
                      <a:pt x="276" y="522"/>
                    </a:lnTo>
                    <a:lnTo>
                      <a:pt x="276" y="534"/>
                    </a:lnTo>
                    <a:lnTo>
                      <a:pt x="270" y="552"/>
                    </a:lnTo>
                    <a:lnTo>
                      <a:pt x="258" y="564"/>
                    </a:lnTo>
                    <a:lnTo>
                      <a:pt x="234" y="576"/>
                    </a:lnTo>
                    <a:lnTo>
                      <a:pt x="228" y="582"/>
                    </a:lnTo>
                    <a:lnTo>
                      <a:pt x="228" y="588"/>
                    </a:lnTo>
                    <a:lnTo>
                      <a:pt x="222" y="594"/>
                    </a:lnTo>
                    <a:lnTo>
                      <a:pt x="222" y="612"/>
                    </a:lnTo>
                    <a:lnTo>
                      <a:pt x="204" y="624"/>
                    </a:lnTo>
                    <a:lnTo>
                      <a:pt x="204" y="630"/>
                    </a:lnTo>
                    <a:lnTo>
                      <a:pt x="198" y="636"/>
                    </a:lnTo>
                    <a:lnTo>
                      <a:pt x="192" y="648"/>
                    </a:lnTo>
                    <a:lnTo>
                      <a:pt x="186" y="654"/>
                    </a:lnTo>
                    <a:lnTo>
                      <a:pt x="168" y="654"/>
                    </a:lnTo>
                    <a:lnTo>
                      <a:pt x="162" y="648"/>
                    </a:lnTo>
                    <a:lnTo>
                      <a:pt x="156" y="654"/>
                    </a:lnTo>
                    <a:lnTo>
                      <a:pt x="132" y="666"/>
                    </a:lnTo>
                    <a:lnTo>
                      <a:pt x="126" y="666"/>
                    </a:lnTo>
                    <a:lnTo>
                      <a:pt x="120" y="660"/>
                    </a:lnTo>
                    <a:lnTo>
                      <a:pt x="120" y="648"/>
                    </a:lnTo>
                    <a:lnTo>
                      <a:pt x="114" y="642"/>
                    </a:lnTo>
                    <a:lnTo>
                      <a:pt x="108" y="642"/>
                    </a:lnTo>
                    <a:lnTo>
                      <a:pt x="96" y="648"/>
                    </a:lnTo>
                    <a:lnTo>
                      <a:pt x="84" y="660"/>
                    </a:lnTo>
                    <a:lnTo>
                      <a:pt x="84" y="666"/>
                    </a:lnTo>
                    <a:lnTo>
                      <a:pt x="78" y="678"/>
                    </a:lnTo>
                    <a:lnTo>
                      <a:pt x="72" y="684"/>
                    </a:lnTo>
                    <a:lnTo>
                      <a:pt x="66" y="696"/>
                    </a:lnTo>
                    <a:lnTo>
                      <a:pt x="54" y="708"/>
                    </a:lnTo>
                    <a:lnTo>
                      <a:pt x="48" y="720"/>
                    </a:lnTo>
                    <a:lnTo>
                      <a:pt x="48" y="744"/>
                    </a:lnTo>
                    <a:lnTo>
                      <a:pt x="54" y="750"/>
                    </a:lnTo>
                    <a:lnTo>
                      <a:pt x="66" y="756"/>
                    </a:lnTo>
                    <a:lnTo>
                      <a:pt x="72" y="756"/>
                    </a:lnTo>
                    <a:lnTo>
                      <a:pt x="102" y="750"/>
                    </a:lnTo>
                    <a:lnTo>
                      <a:pt x="102" y="768"/>
                    </a:lnTo>
                    <a:lnTo>
                      <a:pt x="96" y="798"/>
                    </a:lnTo>
                    <a:lnTo>
                      <a:pt x="102" y="804"/>
                    </a:lnTo>
                    <a:lnTo>
                      <a:pt x="108" y="816"/>
                    </a:lnTo>
                    <a:lnTo>
                      <a:pt x="120" y="828"/>
                    </a:lnTo>
                    <a:lnTo>
                      <a:pt x="144" y="828"/>
                    </a:lnTo>
                    <a:lnTo>
                      <a:pt x="144" y="852"/>
                    </a:lnTo>
                    <a:lnTo>
                      <a:pt x="168" y="894"/>
                    </a:lnTo>
                    <a:lnTo>
                      <a:pt x="174" y="906"/>
                    </a:lnTo>
                    <a:lnTo>
                      <a:pt x="180" y="912"/>
                    </a:lnTo>
                    <a:lnTo>
                      <a:pt x="180" y="936"/>
                    </a:lnTo>
                    <a:lnTo>
                      <a:pt x="168" y="942"/>
                    </a:lnTo>
                    <a:lnTo>
                      <a:pt x="162" y="948"/>
                    </a:lnTo>
                    <a:lnTo>
                      <a:pt x="144" y="948"/>
                    </a:lnTo>
                    <a:lnTo>
                      <a:pt x="138" y="942"/>
                    </a:lnTo>
                    <a:lnTo>
                      <a:pt x="138" y="930"/>
                    </a:lnTo>
                    <a:lnTo>
                      <a:pt x="132" y="930"/>
                    </a:lnTo>
                    <a:lnTo>
                      <a:pt x="120" y="936"/>
                    </a:lnTo>
                    <a:lnTo>
                      <a:pt x="108" y="948"/>
                    </a:lnTo>
                    <a:lnTo>
                      <a:pt x="84" y="948"/>
                    </a:lnTo>
                    <a:lnTo>
                      <a:pt x="78" y="942"/>
                    </a:lnTo>
                    <a:lnTo>
                      <a:pt x="78" y="936"/>
                    </a:lnTo>
                    <a:lnTo>
                      <a:pt x="54" y="948"/>
                    </a:lnTo>
                    <a:lnTo>
                      <a:pt x="48" y="942"/>
                    </a:lnTo>
                    <a:lnTo>
                      <a:pt x="36" y="936"/>
                    </a:lnTo>
                    <a:lnTo>
                      <a:pt x="24" y="936"/>
                    </a:lnTo>
                    <a:lnTo>
                      <a:pt x="12" y="948"/>
                    </a:lnTo>
                    <a:lnTo>
                      <a:pt x="12" y="960"/>
                    </a:lnTo>
                    <a:lnTo>
                      <a:pt x="18" y="966"/>
                    </a:lnTo>
                    <a:lnTo>
                      <a:pt x="0" y="972"/>
                    </a:lnTo>
                    <a:lnTo>
                      <a:pt x="36" y="972"/>
                    </a:lnTo>
                    <a:lnTo>
                      <a:pt x="30" y="984"/>
                    </a:lnTo>
                    <a:lnTo>
                      <a:pt x="30" y="1014"/>
                    </a:lnTo>
                    <a:lnTo>
                      <a:pt x="36" y="1026"/>
                    </a:lnTo>
                    <a:lnTo>
                      <a:pt x="48" y="1032"/>
                    </a:lnTo>
                    <a:lnTo>
                      <a:pt x="66" y="1038"/>
                    </a:lnTo>
                    <a:lnTo>
                      <a:pt x="120" y="1038"/>
                    </a:lnTo>
                    <a:lnTo>
                      <a:pt x="132" y="1032"/>
                    </a:lnTo>
                    <a:lnTo>
                      <a:pt x="150" y="1014"/>
                    </a:lnTo>
                    <a:lnTo>
                      <a:pt x="162" y="1008"/>
                    </a:lnTo>
                    <a:lnTo>
                      <a:pt x="168" y="1020"/>
                    </a:lnTo>
                    <a:lnTo>
                      <a:pt x="168" y="1026"/>
                    </a:lnTo>
                    <a:lnTo>
                      <a:pt x="162" y="1038"/>
                    </a:lnTo>
                    <a:lnTo>
                      <a:pt x="144" y="1056"/>
                    </a:lnTo>
                    <a:lnTo>
                      <a:pt x="120" y="1068"/>
                    </a:lnTo>
                    <a:lnTo>
                      <a:pt x="114" y="1074"/>
                    </a:lnTo>
                    <a:lnTo>
                      <a:pt x="90" y="1074"/>
                    </a:lnTo>
                    <a:lnTo>
                      <a:pt x="78" y="1080"/>
                    </a:lnTo>
                    <a:lnTo>
                      <a:pt x="60" y="1086"/>
                    </a:lnTo>
                    <a:lnTo>
                      <a:pt x="48" y="1092"/>
                    </a:lnTo>
                    <a:lnTo>
                      <a:pt x="42" y="1098"/>
                    </a:lnTo>
                    <a:lnTo>
                      <a:pt x="54" y="1122"/>
                    </a:lnTo>
                    <a:lnTo>
                      <a:pt x="66" y="1128"/>
                    </a:lnTo>
                    <a:lnTo>
                      <a:pt x="78" y="1140"/>
                    </a:lnTo>
                    <a:lnTo>
                      <a:pt x="96" y="1152"/>
                    </a:lnTo>
                    <a:lnTo>
                      <a:pt x="108" y="1164"/>
                    </a:lnTo>
                    <a:lnTo>
                      <a:pt x="132" y="1182"/>
                    </a:lnTo>
                    <a:lnTo>
                      <a:pt x="162" y="1206"/>
                    </a:lnTo>
                    <a:lnTo>
                      <a:pt x="204" y="1224"/>
                    </a:lnTo>
                    <a:lnTo>
                      <a:pt x="240" y="1218"/>
                    </a:lnTo>
                    <a:lnTo>
                      <a:pt x="270" y="1200"/>
                    </a:lnTo>
                    <a:lnTo>
                      <a:pt x="294" y="1176"/>
                    </a:lnTo>
                    <a:lnTo>
                      <a:pt x="300" y="1158"/>
                    </a:lnTo>
                    <a:lnTo>
                      <a:pt x="300" y="1128"/>
                    </a:lnTo>
                    <a:lnTo>
                      <a:pt x="306" y="1116"/>
                    </a:lnTo>
                    <a:lnTo>
                      <a:pt x="318" y="1104"/>
                    </a:lnTo>
                    <a:lnTo>
                      <a:pt x="324" y="1092"/>
                    </a:lnTo>
                    <a:lnTo>
                      <a:pt x="330" y="1086"/>
                    </a:lnTo>
                    <a:lnTo>
                      <a:pt x="342" y="1086"/>
                    </a:lnTo>
                    <a:lnTo>
                      <a:pt x="348" y="1080"/>
                    </a:lnTo>
                    <a:lnTo>
                      <a:pt x="354" y="1080"/>
                    </a:lnTo>
                    <a:lnTo>
                      <a:pt x="360" y="1086"/>
                    </a:lnTo>
                    <a:lnTo>
                      <a:pt x="360" y="1098"/>
                    </a:lnTo>
                    <a:lnTo>
                      <a:pt x="348" y="1110"/>
                    </a:lnTo>
                    <a:lnTo>
                      <a:pt x="336" y="1128"/>
                    </a:lnTo>
                    <a:lnTo>
                      <a:pt x="324" y="1140"/>
                    </a:lnTo>
                    <a:lnTo>
                      <a:pt x="318" y="1152"/>
                    </a:lnTo>
                    <a:lnTo>
                      <a:pt x="318" y="1164"/>
                    </a:lnTo>
                    <a:lnTo>
                      <a:pt x="324" y="1176"/>
                    </a:lnTo>
                    <a:lnTo>
                      <a:pt x="336" y="1182"/>
                    </a:lnTo>
                    <a:lnTo>
                      <a:pt x="342" y="1182"/>
                    </a:lnTo>
                    <a:lnTo>
                      <a:pt x="354" y="1194"/>
                    </a:lnTo>
                    <a:lnTo>
                      <a:pt x="354" y="1206"/>
                    </a:lnTo>
                    <a:lnTo>
                      <a:pt x="348" y="1242"/>
                    </a:lnTo>
                    <a:lnTo>
                      <a:pt x="342" y="1284"/>
                    </a:lnTo>
                    <a:lnTo>
                      <a:pt x="336" y="1338"/>
                    </a:lnTo>
                    <a:lnTo>
                      <a:pt x="342" y="1398"/>
                    </a:lnTo>
                    <a:lnTo>
                      <a:pt x="354" y="1446"/>
                    </a:lnTo>
                    <a:lnTo>
                      <a:pt x="384" y="1536"/>
                    </a:lnTo>
                    <a:lnTo>
                      <a:pt x="402" y="1554"/>
                    </a:lnTo>
                    <a:lnTo>
                      <a:pt x="402" y="1596"/>
                    </a:lnTo>
                    <a:lnTo>
                      <a:pt x="414" y="1620"/>
                    </a:lnTo>
                    <a:lnTo>
                      <a:pt x="426" y="1626"/>
                    </a:lnTo>
                    <a:lnTo>
                      <a:pt x="438" y="1626"/>
                    </a:lnTo>
                    <a:lnTo>
                      <a:pt x="444" y="1632"/>
                    </a:lnTo>
                    <a:lnTo>
                      <a:pt x="450" y="1632"/>
                    </a:lnTo>
                    <a:lnTo>
                      <a:pt x="450" y="1644"/>
                    </a:lnTo>
                    <a:lnTo>
                      <a:pt x="456" y="1656"/>
                    </a:lnTo>
                    <a:lnTo>
                      <a:pt x="456" y="1674"/>
                    </a:lnTo>
                    <a:lnTo>
                      <a:pt x="474" y="1710"/>
                    </a:lnTo>
                    <a:lnTo>
                      <a:pt x="498" y="1722"/>
                    </a:lnTo>
                    <a:lnTo>
                      <a:pt x="504" y="1728"/>
                    </a:lnTo>
                    <a:lnTo>
                      <a:pt x="510" y="1728"/>
                    </a:lnTo>
                    <a:lnTo>
                      <a:pt x="510" y="1746"/>
                    </a:lnTo>
                    <a:lnTo>
                      <a:pt x="516" y="1782"/>
                    </a:lnTo>
                    <a:lnTo>
                      <a:pt x="522" y="1830"/>
                    </a:lnTo>
                    <a:lnTo>
                      <a:pt x="534" y="1872"/>
                    </a:lnTo>
                    <a:lnTo>
                      <a:pt x="552" y="1908"/>
                    </a:lnTo>
                    <a:lnTo>
                      <a:pt x="576" y="1944"/>
                    </a:lnTo>
                    <a:lnTo>
                      <a:pt x="600" y="1974"/>
                    </a:lnTo>
                    <a:lnTo>
                      <a:pt x="612" y="1998"/>
                    </a:lnTo>
                    <a:lnTo>
                      <a:pt x="618" y="2016"/>
                    </a:lnTo>
                    <a:lnTo>
                      <a:pt x="618" y="2070"/>
                    </a:lnTo>
                    <a:lnTo>
                      <a:pt x="624" y="2094"/>
                    </a:lnTo>
                    <a:lnTo>
                      <a:pt x="642" y="2124"/>
                    </a:lnTo>
                    <a:lnTo>
                      <a:pt x="672" y="2166"/>
                    </a:lnTo>
                    <a:lnTo>
                      <a:pt x="696" y="2202"/>
                    </a:lnTo>
                    <a:lnTo>
                      <a:pt x="714" y="2232"/>
                    </a:lnTo>
                    <a:lnTo>
                      <a:pt x="720" y="2244"/>
                    </a:lnTo>
                    <a:lnTo>
                      <a:pt x="726" y="2244"/>
                    </a:lnTo>
                    <a:lnTo>
                      <a:pt x="732" y="2238"/>
                    </a:lnTo>
                    <a:lnTo>
                      <a:pt x="744" y="2238"/>
                    </a:lnTo>
                    <a:lnTo>
                      <a:pt x="768" y="2226"/>
                    </a:lnTo>
                    <a:lnTo>
                      <a:pt x="774" y="2220"/>
                    </a:lnTo>
                    <a:lnTo>
                      <a:pt x="780" y="2208"/>
                    </a:lnTo>
                    <a:lnTo>
                      <a:pt x="780" y="2172"/>
                    </a:lnTo>
                    <a:lnTo>
                      <a:pt x="786" y="2160"/>
                    </a:lnTo>
                    <a:lnTo>
                      <a:pt x="798" y="2154"/>
                    </a:lnTo>
                    <a:lnTo>
                      <a:pt x="804" y="2154"/>
                    </a:lnTo>
                    <a:lnTo>
                      <a:pt x="810" y="2160"/>
                    </a:lnTo>
                    <a:lnTo>
                      <a:pt x="828" y="2160"/>
                    </a:lnTo>
                    <a:lnTo>
                      <a:pt x="834" y="2154"/>
                    </a:lnTo>
                    <a:lnTo>
                      <a:pt x="846" y="2148"/>
                    </a:lnTo>
                    <a:lnTo>
                      <a:pt x="852" y="2142"/>
                    </a:lnTo>
                    <a:lnTo>
                      <a:pt x="864" y="2136"/>
                    </a:lnTo>
                    <a:lnTo>
                      <a:pt x="852" y="2136"/>
                    </a:lnTo>
                    <a:lnTo>
                      <a:pt x="846" y="2130"/>
                    </a:lnTo>
                    <a:lnTo>
                      <a:pt x="846" y="2118"/>
                    </a:lnTo>
                    <a:lnTo>
                      <a:pt x="852" y="2100"/>
                    </a:lnTo>
                    <a:lnTo>
                      <a:pt x="858" y="2088"/>
                    </a:lnTo>
                    <a:lnTo>
                      <a:pt x="906" y="2064"/>
                    </a:lnTo>
                    <a:lnTo>
                      <a:pt x="918" y="2052"/>
                    </a:lnTo>
                    <a:lnTo>
                      <a:pt x="918" y="2040"/>
                    </a:lnTo>
                    <a:lnTo>
                      <a:pt x="912" y="2028"/>
                    </a:lnTo>
                    <a:lnTo>
                      <a:pt x="912" y="2010"/>
                    </a:lnTo>
                    <a:lnTo>
                      <a:pt x="900" y="1974"/>
                    </a:lnTo>
                    <a:lnTo>
                      <a:pt x="900" y="1908"/>
                    </a:lnTo>
                    <a:lnTo>
                      <a:pt x="906" y="1890"/>
                    </a:lnTo>
                    <a:lnTo>
                      <a:pt x="906" y="1884"/>
                    </a:lnTo>
                    <a:lnTo>
                      <a:pt x="912" y="1878"/>
                    </a:lnTo>
                    <a:lnTo>
                      <a:pt x="912" y="1860"/>
                    </a:lnTo>
                    <a:lnTo>
                      <a:pt x="918" y="1842"/>
                    </a:lnTo>
                    <a:lnTo>
                      <a:pt x="918" y="1800"/>
                    </a:lnTo>
                    <a:lnTo>
                      <a:pt x="906" y="1776"/>
                    </a:lnTo>
                    <a:lnTo>
                      <a:pt x="888" y="1758"/>
                    </a:lnTo>
                    <a:lnTo>
                      <a:pt x="888" y="1728"/>
                    </a:lnTo>
                    <a:lnTo>
                      <a:pt x="894" y="1722"/>
                    </a:lnTo>
                    <a:lnTo>
                      <a:pt x="900" y="1710"/>
                    </a:lnTo>
                    <a:lnTo>
                      <a:pt x="900" y="1698"/>
                    </a:lnTo>
                    <a:lnTo>
                      <a:pt x="894" y="1686"/>
                    </a:lnTo>
                    <a:lnTo>
                      <a:pt x="894" y="1644"/>
                    </a:lnTo>
                    <a:lnTo>
                      <a:pt x="918" y="1632"/>
                    </a:lnTo>
                    <a:lnTo>
                      <a:pt x="924" y="1632"/>
                    </a:lnTo>
                    <a:lnTo>
                      <a:pt x="948" y="1620"/>
                    </a:lnTo>
                    <a:lnTo>
                      <a:pt x="948" y="1596"/>
                    </a:lnTo>
                    <a:lnTo>
                      <a:pt x="954" y="1584"/>
                    </a:lnTo>
                    <a:lnTo>
                      <a:pt x="960" y="1578"/>
                    </a:lnTo>
                    <a:lnTo>
                      <a:pt x="972" y="1572"/>
                    </a:lnTo>
                    <a:lnTo>
                      <a:pt x="990" y="1572"/>
                    </a:lnTo>
                    <a:lnTo>
                      <a:pt x="996" y="1560"/>
                    </a:lnTo>
                    <a:lnTo>
                      <a:pt x="1002" y="1566"/>
                    </a:lnTo>
                    <a:lnTo>
                      <a:pt x="1032" y="1566"/>
                    </a:lnTo>
                    <a:lnTo>
                      <a:pt x="1032" y="1548"/>
                    </a:lnTo>
                    <a:lnTo>
                      <a:pt x="1038" y="1530"/>
                    </a:lnTo>
                    <a:lnTo>
                      <a:pt x="1050" y="1518"/>
                    </a:lnTo>
                    <a:lnTo>
                      <a:pt x="1056" y="1500"/>
                    </a:lnTo>
                    <a:lnTo>
                      <a:pt x="1068" y="1488"/>
                    </a:lnTo>
                    <a:lnTo>
                      <a:pt x="1074" y="1476"/>
                    </a:lnTo>
                    <a:lnTo>
                      <a:pt x="1086" y="1470"/>
                    </a:lnTo>
                    <a:lnTo>
                      <a:pt x="1092" y="1464"/>
                    </a:lnTo>
                    <a:lnTo>
                      <a:pt x="1110" y="1458"/>
                    </a:lnTo>
                    <a:lnTo>
                      <a:pt x="1116" y="1452"/>
                    </a:lnTo>
                    <a:lnTo>
                      <a:pt x="1128" y="1446"/>
                    </a:lnTo>
                    <a:lnTo>
                      <a:pt x="1134" y="1428"/>
                    </a:lnTo>
                    <a:lnTo>
                      <a:pt x="1158" y="1380"/>
                    </a:lnTo>
                    <a:lnTo>
                      <a:pt x="1176" y="1362"/>
                    </a:lnTo>
                    <a:lnTo>
                      <a:pt x="1188" y="1356"/>
                    </a:lnTo>
                    <a:lnTo>
                      <a:pt x="1206" y="1344"/>
                    </a:lnTo>
                    <a:lnTo>
                      <a:pt x="1218" y="1338"/>
                    </a:lnTo>
                    <a:lnTo>
                      <a:pt x="1236" y="1320"/>
                    </a:lnTo>
                    <a:lnTo>
                      <a:pt x="1242" y="1320"/>
                    </a:lnTo>
                    <a:lnTo>
                      <a:pt x="1230" y="1290"/>
                    </a:lnTo>
                    <a:lnTo>
                      <a:pt x="1236" y="1284"/>
                    </a:lnTo>
                    <a:lnTo>
                      <a:pt x="1260" y="1314"/>
                    </a:lnTo>
                    <a:lnTo>
                      <a:pt x="1320" y="1254"/>
                    </a:lnTo>
                    <a:lnTo>
                      <a:pt x="1332" y="1230"/>
                    </a:lnTo>
                    <a:lnTo>
                      <a:pt x="1326" y="1224"/>
                    </a:lnTo>
                    <a:lnTo>
                      <a:pt x="1320" y="1212"/>
                    </a:lnTo>
                    <a:lnTo>
                      <a:pt x="1314" y="1206"/>
                    </a:lnTo>
                    <a:lnTo>
                      <a:pt x="1308" y="1194"/>
                    </a:lnTo>
                    <a:lnTo>
                      <a:pt x="1308" y="1182"/>
                    </a:lnTo>
                    <a:lnTo>
                      <a:pt x="1320" y="1176"/>
                    </a:lnTo>
                    <a:lnTo>
                      <a:pt x="1326" y="1170"/>
                    </a:lnTo>
                    <a:lnTo>
                      <a:pt x="1338" y="1170"/>
                    </a:lnTo>
                    <a:lnTo>
                      <a:pt x="1350" y="1164"/>
                    </a:lnTo>
                    <a:lnTo>
                      <a:pt x="1362" y="1152"/>
                    </a:lnTo>
                    <a:lnTo>
                      <a:pt x="1374" y="1134"/>
                    </a:lnTo>
                    <a:lnTo>
                      <a:pt x="1374" y="1110"/>
                    </a:lnTo>
                    <a:lnTo>
                      <a:pt x="1392" y="1116"/>
                    </a:lnTo>
                    <a:lnTo>
                      <a:pt x="1398" y="1146"/>
                    </a:lnTo>
                    <a:lnTo>
                      <a:pt x="1416" y="1110"/>
                    </a:lnTo>
                    <a:lnTo>
                      <a:pt x="1416" y="1128"/>
                    </a:lnTo>
                    <a:lnTo>
                      <a:pt x="1422" y="1140"/>
                    </a:lnTo>
                    <a:lnTo>
                      <a:pt x="1422" y="1158"/>
                    </a:lnTo>
                    <a:lnTo>
                      <a:pt x="1428" y="1170"/>
                    </a:lnTo>
                    <a:lnTo>
                      <a:pt x="1434" y="1176"/>
                    </a:lnTo>
                    <a:lnTo>
                      <a:pt x="1440" y="1176"/>
                    </a:lnTo>
                    <a:lnTo>
                      <a:pt x="1446" y="1170"/>
                    </a:lnTo>
                    <a:lnTo>
                      <a:pt x="1446" y="1158"/>
                    </a:lnTo>
                    <a:lnTo>
                      <a:pt x="1452" y="1152"/>
                    </a:lnTo>
                    <a:lnTo>
                      <a:pt x="1452" y="1140"/>
                    </a:lnTo>
                    <a:lnTo>
                      <a:pt x="1458" y="1110"/>
                    </a:lnTo>
                    <a:lnTo>
                      <a:pt x="1440" y="1068"/>
                    </a:lnTo>
                    <a:lnTo>
                      <a:pt x="1440" y="1038"/>
                    </a:lnTo>
                    <a:lnTo>
                      <a:pt x="1410" y="1014"/>
                    </a:lnTo>
                    <a:lnTo>
                      <a:pt x="1398" y="984"/>
                    </a:lnTo>
                    <a:lnTo>
                      <a:pt x="1404" y="972"/>
                    </a:lnTo>
                    <a:lnTo>
                      <a:pt x="1410" y="966"/>
                    </a:lnTo>
                    <a:lnTo>
                      <a:pt x="1416" y="948"/>
                    </a:lnTo>
                    <a:lnTo>
                      <a:pt x="1416" y="942"/>
                    </a:lnTo>
                    <a:lnTo>
                      <a:pt x="1410" y="936"/>
                    </a:lnTo>
                    <a:lnTo>
                      <a:pt x="1398" y="930"/>
                    </a:lnTo>
                    <a:lnTo>
                      <a:pt x="1380" y="930"/>
                    </a:lnTo>
                    <a:lnTo>
                      <a:pt x="1368" y="924"/>
                    </a:lnTo>
                    <a:lnTo>
                      <a:pt x="1356" y="912"/>
                    </a:lnTo>
                    <a:lnTo>
                      <a:pt x="1368" y="900"/>
                    </a:lnTo>
                    <a:lnTo>
                      <a:pt x="1374" y="900"/>
                    </a:lnTo>
                    <a:lnTo>
                      <a:pt x="1374" y="870"/>
                    </a:lnTo>
                    <a:lnTo>
                      <a:pt x="1410" y="870"/>
                    </a:lnTo>
                    <a:lnTo>
                      <a:pt x="1410" y="858"/>
                    </a:lnTo>
                    <a:lnTo>
                      <a:pt x="1380" y="840"/>
                    </a:lnTo>
                    <a:lnTo>
                      <a:pt x="1374" y="840"/>
                    </a:lnTo>
                    <a:lnTo>
                      <a:pt x="1362" y="828"/>
                    </a:lnTo>
                    <a:lnTo>
                      <a:pt x="1350" y="822"/>
                    </a:lnTo>
                    <a:lnTo>
                      <a:pt x="1344" y="810"/>
                    </a:lnTo>
                    <a:lnTo>
                      <a:pt x="1344" y="804"/>
                    </a:lnTo>
                    <a:lnTo>
                      <a:pt x="1350" y="792"/>
                    </a:lnTo>
                    <a:lnTo>
                      <a:pt x="1362" y="780"/>
                    </a:lnTo>
                    <a:lnTo>
                      <a:pt x="1350" y="762"/>
                    </a:lnTo>
                    <a:lnTo>
                      <a:pt x="1368" y="762"/>
                    </a:lnTo>
                    <a:lnTo>
                      <a:pt x="1392" y="774"/>
                    </a:lnTo>
                    <a:lnTo>
                      <a:pt x="1386" y="768"/>
                    </a:lnTo>
                    <a:lnTo>
                      <a:pt x="1404" y="762"/>
                    </a:lnTo>
                    <a:lnTo>
                      <a:pt x="1410" y="774"/>
                    </a:lnTo>
                    <a:lnTo>
                      <a:pt x="1410" y="780"/>
                    </a:lnTo>
                    <a:lnTo>
                      <a:pt x="1416" y="792"/>
                    </a:lnTo>
                    <a:lnTo>
                      <a:pt x="1422" y="798"/>
                    </a:lnTo>
                    <a:lnTo>
                      <a:pt x="1434" y="798"/>
                    </a:lnTo>
                    <a:lnTo>
                      <a:pt x="1440" y="804"/>
                    </a:lnTo>
                    <a:lnTo>
                      <a:pt x="1446" y="786"/>
                    </a:lnTo>
                    <a:lnTo>
                      <a:pt x="1452" y="792"/>
                    </a:lnTo>
                    <a:lnTo>
                      <a:pt x="1458" y="792"/>
                    </a:lnTo>
                    <a:lnTo>
                      <a:pt x="1464" y="798"/>
                    </a:lnTo>
                    <a:lnTo>
                      <a:pt x="1464" y="828"/>
                    </a:lnTo>
                    <a:lnTo>
                      <a:pt x="1470" y="828"/>
                    </a:lnTo>
                    <a:lnTo>
                      <a:pt x="1470" y="864"/>
                    </a:lnTo>
                    <a:lnTo>
                      <a:pt x="1476" y="864"/>
                    </a:lnTo>
                    <a:lnTo>
                      <a:pt x="1482" y="870"/>
                    </a:lnTo>
                    <a:lnTo>
                      <a:pt x="1542" y="870"/>
                    </a:lnTo>
                    <a:lnTo>
                      <a:pt x="1554" y="876"/>
                    </a:lnTo>
                    <a:lnTo>
                      <a:pt x="1572" y="876"/>
                    </a:lnTo>
                    <a:lnTo>
                      <a:pt x="1620" y="864"/>
                    </a:lnTo>
                    <a:lnTo>
                      <a:pt x="1626" y="864"/>
                    </a:lnTo>
                    <a:lnTo>
                      <a:pt x="1650" y="888"/>
                    </a:lnTo>
                    <a:lnTo>
                      <a:pt x="1650" y="894"/>
                    </a:lnTo>
                    <a:lnTo>
                      <a:pt x="1644" y="900"/>
                    </a:lnTo>
                    <a:lnTo>
                      <a:pt x="1638" y="900"/>
                    </a:lnTo>
                    <a:lnTo>
                      <a:pt x="1638" y="912"/>
                    </a:lnTo>
                    <a:lnTo>
                      <a:pt x="1632" y="930"/>
                    </a:lnTo>
                    <a:lnTo>
                      <a:pt x="1626" y="942"/>
                    </a:lnTo>
                    <a:lnTo>
                      <a:pt x="1620" y="948"/>
                    </a:lnTo>
                    <a:lnTo>
                      <a:pt x="1614" y="948"/>
                    </a:lnTo>
                    <a:lnTo>
                      <a:pt x="1602" y="954"/>
                    </a:lnTo>
                    <a:lnTo>
                      <a:pt x="1596" y="954"/>
                    </a:lnTo>
                    <a:lnTo>
                      <a:pt x="1584" y="966"/>
                    </a:lnTo>
                    <a:lnTo>
                      <a:pt x="1578" y="978"/>
                    </a:lnTo>
                    <a:lnTo>
                      <a:pt x="1578" y="996"/>
                    </a:lnTo>
                    <a:lnTo>
                      <a:pt x="1584" y="1008"/>
                    </a:lnTo>
                    <a:lnTo>
                      <a:pt x="1602" y="1026"/>
                    </a:lnTo>
                    <a:lnTo>
                      <a:pt x="1608" y="1026"/>
                    </a:lnTo>
                    <a:lnTo>
                      <a:pt x="1626" y="1050"/>
                    </a:lnTo>
                    <a:lnTo>
                      <a:pt x="1632" y="1014"/>
                    </a:lnTo>
                    <a:lnTo>
                      <a:pt x="1632" y="990"/>
                    </a:lnTo>
                    <a:lnTo>
                      <a:pt x="1650" y="990"/>
                    </a:lnTo>
                    <a:lnTo>
                      <a:pt x="1662" y="996"/>
                    </a:lnTo>
                    <a:lnTo>
                      <a:pt x="1668" y="1002"/>
                    </a:lnTo>
                    <a:lnTo>
                      <a:pt x="1668" y="1020"/>
                    </a:lnTo>
                    <a:lnTo>
                      <a:pt x="1674" y="1032"/>
                    </a:lnTo>
                    <a:lnTo>
                      <a:pt x="1674" y="1038"/>
                    </a:lnTo>
                    <a:lnTo>
                      <a:pt x="1680" y="1050"/>
                    </a:lnTo>
                    <a:lnTo>
                      <a:pt x="1680" y="1062"/>
                    </a:lnTo>
                    <a:lnTo>
                      <a:pt x="1686" y="1074"/>
                    </a:lnTo>
                    <a:lnTo>
                      <a:pt x="1692" y="1092"/>
                    </a:lnTo>
                    <a:lnTo>
                      <a:pt x="1698" y="1104"/>
                    </a:lnTo>
                    <a:lnTo>
                      <a:pt x="1704" y="1110"/>
                    </a:lnTo>
                    <a:lnTo>
                      <a:pt x="1704" y="1116"/>
                    </a:lnTo>
                    <a:lnTo>
                      <a:pt x="1722" y="1134"/>
                    </a:lnTo>
                    <a:lnTo>
                      <a:pt x="1722" y="1110"/>
                    </a:lnTo>
                    <a:lnTo>
                      <a:pt x="1728" y="1110"/>
                    </a:lnTo>
                    <a:lnTo>
                      <a:pt x="1734" y="1116"/>
                    </a:lnTo>
                    <a:lnTo>
                      <a:pt x="1746" y="1116"/>
                    </a:lnTo>
                    <a:lnTo>
                      <a:pt x="1746" y="1104"/>
                    </a:lnTo>
                    <a:lnTo>
                      <a:pt x="1728" y="1086"/>
                    </a:lnTo>
                    <a:lnTo>
                      <a:pt x="1728" y="1062"/>
                    </a:lnTo>
                    <a:lnTo>
                      <a:pt x="1722" y="1050"/>
                    </a:lnTo>
                    <a:lnTo>
                      <a:pt x="1740" y="1032"/>
                    </a:lnTo>
                    <a:lnTo>
                      <a:pt x="1746" y="1032"/>
                    </a:lnTo>
                    <a:lnTo>
                      <a:pt x="1740" y="984"/>
                    </a:lnTo>
                    <a:lnTo>
                      <a:pt x="1722" y="966"/>
                    </a:lnTo>
                    <a:lnTo>
                      <a:pt x="1716" y="966"/>
                    </a:lnTo>
                    <a:lnTo>
                      <a:pt x="1770" y="966"/>
                    </a:lnTo>
                    <a:lnTo>
                      <a:pt x="1782" y="972"/>
                    </a:lnTo>
                    <a:lnTo>
                      <a:pt x="1794" y="972"/>
                    </a:lnTo>
                    <a:lnTo>
                      <a:pt x="1794" y="936"/>
                    </a:lnTo>
                    <a:lnTo>
                      <a:pt x="1812" y="882"/>
                    </a:lnTo>
                    <a:lnTo>
                      <a:pt x="1806" y="876"/>
                    </a:lnTo>
                    <a:lnTo>
                      <a:pt x="1800" y="864"/>
                    </a:lnTo>
                    <a:lnTo>
                      <a:pt x="1800" y="846"/>
                    </a:lnTo>
                    <a:lnTo>
                      <a:pt x="1812" y="840"/>
                    </a:lnTo>
                    <a:lnTo>
                      <a:pt x="1818" y="834"/>
                    </a:lnTo>
                    <a:lnTo>
                      <a:pt x="1836" y="804"/>
                    </a:lnTo>
                    <a:lnTo>
                      <a:pt x="1836" y="792"/>
                    </a:lnTo>
                    <a:lnTo>
                      <a:pt x="1830" y="786"/>
                    </a:lnTo>
                    <a:lnTo>
                      <a:pt x="1830" y="780"/>
                    </a:lnTo>
                    <a:lnTo>
                      <a:pt x="1824" y="774"/>
                    </a:lnTo>
                    <a:lnTo>
                      <a:pt x="1824" y="750"/>
                    </a:lnTo>
                    <a:lnTo>
                      <a:pt x="1830" y="750"/>
                    </a:lnTo>
                    <a:lnTo>
                      <a:pt x="1836" y="744"/>
                    </a:lnTo>
                    <a:lnTo>
                      <a:pt x="1848" y="744"/>
                    </a:lnTo>
                    <a:lnTo>
                      <a:pt x="1860" y="738"/>
                    </a:lnTo>
                    <a:lnTo>
                      <a:pt x="1872" y="726"/>
                    </a:lnTo>
                    <a:lnTo>
                      <a:pt x="1872" y="708"/>
                    </a:lnTo>
                    <a:lnTo>
                      <a:pt x="1878" y="708"/>
                    </a:lnTo>
                    <a:lnTo>
                      <a:pt x="1890" y="702"/>
                    </a:lnTo>
                    <a:lnTo>
                      <a:pt x="1926" y="702"/>
                    </a:lnTo>
                    <a:lnTo>
                      <a:pt x="1932" y="708"/>
                    </a:lnTo>
                    <a:lnTo>
                      <a:pt x="1950" y="708"/>
                    </a:lnTo>
                    <a:lnTo>
                      <a:pt x="1950" y="702"/>
                    </a:lnTo>
                    <a:lnTo>
                      <a:pt x="1944" y="696"/>
                    </a:lnTo>
                    <a:lnTo>
                      <a:pt x="1932" y="690"/>
                    </a:lnTo>
                    <a:lnTo>
                      <a:pt x="1926" y="684"/>
                    </a:lnTo>
                    <a:lnTo>
                      <a:pt x="1920" y="67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55" name="Ch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4AFFE99-1E83-4D68-BD0F-78FF11F05D5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721182" y="2592116"/>
                <a:ext cx="1621378" cy="1268329"/>
              </a:xfrm>
              <a:custGeom>
                <a:avLst/>
                <a:gdLst>
                  <a:gd name="T0" fmla="*/ 2147483647 w 3660"/>
                  <a:gd name="T1" fmla="*/ 2147483647 h 2826"/>
                  <a:gd name="T2" fmla="*/ 2147483647 w 3660"/>
                  <a:gd name="T3" fmla="*/ 2147483647 h 2826"/>
                  <a:gd name="T4" fmla="*/ 2147483647 w 3660"/>
                  <a:gd name="T5" fmla="*/ 2147483647 h 2826"/>
                  <a:gd name="T6" fmla="*/ 2147483647 w 3660"/>
                  <a:gd name="T7" fmla="*/ 2147483647 h 2826"/>
                  <a:gd name="T8" fmla="*/ 2147483647 w 3660"/>
                  <a:gd name="T9" fmla="*/ 2147483647 h 2826"/>
                  <a:gd name="T10" fmla="*/ 2147483647 w 3660"/>
                  <a:gd name="T11" fmla="*/ 2147483647 h 2826"/>
                  <a:gd name="T12" fmla="*/ 2147483647 w 3660"/>
                  <a:gd name="T13" fmla="*/ 2147483647 h 2826"/>
                  <a:gd name="T14" fmla="*/ 2147483647 w 3660"/>
                  <a:gd name="T15" fmla="*/ 2147483647 h 2826"/>
                  <a:gd name="T16" fmla="*/ 2147483647 w 3660"/>
                  <a:gd name="T17" fmla="*/ 2147483647 h 2826"/>
                  <a:gd name="T18" fmla="*/ 2147483647 w 3660"/>
                  <a:gd name="T19" fmla="*/ 2147483647 h 2826"/>
                  <a:gd name="T20" fmla="*/ 2147483647 w 3660"/>
                  <a:gd name="T21" fmla="*/ 2147483647 h 2826"/>
                  <a:gd name="T22" fmla="*/ 2147483647 w 3660"/>
                  <a:gd name="T23" fmla="*/ 2147483647 h 2826"/>
                  <a:gd name="T24" fmla="*/ 2147483647 w 3660"/>
                  <a:gd name="T25" fmla="*/ 2147483647 h 2826"/>
                  <a:gd name="T26" fmla="*/ 2147483647 w 3660"/>
                  <a:gd name="T27" fmla="*/ 2147483647 h 2826"/>
                  <a:gd name="T28" fmla="*/ 2147483647 w 3660"/>
                  <a:gd name="T29" fmla="*/ 2147483647 h 2826"/>
                  <a:gd name="T30" fmla="*/ 2147483647 w 3660"/>
                  <a:gd name="T31" fmla="*/ 2147483647 h 2826"/>
                  <a:gd name="T32" fmla="*/ 2147483647 w 3660"/>
                  <a:gd name="T33" fmla="*/ 2147483647 h 2826"/>
                  <a:gd name="T34" fmla="*/ 2147483647 w 3660"/>
                  <a:gd name="T35" fmla="*/ 2147483647 h 2826"/>
                  <a:gd name="T36" fmla="*/ 2147483647 w 3660"/>
                  <a:gd name="T37" fmla="*/ 2147483647 h 2826"/>
                  <a:gd name="T38" fmla="*/ 2147483647 w 3660"/>
                  <a:gd name="T39" fmla="*/ 2147483647 h 2826"/>
                  <a:gd name="T40" fmla="*/ 2147483647 w 3660"/>
                  <a:gd name="T41" fmla="*/ 2147483647 h 2826"/>
                  <a:gd name="T42" fmla="*/ 2147483647 w 3660"/>
                  <a:gd name="T43" fmla="*/ 2147483647 h 2826"/>
                  <a:gd name="T44" fmla="*/ 2147483647 w 3660"/>
                  <a:gd name="T45" fmla="*/ 2147483647 h 2826"/>
                  <a:gd name="T46" fmla="*/ 0 w 3660"/>
                  <a:gd name="T47" fmla="*/ 2147483647 h 2826"/>
                  <a:gd name="T48" fmla="*/ 2147483647 w 3660"/>
                  <a:gd name="T49" fmla="*/ 2147483647 h 2826"/>
                  <a:gd name="T50" fmla="*/ 2147483647 w 3660"/>
                  <a:gd name="T51" fmla="*/ 2147483647 h 2826"/>
                  <a:gd name="T52" fmla="*/ 2147483647 w 3660"/>
                  <a:gd name="T53" fmla="*/ 2147483647 h 2826"/>
                  <a:gd name="T54" fmla="*/ 2147483647 w 3660"/>
                  <a:gd name="T55" fmla="*/ 2147483647 h 2826"/>
                  <a:gd name="T56" fmla="*/ 2147483647 w 3660"/>
                  <a:gd name="T57" fmla="*/ 2147483647 h 2826"/>
                  <a:gd name="T58" fmla="*/ 2147483647 w 3660"/>
                  <a:gd name="T59" fmla="*/ 2147483647 h 2826"/>
                  <a:gd name="T60" fmla="*/ 2147483647 w 3660"/>
                  <a:gd name="T61" fmla="*/ 2147483647 h 2826"/>
                  <a:gd name="T62" fmla="*/ 2147483647 w 3660"/>
                  <a:gd name="T63" fmla="*/ 2147483647 h 2826"/>
                  <a:gd name="T64" fmla="*/ 2147483647 w 3660"/>
                  <a:gd name="T65" fmla="*/ 2147483647 h 2826"/>
                  <a:gd name="T66" fmla="*/ 2147483647 w 3660"/>
                  <a:gd name="T67" fmla="*/ 2147483647 h 2826"/>
                  <a:gd name="T68" fmla="*/ 2147483647 w 3660"/>
                  <a:gd name="T69" fmla="*/ 2147483647 h 2826"/>
                  <a:gd name="T70" fmla="*/ 2147483647 w 3660"/>
                  <a:gd name="T71" fmla="*/ 2147483647 h 2826"/>
                  <a:gd name="T72" fmla="*/ 2147483647 w 3660"/>
                  <a:gd name="T73" fmla="*/ 2147483647 h 2826"/>
                  <a:gd name="T74" fmla="*/ 2147483647 w 3660"/>
                  <a:gd name="T75" fmla="*/ 2147483647 h 2826"/>
                  <a:gd name="T76" fmla="*/ 2147483647 w 3660"/>
                  <a:gd name="T77" fmla="*/ 2147483647 h 2826"/>
                  <a:gd name="T78" fmla="*/ 2147483647 w 3660"/>
                  <a:gd name="T79" fmla="*/ 2147483647 h 2826"/>
                  <a:gd name="T80" fmla="*/ 2147483647 w 3660"/>
                  <a:gd name="T81" fmla="*/ 2147483647 h 2826"/>
                  <a:gd name="T82" fmla="*/ 2147483647 w 3660"/>
                  <a:gd name="T83" fmla="*/ 2147483647 h 2826"/>
                  <a:gd name="T84" fmla="*/ 2147483647 w 3660"/>
                  <a:gd name="T85" fmla="*/ 2147483647 h 2826"/>
                  <a:gd name="T86" fmla="*/ 2147483647 w 3660"/>
                  <a:gd name="T87" fmla="*/ 2147483647 h 2826"/>
                  <a:gd name="T88" fmla="*/ 2147483647 w 3660"/>
                  <a:gd name="T89" fmla="*/ 2147483647 h 2826"/>
                  <a:gd name="T90" fmla="*/ 2147483647 w 3660"/>
                  <a:gd name="T91" fmla="*/ 2147483647 h 2826"/>
                  <a:gd name="T92" fmla="*/ 2147483647 w 3660"/>
                  <a:gd name="T93" fmla="*/ 2147483647 h 2826"/>
                  <a:gd name="T94" fmla="*/ 2147483647 w 3660"/>
                  <a:gd name="T95" fmla="*/ 2147483647 h 2826"/>
                  <a:gd name="T96" fmla="*/ 2147483647 w 3660"/>
                  <a:gd name="T97" fmla="*/ 2147483647 h 2826"/>
                  <a:gd name="T98" fmla="*/ 2147483647 w 3660"/>
                  <a:gd name="T99" fmla="*/ 2147483647 h 2826"/>
                  <a:gd name="T100" fmla="*/ 2147483647 w 3660"/>
                  <a:gd name="T101" fmla="*/ 2147483647 h 2826"/>
                  <a:gd name="T102" fmla="*/ 2147483647 w 3660"/>
                  <a:gd name="T103" fmla="*/ 2147483647 h 2826"/>
                  <a:gd name="T104" fmla="*/ 2147483647 w 3660"/>
                  <a:gd name="T105" fmla="*/ 2147483647 h 2826"/>
                  <a:gd name="T106" fmla="*/ 2147483647 w 3660"/>
                  <a:gd name="T107" fmla="*/ 2147483647 h 2826"/>
                  <a:gd name="T108" fmla="*/ 2147483647 w 3660"/>
                  <a:gd name="T109" fmla="*/ 2147483647 h 2826"/>
                  <a:gd name="T110" fmla="*/ 2147483647 w 3660"/>
                  <a:gd name="T111" fmla="*/ 2147483647 h 2826"/>
                  <a:gd name="T112" fmla="*/ 2147483647 w 3660"/>
                  <a:gd name="T113" fmla="*/ 2147483647 h 2826"/>
                  <a:gd name="T114" fmla="*/ 2147483647 w 3660"/>
                  <a:gd name="T115" fmla="*/ 2147483647 h 2826"/>
                  <a:gd name="T116" fmla="*/ 2147483647 w 3660"/>
                  <a:gd name="T117" fmla="*/ 2147483647 h 2826"/>
                  <a:gd name="T118" fmla="*/ 2147483647 w 3660"/>
                  <a:gd name="T119" fmla="*/ 2147483647 h 2826"/>
                  <a:gd name="T120" fmla="*/ 2147483647 w 3660"/>
                  <a:gd name="T121" fmla="*/ 2147483647 h 2826"/>
                  <a:gd name="T122" fmla="*/ 2147483647 w 3660"/>
                  <a:gd name="T123" fmla="*/ 2147483647 h 282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660"/>
                  <a:gd name="T187" fmla="*/ 0 h 2826"/>
                  <a:gd name="T188" fmla="*/ 3660 w 3660"/>
                  <a:gd name="T189" fmla="*/ 2826 h 282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660" h="2826">
                    <a:moveTo>
                      <a:pt x="2862" y="2688"/>
                    </a:moveTo>
                    <a:lnTo>
                      <a:pt x="2850" y="2682"/>
                    </a:lnTo>
                    <a:lnTo>
                      <a:pt x="2772" y="2682"/>
                    </a:lnTo>
                    <a:lnTo>
                      <a:pt x="2766" y="2700"/>
                    </a:lnTo>
                    <a:lnTo>
                      <a:pt x="2748" y="2694"/>
                    </a:lnTo>
                    <a:lnTo>
                      <a:pt x="2736" y="2718"/>
                    </a:lnTo>
                    <a:lnTo>
                      <a:pt x="2730" y="2724"/>
                    </a:lnTo>
                    <a:lnTo>
                      <a:pt x="2712" y="2760"/>
                    </a:lnTo>
                    <a:lnTo>
                      <a:pt x="2718" y="2772"/>
                    </a:lnTo>
                    <a:lnTo>
                      <a:pt x="2724" y="2790"/>
                    </a:lnTo>
                    <a:lnTo>
                      <a:pt x="2754" y="2820"/>
                    </a:lnTo>
                    <a:lnTo>
                      <a:pt x="2766" y="2826"/>
                    </a:lnTo>
                    <a:lnTo>
                      <a:pt x="2772" y="2826"/>
                    </a:lnTo>
                    <a:lnTo>
                      <a:pt x="2802" y="2820"/>
                    </a:lnTo>
                    <a:lnTo>
                      <a:pt x="2820" y="2820"/>
                    </a:lnTo>
                    <a:lnTo>
                      <a:pt x="2844" y="2808"/>
                    </a:lnTo>
                    <a:lnTo>
                      <a:pt x="2850" y="2802"/>
                    </a:lnTo>
                    <a:lnTo>
                      <a:pt x="2850" y="2754"/>
                    </a:lnTo>
                    <a:lnTo>
                      <a:pt x="2856" y="2742"/>
                    </a:lnTo>
                    <a:lnTo>
                      <a:pt x="2862" y="2736"/>
                    </a:lnTo>
                    <a:lnTo>
                      <a:pt x="2868" y="2724"/>
                    </a:lnTo>
                    <a:lnTo>
                      <a:pt x="2868" y="2700"/>
                    </a:lnTo>
                    <a:lnTo>
                      <a:pt x="2862" y="2688"/>
                    </a:lnTo>
                    <a:close/>
                    <a:moveTo>
                      <a:pt x="3660" y="624"/>
                    </a:moveTo>
                    <a:lnTo>
                      <a:pt x="3654" y="600"/>
                    </a:lnTo>
                    <a:lnTo>
                      <a:pt x="3660" y="570"/>
                    </a:lnTo>
                    <a:lnTo>
                      <a:pt x="3642" y="564"/>
                    </a:lnTo>
                    <a:lnTo>
                      <a:pt x="3642" y="540"/>
                    </a:lnTo>
                    <a:lnTo>
                      <a:pt x="3630" y="528"/>
                    </a:lnTo>
                    <a:lnTo>
                      <a:pt x="3630" y="510"/>
                    </a:lnTo>
                    <a:lnTo>
                      <a:pt x="3618" y="492"/>
                    </a:lnTo>
                    <a:lnTo>
                      <a:pt x="3636" y="486"/>
                    </a:lnTo>
                    <a:lnTo>
                      <a:pt x="3636" y="456"/>
                    </a:lnTo>
                    <a:lnTo>
                      <a:pt x="3612" y="444"/>
                    </a:lnTo>
                    <a:lnTo>
                      <a:pt x="3612" y="426"/>
                    </a:lnTo>
                    <a:lnTo>
                      <a:pt x="3606" y="414"/>
                    </a:lnTo>
                    <a:lnTo>
                      <a:pt x="3594" y="408"/>
                    </a:lnTo>
                    <a:lnTo>
                      <a:pt x="3552" y="408"/>
                    </a:lnTo>
                    <a:lnTo>
                      <a:pt x="3546" y="432"/>
                    </a:lnTo>
                    <a:lnTo>
                      <a:pt x="3516" y="432"/>
                    </a:lnTo>
                    <a:lnTo>
                      <a:pt x="3504" y="438"/>
                    </a:lnTo>
                    <a:lnTo>
                      <a:pt x="3498" y="438"/>
                    </a:lnTo>
                    <a:lnTo>
                      <a:pt x="3492" y="444"/>
                    </a:lnTo>
                    <a:lnTo>
                      <a:pt x="3492" y="462"/>
                    </a:lnTo>
                    <a:lnTo>
                      <a:pt x="3462" y="456"/>
                    </a:lnTo>
                    <a:lnTo>
                      <a:pt x="3462" y="468"/>
                    </a:lnTo>
                    <a:lnTo>
                      <a:pt x="3444" y="468"/>
                    </a:lnTo>
                    <a:lnTo>
                      <a:pt x="3432" y="456"/>
                    </a:lnTo>
                    <a:lnTo>
                      <a:pt x="3408" y="462"/>
                    </a:lnTo>
                    <a:lnTo>
                      <a:pt x="3366" y="432"/>
                    </a:lnTo>
                    <a:lnTo>
                      <a:pt x="3366" y="420"/>
                    </a:lnTo>
                    <a:lnTo>
                      <a:pt x="3360" y="408"/>
                    </a:lnTo>
                    <a:lnTo>
                      <a:pt x="3360" y="402"/>
                    </a:lnTo>
                    <a:lnTo>
                      <a:pt x="3354" y="396"/>
                    </a:lnTo>
                    <a:lnTo>
                      <a:pt x="3336" y="396"/>
                    </a:lnTo>
                    <a:lnTo>
                      <a:pt x="3318" y="366"/>
                    </a:lnTo>
                    <a:lnTo>
                      <a:pt x="3276" y="366"/>
                    </a:lnTo>
                    <a:lnTo>
                      <a:pt x="3258" y="348"/>
                    </a:lnTo>
                    <a:lnTo>
                      <a:pt x="3246" y="342"/>
                    </a:lnTo>
                    <a:lnTo>
                      <a:pt x="3228" y="324"/>
                    </a:lnTo>
                    <a:lnTo>
                      <a:pt x="3216" y="324"/>
                    </a:lnTo>
                    <a:lnTo>
                      <a:pt x="3204" y="336"/>
                    </a:lnTo>
                    <a:lnTo>
                      <a:pt x="3192" y="330"/>
                    </a:lnTo>
                    <a:lnTo>
                      <a:pt x="3186" y="324"/>
                    </a:lnTo>
                    <a:lnTo>
                      <a:pt x="3174" y="318"/>
                    </a:lnTo>
                    <a:lnTo>
                      <a:pt x="3126" y="318"/>
                    </a:lnTo>
                    <a:lnTo>
                      <a:pt x="3114" y="312"/>
                    </a:lnTo>
                    <a:lnTo>
                      <a:pt x="3108" y="306"/>
                    </a:lnTo>
                    <a:lnTo>
                      <a:pt x="3084" y="294"/>
                    </a:lnTo>
                    <a:lnTo>
                      <a:pt x="3078" y="288"/>
                    </a:lnTo>
                    <a:lnTo>
                      <a:pt x="3072" y="288"/>
                    </a:lnTo>
                    <a:lnTo>
                      <a:pt x="3066" y="264"/>
                    </a:lnTo>
                    <a:lnTo>
                      <a:pt x="3054" y="264"/>
                    </a:lnTo>
                    <a:lnTo>
                      <a:pt x="3048" y="252"/>
                    </a:lnTo>
                    <a:lnTo>
                      <a:pt x="3030" y="234"/>
                    </a:lnTo>
                    <a:lnTo>
                      <a:pt x="3024" y="222"/>
                    </a:lnTo>
                    <a:lnTo>
                      <a:pt x="2976" y="198"/>
                    </a:lnTo>
                    <a:lnTo>
                      <a:pt x="2964" y="198"/>
                    </a:lnTo>
                    <a:lnTo>
                      <a:pt x="2952" y="168"/>
                    </a:lnTo>
                    <a:lnTo>
                      <a:pt x="2904" y="144"/>
                    </a:lnTo>
                    <a:lnTo>
                      <a:pt x="2898" y="114"/>
                    </a:lnTo>
                    <a:lnTo>
                      <a:pt x="2892" y="114"/>
                    </a:lnTo>
                    <a:lnTo>
                      <a:pt x="2886" y="108"/>
                    </a:lnTo>
                    <a:lnTo>
                      <a:pt x="2874" y="108"/>
                    </a:lnTo>
                    <a:lnTo>
                      <a:pt x="2862" y="96"/>
                    </a:lnTo>
                    <a:lnTo>
                      <a:pt x="2850" y="90"/>
                    </a:lnTo>
                    <a:lnTo>
                      <a:pt x="2838" y="78"/>
                    </a:lnTo>
                    <a:lnTo>
                      <a:pt x="2832" y="78"/>
                    </a:lnTo>
                    <a:lnTo>
                      <a:pt x="2832" y="66"/>
                    </a:lnTo>
                    <a:lnTo>
                      <a:pt x="2820" y="60"/>
                    </a:lnTo>
                    <a:lnTo>
                      <a:pt x="2814" y="54"/>
                    </a:lnTo>
                    <a:lnTo>
                      <a:pt x="2802" y="48"/>
                    </a:lnTo>
                    <a:lnTo>
                      <a:pt x="2796" y="42"/>
                    </a:lnTo>
                    <a:lnTo>
                      <a:pt x="2724" y="42"/>
                    </a:lnTo>
                    <a:lnTo>
                      <a:pt x="2688" y="18"/>
                    </a:lnTo>
                    <a:lnTo>
                      <a:pt x="2652" y="0"/>
                    </a:lnTo>
                    <a:lnTo>
                      <a:pt x="2598" y="12"/>
                    </a:lnTo>
                    <a:lnTo>
                      <a:pt x="2556" y="6"/>
                    </a:lnTo>
                    <a:lnTo>
                      <a:pt x="2550" y="18"/>
                    </a:lnTo>
                    <a:lnTo>
                      <a:pt x="2514" y="24"/>
                    </a:lnTo>
                    <a:lnTo>
                      <a:pt x="2472" y="66"/>
                    </a:lnTo>
                    <a:lnTo>
                      <a:pt x="2466" y="66"/>
                    </a:lnTo>
                    <a:lnTo>
                      <a:pt x="2466" y="78"/>
                    </a:lnTo>
                    <a:lnTo>
                      <a:pt x="2472" y="78"/>
                    </a:lnTo>
                    <a:lnTo>
                      <a:pt x="2490" y="84"/>
                    </a:lnTo>
                    <a:lnTo>
                      <a:pt x="2502" y="84"/>
                    </a:lnTo>
                    <a:lnTo>
                      <a:pt x="2508" y="90"/>
                    </a:lnTo>
                    <a:lnTo>
                      <a:pt x="2520" y="90"/>
                    </a:lnTo>
                    <a:lnTo>
                      <a:pt x="2532" y="102"/>
                    </a:lnTo>
                    <a:lnTo>
                      <a:pt x="2544" y="108"/>
                    </a:lnTo>
                    <a:lnTo>
                      <a:pt x="2550" y="114"/>
                    </a:lnTo>
                    <a:lnTo>
                      <a:pt x="2550" y="126"/>
                    </a:lnTo>
                    <a:lnTo>
                      <a:pt x="2532" y="144"/>
                    </a:lnTo>
                    <a:lnTo>
                      <a:pt x="2532" y="216"/>
                    </a:lnTo>
                    <a:lnTo>
                      <a:pt x="2538" y="258"/>
                    </a:lnTo>
                    <a:lnTo>
                      <a:pt x="2544" y="264"/>
                    </a:lnTo>
                    <a:lnTo>
                      <a:pt x="2556" y="264"/>
                    </a:lnTo>
                    <a:lnTo>
                      <a:pt x="2556" y="276"/>
                    </a:lnTo>
                    <a:lnTo>
                      <a:pt x="2550" y="282"/>
                    </a:lnTo>
                    <a:lnTo>
                      <a:pt x="2538" y="288"/>
                    </a:lnTo>
                    <a:lnTo>
                      <a:pt x="2514" y="288"/>
                    </a:lnTo>
                    <a:lnTo>
                      <a:pt x="2514" y="300"/>
                    </a:lnTo>
                    <a:lnTo>
                      <a:pt x="2496" y="318"/>
                    </a:lnTo>
                    <a:lnTo>
                      <a:pt x="2484" y="318"/>
                    </a:lnTo>
                    <a:lnTo>
                      <a:pt x="2478" y="312"/>
                    </a:lnTo>
                    <a:lnTo>
                      <a:pt x="2442" y="312"/>
                    </a:lnTo>
                    <a:lnTo>
                      <a:pt x="2406" y="288"/>
                    </a:lnTo>
                    <a:lnTo>
                      <a:pt x="2406" y="372"/>
                    </a:lnTo>
                    <a:lnTo>
                      <a:pt x="2412" y="384"/>
                    </a:lnTo>
                    <a:lnTo>
                      <a:pt x="2418" y="408"/>
                    </a:lnTo>
                    <a:lnTo>
                      <a:pt x="2424" y="420"/>
                    </a:lnTo>
                    <a:lnTo>
                      <a:pt x="2418" y="420"/>
                    </a:lnTo>
                    <a:lnTo>
                      <a:pt x="2418" y="438"/>
                    </a:lnTo>
                    <a:lnTo>
                      <a:pt x="2424" y="450"/>
                    </a:lnTo>
                    <a:lnTo>
                      <a:pt x="2436" y="456"/>
                    </a:lnTo>
                    <a:lnTo>
                      <a:pt x="2442" y="462"/>
                    </a:lnTo>
                    <a:lnTo>
                      <a:pt x="2460" y="462"/>
                    </a:lnTo>
                    <a:lnTo>
                      <a:pt x="2460" y="456"/>
                    </a:lnTo>
                    <a:lnTo>
                      <a:pt x="2454" y="456"/>
                    </a:lnTo>
                    <a:lnTo>
                      <a:pt x="2460" y="450"/>
                    </a:lnTo>
                    <a:lnTo>
                      <a:pt x="2514" y="450"/>
                    </a:lnTo>
                    <a:lnTo>
                      <a:pt x="2526" y="462"/>
                    </a:lnTo>
                    <a:lnTo>
                      <a:pt x="2538" y="468"/>
                    </a:lnTo>
                    <a:lnTo>
                      <a:pt x="2544" y="468"/>
                    </a:lnTo>
                    <a:lnTo>
                      <a:pt x="2550" y="462"/>
                    </a:lnTo>
                    <a:lnTo>
                      <a:pt x="2550" y="438"/>
                    </a:lnTo>
                    <a:lnTo>
                      <a:pt x="2616" y="438"/>
                    </a:lnTo>
                    <a:lnTo>
                      <a:pt x="2616" y="450"/>
                    </a:lnTo>
                    <a:lnTo>
                      <a:pt x="2622" y="456"/>
                    </a:lnTo>
                    <a:lnTo>
                      <a:pt x="2634" y="462"/>
                    </a:lnTo>
                    <a:lnTo>
                      <a:pt x="2652" y="462"/>
                    </a:lnTo>
                    <a:lnTo>
                      <a:pt x="2658" y="468"/>
                    </a:lnTo>
                    <a:lnTo>
                      <a:pt x="2670" y="474"/>
                    </a:lnTo>
                    <a:lnTo>
                      <a:pt x="2682" y="486"/>
                    </a:lnTo>
                    <a:lnTo>
                      <a:pt x="2706" y="498"/>
                    </a:lnTo>
                    <a:lnTo>
                      <a:pt x="2718" y="498"/>
                    </a:lnTo>
                    <a:lnTo>
                      <a:pt x="2724" y="510"/>
                    </a:lnTo>
                    <a:lnTo>
                      <a:pt x="2748" y="534"/>
                    </a:lnTo>
                    <a:lnTo>
                      <a:pt x="2748" y="540"/>
                    </a:lnTo>
                    <a:lnTo>
                      <a:pt x="2742" y="546"/>
                    </a:lnTo>
                    <a:lnTo>
                      <a:pt x="2706" y="546"/>
                    </a:lnTo>
                    <a:lnTo>
                      <a:pt x="2700" y="540"/>
                    </a:lnTo>
                    <a:lnTo>
                      <a:pt x="2688" y="534"/>
                    </a:lnTo>
                    <a:lnTo>
                      <a:pt x="2658" y="534"/>
                    </a:lnTo>
                    <a:lnTo>
                      <a:pt x="2652" y="540"/>
                    </a:lnTo>
                    <a:lnTo>
                      <a:pt x="2646" y="540"/>
                    </a:lnTo>
                    <a:lnTo>
                      <a:pt x="2628" y="558"/>
                    </a:lnTo>
                    <a:lnTo>
                      <a:pt x="2598" y="552"/>
                    </a:lnTo>
                    <a:lnTo>
                      <a:pt x="2598" y="570"/>
                    </a:lnTo>
                    <a:lnTo>
                      <a:pt x="2586" y="570"/>
                    </a:lnTo>
                    <a:lnTo>
                      <a:pt x="2550" y="588"/>
                    </a:lnTo>
                    <a:lnTo>
                      <a:pt x="2544" y="594"/>
                    </a:lnTo>
                    <a:lnTo>
                      <a:pt x="2550" y="606"/>
                    </a:lnTo>
                    <a:lnTo>
                      <a:pt x="2562" y="618"/>
                    </a:lnTo>
                    <a:lnTo>
                      <a:pt x="2538" y="642"/>
                    </a:lnTo>
                    <a:lnTo>
                      <a:pt x="2466" y="642"/>
                    </a:lnTo>
                    <a:lnTo>
                      <a:pt x="2466" y="666"/>
                    </a:lnTo>
                    <a:lnTo>
                      <a:pt x="2460" y="672"/>
                    </a:lnTo>
                    <a:lnTo>
                      <a:pt x="2454" y="684"/>
                    </a:lnTo>
                    <a:lnTo>
                      <a:pt x="2442" y="690"/>
                    </a:lnTo>
                    <a:lnTo>
                      <a:pt x="2424" y="690"/>
                    </a:lnTo>
                    <a:lnTo>
                      <a:pt x="2412" y="696"/>
                    </a:lnTo>
                    <a:lnTo>
                      <a:pt x="2388" y="696"/>
                    </a:lnTo>
                    <a:lnTo>
                      <a:pt x="2376" y="690"/>
                    </a:lnTo>
                    <a:lnTo>
                      <a:pt x="2370" y="684"/>
                    </a:lnTo>
                    <a:lnTo>
                      <a:pt x="2358" y="678"/>
                    </a:lnTo>
                    <a:lnTo>
                      <a:pt x="2352" y="672"/>
                    </a:lnTo>
                    <a:lnTo>
                      <a:pt x="2346" y="672"/>
                    </a:lnTo>
                    <a:lnTo>
                      <a:pt x="2340" y="666"/>
                    </a:lnTo>
                    <a:lnTo>
                      <a:pt x="2316" y="666"/>
                    </a:lnTo>
                    <a:lnTo>
                      <a:pt x="2304" y="672"/>
                    </a:lnTo>
                    <a:lnTo>
                      <a:pt x="2304" y="684"/>
                    </a:lnTo>
                    <a:lnTo>
                      <a:pt x="2298" y="696"/>
                    </a:lnTo>
                    <a:lnTo>
                      <a:pt x="2298" y="708"/>
                    </a:lnTo>
                    <a:lnTo>
                      <a:pt x="2304" y="720"/>
                    </a:lnTo>
                    <a:lnTo>
                      <a:pt x="2322" y="738"/>
                    </a:lnTo>
                    <a:lnTo>
                      <a:pt x="2334" y="744"/>
                    </a:lnTo>
                    <a:lnTo>
                      <a:pt x="2352" y="762"/>
                    </a:lnTo>
                    <a:lnTo>
                      <a:pt x="2364" y="768"/>
                    </a:lnTo>
                    <a:lnTo>
                      <a:pt x="2364" y="774"/>
                    </a:lnTo>
                    <a:lnTo>
                      <a:pt x="2358" y="780"/>
                    </a:lnTo>
                    <a:lnTo>
                      <a:pt x="2352" y="792"/>
                    </a:lnTo>
                    <a:lnTo>
                      <a:pt x="2340" y="804"/>
                    </a:lnTo>
                    <a:lnTo>
                      <a:pt x="2316" y="804"/>
                    </a:lnTo>
                    <a:lnTo>
                      <a:pt x="2316" y="810"/>
                    </a:lnTo>
                    <a:lnTo>
                      <a:pt x="2310" y="822"/>
                    </a:lnTo>
                    <a:lnTo>
                      <a:pt x="2310" y="828"/>
                    </a:lnTo>
                    <a:lnTo>
                      <a:pt x="2298" y="852"/>
                    </a:lnTo>
                    <a:lnTo>
                      <a:pt x="2286" y="858"/>
                    </a:lnTo>
                    <a:lnTo>
                      <a:pt x="2262" y="858"/>
                    </a:lnTo>
                    <a:lnTo>
                      <a:pt x="2244" y="882"/>
                    </a:lnTo>
                    <a:lnTo>
                      <a:pt x="2088" y="882"/>
                    </a:lnTo>
                    <a:lnTo>
                      <a:pt x="2070" y="894"/>
                    </a:lnTo>
                    <a:lnTo>
                      <a:pt x="2010" y="930"/>
                    </a:lnTo>
                    <a:lnTo>
                      <a:pt x="1992" y="942"/>
                    </a:lnTo>
                    <a:lnTo>
                      <a:pt x="1986" y="948"/>
                    </a:lnTo>
                    <a:lnTo>
                      <a:pt x="1968" y="948"/>
                    </a:lnTo>
                    <a:lnTo>
                      <a:pt x="1962" y="942"/>
                    </a:lnTo>
                    <a:lnTo>
                      <a:pt x="1956" y="942"/>
                    </a:lnTo>
                    <a:lnTo>
                      <a:pt x="1950" y="930"/>
                    </a:lnTo>
                    <a:lnTo>
                      <a:pt x="1950" y="924"/>
                    </a:lnTo>
                    <a:lnTo>
                      <a:pt x="1938" y="924"/>
                    </a:lnTo>
                    <a:lnTo>
                      <a:pt x="1926" y="930"/>
                    </a:lnTo>
                    <a:lnTo>
                      <a:pt x="1914" y="930"/>
                    </a:lnTo>
                    <a:lnTo>
                      <a:pt x="1908" y="936"/>
                    </a:lnTo>
                    <a:lnTo>
                      <a:pt x="1896" y="936"/>
                    </a:lnTo>
                    <a:lnTo>
                      <a:pt x="1890" y="930"/>
                    </a:lnTo>
                    <a:lnTo>
                      <a:pt x="1866" y="918"/>
                    </a:lnTo>
                    <a:lnTo>
                      <a:pt x="1848" y="912"/>
                    </a:lnTo>
                    <a:lnTo>
                      <a:pt x="1800" y="912"/>
                    </a:lnTo>
                    <a:lnTo>
                      <a:pt x="1776" y="906"/>
                    </a:lnTo>
                    <a:lnTo>
                      <a:pt x="1764" y="900"/>
                    </a:lnTo>
                    <a:lnTo>
                      <a:pt x="1758" y="888"/>
                    </a:lnTo>
                    <a:lnTo>
                      <a:pt x="1740" y="870"/>
                    </a:lnTo>
                    <a:lnTo>
                      <a:pt x="1728" y="870"/>
                    </a:lnTo>
                    <a:lnTo>
                      <a:pt x="1710" y="864"/>
                    </a:lnTo>
                    <a:lnTo>
                      <a:pt x="1656" y="864"/>
                    </a:lnTo>
                    <a:lnTo>
                      <a:pt x="1650" y="858"/>
                    </a:lnTo>
                    <a:lnTo>
                      <a:pt x="1644" y="858"/>
                    </a:lnTo>
                    <a:lnTo>
                      <a:pt x="1632" y="852"/>
                    </a:lnTo>
                    <a:lnTo>
                      <a:pt x="1620" y="852"/>
                    </a:lnTo>
                    <a:lnTo>
                      <a:pt x="1614" y="858"/>
                    </a:lnTo>
                    <a:lnTo>
                      <a:pt x="1602" y="864"/>
                    </a:lnTo>
                    <a:lnTo>
                      <a:pt x="1596" y="870"/>
                    </a:lnTo>
                    <a:lnTo>
                      <a:pt x="1560" y="864"/>
                    </a:lnTo>
                    <a:lnTo>
                      <a:pt x="1512" y="864"/>
                    </a:lnTo>
                    <a:lnTo>
                      <a:pt x="1458" y="858"/>
                    </a:lnTo>
                    <a:lnTo>
                      <a:pt x="1398" y="864"/>
                    </a:lnTo>
                    <a:lnTo>
                      <a:pt x="1386" y="858"/>
                    </a:lnTo>
                    <a:lnTo>
                      <a:pt x="1380" y="846"/>
                    </a:lnTo>
                    <a:lnTo>
                      <a:pt x="1368" y="840"/>
                    </a:lnTo>
                    <a:lnTo>
                      <a:pt x="1338" y="810"/>
                    </a:lnTo>
                    <a:lnTo>
                      <a:pt x="1332" y="798"/>
                    </a:lnTo>
                    <a:lnTo>
                      <a:pt x="1290" y="756"/>
                    </a:lnTo>
                    <a:lnTo>
                      <a:pt x="1278" y="732"/>
                    </a:lnTo>
                    <a:lnTo>
                      <a:pt x="1242" y="732"/>
                    </a:lnTo>
                    <a:lnTo>
                      <a:pt x="1236" y="726"/>
                    </a:lnTo>
                    <a:lnTo>
                      <a:pt x="1224" y="726"/>
                    </a:lnTo>
                    <a:lnTo>
                      <a:pt x="1200" y="714"/>
                    </a:lnTo>
                    <a:lnTo>
                      <a:pt x="1194" y="714"/>
                    </a:lnTo>
                    <a:lnTo>
                      <a:pt x="1188" y="708"/>
                    </a:lnTo>
                    <a:lnTo>
                      <a:pt x="1182" y="708"/>
                    </a:lnTo>
                    <a:lnTo>
                      <a:pt x="1176" y="696"/>
                    </a:lnTo>
                    <a:lnTo>
                      <a:pt x="1164" y="690"/>
                    </a:lnTo>
                    <a:lnTo>
                      <a:pt x="1158" y="690"/>
                    </a:lnTo>
                    <a:lnTo>
                      <a:pt x="1146" y="684"/>
                    </a:lnTo>
                    <a:lnTo>
                      <a:pt x="1140" y="684"/>
                    </a:lnTo>
                    <a:lnTo>
                      <a:pt x="1134" y="678"/>
                    </a:lnTo>
                    <a:lnTo>
                      <a:pt x="1038" y="678"/>
                    </a:lnTo>
                    <a:lnTo>
                      <a:pt x="1014" y="672"/>
                    </a:lnTo>
                    <a:lnTo>
                      <a:pt x="996" y="666"/>
                    </a:lnTo>
                    <a:lnTo>
                      <a:pt x="990" y="666"/>
                    </a:lnTo>
                    <a:lnTo>
                      <a:pt x="978" y="660"/>
                    </a:lnTo>
                    <a:lnTo>
                      <a:pt x="966" y="660"/>
                    </a:lnTo>
                    <a:lnTo>
                      <a:pt x="954" y="654"/>
                    </a:lnTo>
                    <a:lnTo>
                      <a:pt x="948" y="648"/>
                    </a:lnTo>
                    <a:lnTo>
                      <a:pt x="942" y="636"/>
                    </a:lnTo>
                    <a:lnTo>
                      <a:pt x="936" y="618"/>
                    </a:lnTo>
                    <a:lnTo>
                      <a:pt x="936" y="606"/>
                    </a:lnTo>
                    <a:lnTo>
                      <a:pt x="948" y="594"/>
                    </a:lnTo>
                    <a:lnTo>
                      <a:pt x="948" y="588"/>
                    </a:lnTo>
                    <a:lnTo>
                      <a:pt x="942" y="582"/>
                    </a:lnTo>
                    <a:lnTo>
                      <a:pt x="936" y="570"/>
                    </a:lnTo>
                    <a:lnTo>
                      <a:pt x="930" y="564"/>
                    </a:lnTo>
                    <a:lnTo>
                      <a:pt x="930" y="552"/>
                    </a:lnTo>
                    <a:lnTo>
                      <a:pt x="924" y="540"/>
                    </a:lnTo>
                    <a:lnTo>
                      <a:pt x="912" y="528"/>
                    </a:lnTo>
                    <a:lnTo>
                      <a:pt x="888" y="510"/>
                    </a:lnTo>
                    <a:lnTo>
                      <a:pt x="876" y="492"/>
                    </a:lnTo>
                    <a:lnTo>
                      <a:pt x="870" y="480"/>
                    </a:lnTo>
                    <a:lnTo>
                      <a:pt x="852" y="462"/>
                    </a:lnTo>
                    <a:lnTo>
                      <a:pt x="834" y="456"/>
                    </a:lnTo>
                    <a:lnTo>
                      <a:pt x="822" y="450"/>
                    </a:lnTo>
                    <a:lnTo>
                      <a:pt x="810" y="450"/>
                    </a:lnTo>
                    <a:lnTo>
                      <a:pt x="804" y="444"/>
                    </a:lnTo>
                    <a:lnTo>
                      <a:pt x="786" y="432"/>
                    </a:lnTo>
                    <a:lnTo>
                      <a:pt x="750" y="444"/>
                    </a:lnTo>
                    <a:lnTo>
                      <a:pt x="726" y="420"/>
                    </a:lnTo>
                    <a:lnTo>
                      <a:pt x="720" y="408"/>
                    </a:lnTo>
                    <a:lnTo>
                      <a:pt x="708" y="408"/>
                    </a:lnTo>
                    <a:lnTo>
                      <a:pt x="696" y="402"/>
                    </a:lnTo>
                    <a:lnTo>
                      <a:pt x="684" y="402"/>
                    </a:lnTo>
                    <a:lnTo>
                      <a:pt x="672" y="396"/>
                    </a:lnTo>
                    <a:lnTo>
                      <a:pt x="672" y="378"/>
                    </a:lnTo>
                    <a:lnTo>
                      <a:pt x="648" y="378"/>
                    </a:lnTo>
                    <a:lnTo>
                      <a:pt x="654" y="372"/>
                    </a:lnTo>
                    <a:lnTo>
                      <a:pt x="654" y="360"/>
                    </a:lnTo>
                    <a:lnTo>
                      <a:pt x="648" y="354"/>
                    </a:lnTo>
                    <a:lnTo>
                      <a:pt x="612" y="354"/>
                    </a:lnTo>
                    <a:lnTo>
                      <a:pt x="600" y="348"/>
                    </a:lnTo>
                    <a:lnTo>
                      <a:pt x="582" y="348"/>
                    </a:lnTo>
                    <a:lnTo>
                      <a:pt x="576" y="354"/>
                    </a:lnTo>
                    <a:lnTo>
                      <a:pt x="576" y="360"/>
                    </a:lnTo>
                    <a:lnTo>
                      <a:pt x="594" y="378"/>
                    </a:lnTo>
                    <a:lnTo>
                      <a:pt x="594" y="390"/>
                    </a:lnTo>
                    <a:lnTo>
                      <a:pt x="588" y="396"/>
                    </a:lnTo>
                    <a:lnTo>
                      <a:pt x="546" y="396"/>
                    </a:lnTo>
                    <a:lnTo>
                      <a:pt x="534" y="408"/>
                    </a:lnTo>
                    <a:lnTo>
                      <a:pt x="534" y="426"/>
                    </a:lnTo>
                    <a:lnTo>
                      <a:pt x="546" y="450"/>
                    </a:lnTo>
                    <a:lnTo>
                      <a:pt x="558" y="462"/>
                    </a:lnTo>
                    <a:lnTo>
                      <a:pt x="570" y="486"/>
                    </a:lnTo>
                    <a:lnTo>
                      <a:pt x="570" y="504"/>
                    </a:lnTo>
                    <a:lnTo>
                      <a:pt x="564" y="510"/>
                    </a:lnTo>
                    <a:lnTo>
                      <a:pt x="546" y="510"/>
                    </a:lnTo>
                    <a:lnTo>
                      <a:pt x="528" y="528"/>
                    </a:lnTo>
                    <a:lnTo>
                      <a:pt x="516" y="516"/>
                    </a:lnTo>
                    <a:lnTo>
                      <a:pt x="468" y="516"/>
                    </a:lnTo>
                    <a:lnTo>
                      <a:pt x="444" y="504"/>
                    </a:lnTo>
                    <a:lnTo>
                      <a:pt x="432" y="504"/>
                    </a:lnTo>
                    <a:lnTo>
                      <a:pt x="420" y="498"/>
                    </a:lnTo>
                    <a:lnTo>
                      <a:pt x="408" y="498"/>
                    </a:lnTo>
                    <a:lnTo>
                      <a:pt x="408" y="636"/>
                    </a:lnTo>
                    <a:lnTo>
                      <a:pt x="414" y="636"/>
                    </a:lnTo>
                    <a:lnTo>
                      <a:pt x="420" y="642"/>
                    </a:lnTo>
                    <a:lnTo>
                      <a:pt x="426" y="642"/>
                    </a:lnTo>
                    <a:lnTo>
                      <a:pt x="432" y="648"/>
                    </a:lnTo>
                    <a:lnTo>
                      <a:pt x="432" y="660"/>
                    </a:lnTo>
                    <a:lnTo>
                      <a:pt x="426" y="666"/>
                    </a:lnTo>
                    <a:lnTo>
                      <a:pt x="420" y="666"/>
                    </a:lnTo>
                    <a:lnTo>
                      <a:pt x="408" y="654"/>
                    </a:lnTo>
                    <a:lnTo>
                      <a:pt x="390" y="666"/>
                    </a:lnTo>
                    <a:lnTo>
                      <a:pt x="384" y="660"/>
                    </a:lnTo>
                    <a:lnTo>
                      <a:pt x="378" y="648"/>
                    </a:lnTo>
                    <a:lnTo>
                      <a:pt x="372" y="642"/>
                    </a:lnTo>
                    <a:lnTo>
                      <a:pt x="360" y="642"/>
                    </a:lnTo>
                    <a:lnTo>
                      <a:pt x="324" y="660"/>
                    </a:lnTo>
                    <a:lnTo>
                      <a:pt x="312" y="660"/>
                    </a:lnTo>
                    <a:lnTo>
                      <a:pt x="300" y="666"/>
                    </a:lnTo>
                    <a:lnTo>
                      <a:pt x="288" y="666"/>
                    </a:lnTo>
                    <a:lnTo>
                      <a:pt x="276" y="672"/>
                    </a:lnTo>
                    <a:lnTo>
                      <a:pt x="270" y="678"/>
                    </a:lnTo>
                    <a:lnTo>
                      <a:pt x="270" y="684"/>
                    </a:lnTo>
                    <a:lnTo>
                      <a:pt x="276" y="690"/>
                    </a:lnTo>
                    <a:lnTo>
                      <a:pt x="288" y="696"/>
                    </a:lnTo>
                    <a:lnTo>
                      <a:pt x="306" y="696"/>
                    </a:lnTo>
                    <a:lnTo>
                      <a:pt x="306" y="726"/>
                    </a:lnTo>
                    <a:lnTo>
                      <a:pt x="318" y="750"/>
                    </a:lnTo>
                    <a:lnTo>
                      <a:pt x="360" y="792"/>
                    </a:lnTo>
                    <a:lnTo>
                      <a:pt x="366" y="804"/>
                    </a:lnTo>
                    <a:lnTo>
                      <a:pt x="378" y="810"/>
                    </a:lnTo>
                    <a:lnTo>
                      <a:pt x="378" y="822"/>
                    </a:lnTo>
                    <a:lnTo>
                      <a:pt x="360" y="822"/>
                    </a:lnTo>
                    <a:lnTo>
                      <a:pt x="354" y="828"/>
                    </a:lnTo>
                    <a:lnTo>
                      <a:pt x="354" y="834"/>
                    </a:lnTo>
                    <a:lnTo>
                      <a:pt x="372" y="852"/>
                    </a:lnTo>
                    <a:lnTo>
                      <a:pt x="348" y="852"/>
                    </a:lnTo>
                    <a:lnTo>
                      <a:pt x="348" y="864"/>
                    </a:lnTo>
                    <a:lnTo>
                      <a:pt x="354" y="870"/>
                    </a:lnTo>
                    <a:lnTo>
                      <a:pt x="354" y="882"/>
                    </a:lnTo>
                    <a:lnTo>
                      <a:pt x="372" y="900"/>
                    </a:lnTo>
                    <a:lnTo>
                      <a:pt x="372" y="912"/>
                    </a:lnTo>
                    <a:lnTo>
                      <a:pt x="366" y="918"/>
                    </a:lnTo>
                    <a:lnTo>
                      <a:pt x="342" y="918"/>
                    </a:lnTo>
                    <a:lnTo>
                      <a:pt x="294" y="936"/>
                    </a:lnTo>
                    <a:lnTo>
                      <a:pt x="282" y="948"/>
                    </a:lnTo>
                    <a:lnTo>
                      <a:pt x="270" y="954"/>
                    </a:lnTo>
                    <a:lnTo>
                      <a:pt x="264" y="960"/>
                    </a:lnTo>
                    <a:lnTo>
                      <a:pt x="264" y="978"/>
                    </a:lnTo>
                    <a:lnTo>
                      <a:pt x="258" y="990"/>
                    </a:lnTo>
                    <a:lnTo>
                      <a:pt x="252" y="996"/>
                    </a:lnTo>
                    <a:lnTo>
                      <a:pt x="234" y="996"/>
                    </a:lnTo>
                    <a:lnTo>
                      <a:pt x="216" y="990"/>
                    </a:lnTo>
                    <a:lnTo>
                      <a:pt x="186" y="990"/>
                    </a:lnTo>
                    <a:lnTo>
                      <a:pt x="168" y="1008"/>
                    </a:lnTo>
                    <a:lnTo>
                      <a:pt x="162" y="1020"/>
                    </a:lnTo>
                    <a:lnTo>
                      <a:pt x="162" y="1044"/>
                    </a:lnTo>
                    <a:lnTo>
                      <a:pt x="156" y="1050"/>
                    </a:lnTo>
                    <a:lnTo>
                      <a:pt x="126" y="1044"/>
                    </a:lnTo>
                    <a:lnTo>
                      <a:pt x="114" y="1050"/>
                    </a:lnTo>
                    <a:lnTo>
                      <a:pt x="108" y="1044"/>
                    </a:lnTo>
                    <a:lnTo>
                      <a:pt x="102" y="1032"/>
                    </a:lnTo>
                    <a:lnTo>
                      <a:pt x="96" y="1026"/>
                    </a:lnTo>
                    <a:lnTo>
                      <a:pt x="84" y="1026"/>
                    </a:lnTo>
                    <a:lnTo>
                      <a:pt x="72" y="1038"/>
                    </a:lnTo>
                    <a:lnTo>
                      <a:pt x="48" y="1038"/>
                    </a:lnTo>
                    <a:lnTo>
                      <a:pt x="48" y="1056"/>
                    </a:lnTo>
                    <a:lnTo>
                      <a:pt x="36" y="1062"/>
                    </a:lnTo>
                    <a:lnTo>
                      <a:pt x="30" y="1068"/>
                    </a:lnTo>
                    <a:lnTo>
                      <a:pt x="18" y="1068"/>
                    </a:lnTo>
                    <a:lnTo>
                      <a:pt x="6" y="1074"/>
                    </a:lnTo>
                    <a:lnTo>
                      <a:pt x="0" y="1080"/>
                    </a:lnTo>
                    <a:lnTo>
                      <a:pt x="0" y="1086"/>
                    </a:lnTo>
                    <a:lnTo>
                      <a:pt x="12" y="1092"/>
                    </a:lnTo>
                    <a:lnTo>
                      <a:pt x="18" y="1104"/>
                    </a:lnTo>
                    <a:lnTo>
                      <a:pt x="18" y="1116"/>
                    </a:lnTo>
                    <a:lnTo>
                      <a:pt x="0" y="1116"/>
                    </a:lnTo>
                    <a:lnTo>
                      <a:pt x="0" y="1140"/>
                    </a:lnTo>
                    <a:lnTo>
                      <a:pt x="18" y="1140"/>
                    </a:lnTo>
                    <a:lnTo>
                      <a:pt x="18" y="1152"/>
                    </a:lnTo>
                    <a:lnTo>
                      <a:pt x="12" y="1164"/>
                    </a:lnTo>
                    <a:lnTo>
                      <a:pt x="12" y="1176"/>
                    </a:lnTo>
                    <a:lnTo>
                      <a:pt x="24" y="1188"/>
                    </a:lnTo>
                    <a:lnTo>
                      <a:pt x="36" y="1188"/>
                    </a:lnTo>
                    <a:lnTo>
                      <a:pt x="42" y="1182"/>
                    </a:lnTo>
                    <a:lnTo>
                      <a:pt x="66" y="1182"/>
                    </a:lnTo>
                    <a:lnTo>
                      <a:pt x="78" y="1188"/>
                    </a:lnTo>
                    <a:lnTo>
                      <a:pt x="84" y="1188"/>
                    </a:lnTo>
                    <a:lnTo>
                      <a:pt x="96" y="1194"/>
                    </a:lnTo>
                    <a:lnTo>
                      <a:pt x="102" y="1200"/>
                    </a:lnTo>
                    <a:lnTo>
                      <a:pt x="102" y="1242"/>
                    </a:lnTo>
                    <a:lnTo>
                      <a:pt x="114" y="1266"/>
                    </a:lnTo>
                    <a:lnTo>
                      <a:pt x="120" y="1272"/>
                    </a:lnTo>
                    <a:lnTo>
                      <a:pt x="126" y="1272"/>
                    </a:lnTo>
                    <a:lnTo>
                      <a:pt x="138" y="1284"/>
                    </a:lnTo>
                    <a:lnTo>
                      <a:pt x="132" y="1290"/>
                    </a:lnTo>
                    <a:lnTo>
                      <a:pt x="102" y="1290"/>
                    </a:lnTo>
                    <a:lnTo>
                      <a:pt x="96" y="1296"/>
                    </a:lnTo>
                    <a:lnTo>
                      <a:pt x="96" y="1308"/>
                    </a:lnTo>
                    <a:lnTo>
                      <a:pt x="108" y="1314"/>
                    </a:lnTo>
                    <a:lnTo>
                      <a:pt x="114" y="1320"/>
                    </a:lnTo>
                    <a:lnTo>
                      <a:pt x="162" y="1320"/>
                    </a:lnTo>
                    <a:lnTo>
                      <a:pt x="168" y="1332"/>
                    </a:lnTo>
                    <a:lnTo>
                      <a:pt x="180" y="1332"/>
                    </a:lnTo>
                    <a:lnTo>
                      <a:pt x="192" y="1338"/>
                    </a:lnTo>
                    <a:lnTo>
                      <a:pt x="204" y="1350"/>
                    </a:lnTo>
                    <a:lnTo>
                      <a:pt x="216" y="1374"/>
                    </a:lnTo>
                    <a:lnTo>
                      <a:pt x="216" y="1398"/>
                    </a:lnTo>
                    <a:lnTo>
                      <a:pt x="252" y="1410"/>
                    </a:lnTo>
                    <a:lnTo>
                      <a:pt x="264" y="1404"/>
                    </a:lnTo>
                    <a:lnTo>
                      <a:pt x="264" y="1410"/>
                    </a:lnTo>
                    <a:lnTo>
                      <a:pt x="270" y="1416"/>
                    </a:lnTo>
                    <a:lnTo>
                      <a:pt x="276" y="1428"/>
                    </a:lnTo>
                    <a:lnTo>
                      <a:pt x="288" y="1434"/>
                    </a:lnTo>
                    <a:lnTo>
                      <a:pt x="366" y="1434"/>
                    </a:lnTo>
                    <a:lnTo>
                      <a:pt x="378" y="1428"/>
                    </a:lnTo>
                    <a:lnTo>
                      <a:pt x="384" y="1416"/>
                    </a:lnTo>
                    <a:lnTo>
                      <a:pt x="402" y="1410"/>
                    </a:lnTo>
                    <a:lnTo>
                      <a:pt x="426" y="1398"/>
                    </a:lnTo>
                    <a:lnTo>
                      <a:pt x="438" y="1398"/>
                    </a:lnTo>
                    <a:lnTo>
                      <a:pt x="456" y="1410"/>
                    </a:lnTo>
                    <a:lnTo>
                      <a:pt x="480" y="1434"/>
                    </a:lnTo>
                    <a:lnTo>
                      <a:pt x="522" y="1434"/>
                    </a:lnTo>
                    <a:lnTo>
                      <a:pt x="522" y="1494"/>
                    </a:lnTo>
                    <a:lnTo>
                      <a:pt x="516" y="1500"/>
                    </a:lnTo>
                    <a:lnTo>
                      <a:pt x="498" y="1500"/>
                    </a:lnTo>
                    <a:lnTo>
                      <a:pt x="498" y="1506"/>
                    </a:lnTo>
                    <a:lnTo>
                      <a:pt x="504" y="1512"/>
                    </a:lnTo>
                    <a:lnTo>
                      <a:pt x="504" y="1536"/>
                    </a:lnTo>
                    <a:lnTo>
                      <a:pt x="498" y="1548"/>
                    </a:lnTo>
                    <a:lnTo>
                      <a:pt x="486" y="1554"/>
                    </a:lnTo>
                    <a:lnTo>
                      <a:pt x="456" y="1554"/>
                    </a:lnTo>
                    <a:lnTo>
                      <a:pt x="474" y="1578"/>
                    </a:lnTo>
                    <a:lnTo>
                      <a:pt x="456" y="1584"/>
                    </a:lnTo>
                    <a:lnTo>
                      <a:pt x="456" y="1608"/>
                    </a:lnTo>
                    <a:lnTo>
                      <a:pt x="480" y="1620"/>
                    </a:lnTo>
                    <a:lnTo>
                      <a:pt x="492" y="1620"/>
                    </a:lnTo>
                    <a:lnTo>
                      <a:pt x="498" y="1626"/>
                    </a:lnTo>
                    <a:lnTo>
                      <a:pt x="504" y="1638"/>
                    </a:lnTo>
                    <a:lnTo>
                      <a:pt x="522" y="1656"/>
                    </a:lnTo>
                    <a:lnTo>
                      <a:pt x="522" y="1668"/>
                    </a:lnTo>
                    <a:lnTo>
                      <a:pt x="510" y="1674"/>
                    </a:lnTo>
                    <a:lnTo>
                      <a:pt x="504" y="1680"/>
                    </a:lnTo>
                    <a:lnTo>
                      <a:pt x="498" y="1680"/>
                    </a:lnTo>
                    <a:lnTo>
                      <a:pt x="486" y="1698"/>
                    </a:lnTo>
                    <a:lnTo>
                      <a:pt x="474" y="1686"/>
                    </a:lnTo>
                    <a:lnTo>
                      <a:pt x="474" y="1668"/>
                    </a:lnTo>
                    <a:lnTo>
                      <a:pt x="462" y="1668"/>
                    </a:lnTo>
                    <a:lnTo>
                      <a:pt x="456" y="1674"/>
                    </a:lnTo>
                    <a:lnTo>
                      <a:pt x="450" y="1674"/>
                    </a:lnTo>
                    <a:lnTo>
                      <a:pt x="450" y="1692"/>
                    </a:lnTo>
                    <a:lnTo>
                      <a:pt x="456" y="1698"/>
                    </a:lnTo>
                    <a:lnTo>
                      <a:pt x="462" y="1710"/>
                    </a:lnTo>
                    <a:lnTo>
                      <a:pt x="474" y="1722"/>
                    </a:lnTo>
                    <a:lnTo>
                      <a:pt x="480" y="1722"/>
                    </a:lnTo>
                    <a:lnTo>
                      <a:pt x="480" y="1734"/>
                    </a:lnTo>
                    <a:lnTo>
                      <a:pt x="474" y="1740"/>
                    </a:lnTo>
                    <a:lnTo>
                      <a:pt x="474" y="1758"/>
                    </a:lnTo>
                    <a:lnTo>
                      <a:pt x="480" y="1764"/>
                    </a:lnTo>
                    <a:lnTo>
                      <a:pt x="510" y="1764"/>
                    </a:lnTo>
                    <a:lnTo>
                      <a:pt x="516" y="1776"/>
                    </a:lnTo>
                    <a:lnTo>
                      <a:pt x="528" y="1788"/>
                    </a:lnTo>
                    <a:lnTo>
                      <a:pt x="540" y="1794"/>
                    </a:lnTo>
                    <a:lnTo>
                      <a:pt x="552" y="1794"/>
                    </a:lnTo>
                    <a:lnTo>
                      <a:pt x="558" y="1800"/>
                    </a:lnTo>
                    <a:lnTo>
                      <a:pt x="564" y="1800"/>
                    </a:lnTo>
                    <a:lnTo>
                      <a:pt x="582" y="1818"/>
                    </a:lnTo>
                    <a:lnTo>
                      <a:pt x="600" y="1812"/>
                    </a:lnTo>
                    <a:lnTo>
                      <a:pt x="600" y="1830"/>
                    </a:lnTo>
                    <a:lnTo>
                      <a:pt x="612" y="1836"/>
                    </a:lnTo>
                    <a:lnTo>
                      <a:pt x="624" y="1836"/>
                    </a:lnTo>
                    <a:lnTo>
                      <a:pt x="666" y="1872"/>
                    </a:lnTo>
                    <a:lnTo>
                      <a:pt x="690" y="1854"/>
                    </a:lnTo>
                    <a:lnTo>
                      <a:pt x="696" y="1848"/>
                    </a:lnTo>
                    <a:lnTo>
                      <a:pt x="708" y="1842"/>
                    </a:lnTo>
                    <a:lnTo>
                      <a:pt x="720" y="1842"/>
                    </a:lnTo>
                    <a:lnTo>
                      <a:pt x="732" y="1848"/>
                    </a:lnTo>
                    <a:lnTo>
                      <a:pt x="744" y="1860"/>
                    </a:lnTo>
                    <a:lnTo>
                      <a:pt x="750" y="1872"/>
                    </a:lnTo>
                    <a:lnTo>
                      <a:pt x="762" y="1878"/>
                    </a:lnTo>
                    <a:lnTo>
                      <a:pt x="780" y="1896"/>
                    </a:lnTo>
                    <a:lnTo>
                      <a:pt x="822" y="1902"/>
                    </a:lnTo>
                    <a:lnTo>
                      <a:pt x="828" y="1914"/>
                    </a:lnTo>
                    <a:lnTo>
                      <a:pt x="834" y="1920"/>
                    </a:lnTo>
                    <a:lnTo>
                      <a:pt x="840" y="1932"/>
                    </a:lnTo>
                    <a:lnTo>
                      <a:pt x="846" y="1938"/>
                    </a:lnTo>
                    <a:lnTo>
                      <a:pt x="846" y="1950"/>
                    </a:lnTo>
                    <a:lnTo>
                      <a:pt x="858" y="1950"/>
                    </a:lnTo>
                    <a:lnTo>
                      <a:pt x="858" y="1944"/>
                    </a:lnTo>
                    <a:lnTo>
                      <a:pt x="864" y="1938"/>
                    </a:lnTo>
                    <a:lnTo>
                      <a:pt x="870" y="1926"/>
                    </a:lnTo>
                    <a:lnTo>
                      <a:pt x="882" y="1926"/>
                    </a:lnTo>
                    <a:lnTo>
                      <a:pt x="888" y="1932"/>
                    </a:lnTo>
                    <a:lnTo>
                      <a:pt x="894" y="1944"/>
                    </a:lnTo>
                    <a:lnTo>
                      <a:pt x="894" y="1962"/>
                    </a:lnTo>
                    <a:lnTo>
                      <a:pt x="924" y="1992"/>
                    </a:lnTo>
                    <a:lnTo>
                      <a:pt x="936" y="1998"/>
                    </a:lnTo>
                    <a:lnTo>
                      <a:pt x="942" y="1992"/>
                    </a:lnTo>
                    <a:lnTo>
                      <a:pt x="954" y="1986"/>
                    </a:lnTo>
                    <a:lnTo>
                      <a:pt x="960" y="1986"/>
                    </a:lnTo>
                    <a:lnTo>
                      <a:pt x="966" y="1992"/>
                    </a:lnTo>
                    <a:lnTo>
                      <a:pt x="966" y="1998"/>
                    </a:lnTo>
                    <a:lnTo>
                      <a:pt x="960" y="2004"/>
                    </a:lnTo>
                    <a:lnTo>
                      <a:pt x="960" y="2010"/>
                    </a:lnTo>
                    <a:lnTo>
                      <a:pt x="966" y="2010"/>
                    </a:lnTo>
                    <a:lnTo>
                      <a:pt x="972" y="2016"/>
                    </a:lnTo>
                    <a:lnTo>
                      <a:pt x="990" y="2022"/>
                    </a:lnTo>
                    <a:lnTo>
                      <a:pt x="1002" y="2022"/>
                    </a:lnTo>
                    <a:lnTo>
                      <a:pt x="1008" y="2016"/>
                    </a:lnTo>
                    <a:lnTo>
                      <a:pt x="1014" y="2016"/>
                    </a:lnTo>
                    <a:lnTo>
                      <a:pt x="1014" y="2034"/>
                    </a:lnTo>
                    <a:lnTo>
                      <a:pt x="1020" y="2040"/>
                    </a:lnTo>
                    <a:lnTo>
                      <a:pt x="1032" y="2040"/>
                    </a:lnTo>
                    <a:lnTo>
                      <a:pt x="1044" y="2028"/>
                    </a:lnTo>
                    <a:lnTo>
                      <a:pt x="1044" y="2022"/>
                    </a:lnTo>
                    <a:lnTo>
                      <a:pt x="1044" y="2034"/>
                    </a:lnTo>
                    <a:lnTo>
                      <a:pt x="1050" y="2040"/>
                    </a:lnTo>
                    <a:lnTo>
                      <a:pt x="1068" y="2040"/>
                    </a:lnTo>
                    <a:lnTo>
                      <a:pt x="1074" y="2034"/>
                    </a:lnTo>
                    <a:lnTo>
                      <a:pt x="1074" y="2028"/>
                    </a:lnTo>
                    <a:lnTo>
                      <a:pt x="1086" y="2034"/>
                    </a:lnTo>
                    <a:lnTo>
                      <a:pt x="1092" y="2040"/>
                    </a:lnTo>
                    <a:lnTo>
                      <a:pt x="1110" y="2046"/>
                    </a:lnTo>
                    <a:lnTo>
                      <a:pt x="1134" y="2058"/>
                    </a:lnTo>
                    <a:lnTo>
                      <a:pt x="1158" y="2058"/>
                    </a:lnTo>
                    <a:lnTo>
                      <a:pt x="1176" y="2040"/>
                    </a:lnTo>
                    <a:lnTo>
                      <a:pt x="1194" y="2034"/>
                    </a:lnTo>
                    <a:lnTo>
                      <a:pt x="1206" y="2028"/>
                    </a:lnTo>
                    <a:lnTo>
                      <a:pt x="1212" y="2028"/>
                    </a:lnTo>
                    <a:lnTo>
                      <a:pt x="1224" y="2034"/>
                    </a:lnTo>
                    <a:lnTo>
                      <a:pt x="1230" y="2040"/>
                    </a:lnTo>
                    <a:lnTo>
                      <a:pt x="1230" y="2088"/>
                    </a:lnTo>
                    <a:lnTo>
                      <a:pt x="1236" y="2094"/>
                    </a:lnTo>
                    <a:lnTo>
                      <a:pt x="1242" y="2094"/>
                    </a:lnTo>
                    <a:lnTo>
                      <a:pt x="1242" y="2088"/>
                    </a:lnTo>
                    <a:lnTo>
                      <a:pt x="1248" y="2082"/>
                    </a:lnTo>
                    <a:lnTo>
                      <a:pt x="1254" y="2070"/>
                    </a:lnTo>
                    <a:lnTo>
                      <a:pt x="1266" y="2052"/>
                    </a:lnTo>
                    <a:lnTo>
                      <a:pt x="1272" y="2040"/>
                    </a:lnTo>
                    <a:lnTo>
                      <a:pt x="1284" y="2028"/>
                    </a:lnTo>
                    <a:lnTo>
                      <a:pt x="1290" y="2016"/>
                    </a:lnTo>
                    <a:lnTo>
                      <a:pt x="1302" y="2016"/>
                    </a:lnTo>
                    <a:lnTo>
                      <a:pt x="1314" y="2022"/>
                    </a:lnTo>
                    <a:lnTo>
                      <a:pt x="1338" y="2022"/>
                    </a:lnTo>
                    <a:lnTo>
                      <a:pt x="1338" y="2046"/>
                    </a:lnTo>
                    <a:lnTo>
                      <a:pt x="1344" y="2046"/>
                    </a:lnTo>
                    <a:lnTo>
                      <a:pt x="1350" y="2040"/>
                    </a:lnTo>
                    <a:lnTo>
                      <a:pt x="1362" y="2034"/>
                    </a:lnTo>
                    <a:lnTo>
                      <a:pt x="1374" y="2034"/>
                    </a:lnTo>
                    <a:lnTo>
                      <a:pt x="1386" y="2028"/>
                    </a:lnTo>
                    <a:lnTo>
                      <a:pt x="1398" y="2028"/>
                    </a:lnTo>
                    <a:lnTo>
                      <a:pt x="1410" y="2034"/>
                    </a:lnTo>
                    <a:lnTo>
                      <a:pt x="1422" y="2046"/>
                    </a:lnTo>
                    <a:lnTo>
                      <a:pt x="1428" y="2058"/>
                    </a:lnTo>
                    <a:lnTo>
                      <a:pt x="1428" y="2064"/>
                    </a:lnTo>
                    <a:lnTo>
                      <a:pt x="1482" y="2064"/>
                    </a:lnTo>
                    <a:lnTo>
                      <a:pt x="1494" y="2052"/>
                    </a:lnTo>
                    <a:lnTo>
                      <a:pt x="1494" y="2034"/>
                    </a:lnTo>
                    <a:lnTo>
                      <a:pt x="1488" y="2022"/>
                    </a:lnTo>
                    <a:lnTo>
                      <a:pt x="1518" y="2022"/>
                    </a:lnTo>
                    <a:lnTo>
                      <a:pt x="1524" y="2016"/>
                    </a:lnTo>
                    <a:lnTo>
                      <a:pt x="1524" y="1992"/>
                    </a:lnTo>
                    <a:lnTo>
                      <a:pt x="1518" y="1986"/>
                    </a:lnTo>
                    <a:lnTo>
                      <a:pt x="1518" y="1980"/>
                    </a:lnTo>
                    <a:lnTo>
                      <a:pt x="1554" y="1980"/>
                    </a:lnTo>
                    <a:lnTo>
                      <a:pt x="1578" y="1956"/>
                    </a:lnTo>
                    <a:lnTo>
                      <a:pt x="1590" y="1950"/>
                    </a:lnTo>
                    <a:lnTo>
                      <a:pt x="1602" y="1938"/>
                    </a:lnTo>
                    <a:lnTo>
                      <a:pt x="1620" y="1938"/>
                    </a:lnTo>
                    <a:lnTo>
                      <a:pt x="1632" y="1944"/>
                    </a:lnTo>
                    <a:lnTo>
                      <a:pt x="1650" y="1956"/>
                    </a:lnTo>
                    <a:lnTo>
                      <a:pt x="1668" y="1956"/>
                    </a:lnTo>
                    <a:lnTo>
                      <a:pt x="1668" y="1932"/>
                    </a:lnTo>
                    <a:lnTo>
                      <a:pt x="1680" y="1920"/>
                    </a:lnTo>
                    <a:lnTo>
                      <a:pt x="1716" y="1938"/>
                    </a:lnTo>
                    <a:lnTo>
                      <a:pt x="1722" y="1944"/>
                    </a:lnTo>
                    <a:lnTo>
                      <a:pt x="1710" y="1956"/>
                    </a:lnTo>
                    <a:lnTo>
                      <a:pt x="1704" y="1956"/>
                    </a:lnTo>
                    <a:lnTo>
                      <a:pt x="1710" y="1962"/>
                    </a:lnTo>
                    <a:lnTo>
                      <a:pt x="1740" y="1962"/>
                    </a:lnTo>
                    <a:lnTo>
                      <a:pt x="1758" y="1992"/>
                    </a:lnTo>
                    <a:lnTo>
                      <a:pt x="1752" y="1992"/>
                    </a:lnTo>
                    <a:lnTo>
                      <a:pt x="1740" y="2004"/>
                    </a:lnTo>
                    <a:lnTo>
                      <a:pt x="1740" y="2010"/>
                    </a:lnTo>
                    <a:lnTo>
                      <a:pt x="1806" y="2010"/>
                    </a:lnTo>
                    <a:lnTo>
                      <a:pt x="1812" y="2016"/>
                    </a:lnTo>
                    <a:lnTo>
                      <a:pt x="1818" y="2016"/>
                    </a:lnTo>
                    <a:lnTo>
                      <a:pt x="1824" y="1998"/>
                    </a:lnTo>
                    <a:lnTo>
                      <a:pt x="1830" y="1998"/>
                    </a:lnTo>
                    <a:lnTo>
                      <a:pt x="1836" y="2004"/>
                    </a:lnTo>
                    <a:lnTo>
                      <a:pt x="1842" y="2016"/>
                    </a:lnTo>
                    <a:lnTo>
                      <a:pt x="1854" y="2022"/>
                    </a:lnTo>
                    <a:lnTo>
                      <a:pt x="1872" y="2058"/>
                    </a:lnTo>
                    <a:lnTo>
                      <a:pt x="1878" y="2064"/>
                    </a:lnTo>
                    <a:lnTo>
                      <a:pt x="1878" y="2070"/>
                    </a:lnTo>
                    <a:lnTo>
                      <a:pt x="1914" y="2070"/>
                    </a:lnTo>
                    <a:lnTo>
                      <a:pt x="1920" y="2076"/>
                    </a:lnTo>
                    <a:lnTo>
                      <a:pt x="1920" y="2106"/>
                    </a:lnTo>
                    <a:lnTo>
                      <a:pt x="1932" y="2130"/>
                    </a:lnTo>
                    <a:lnTo>
                      <a:pt x="1944" y="2190"/>
                    </a:lnTo>
                    <a:lnTo>
                      <a:pt x="1932" y="2190"/>
                    </a:lnTo>
                    <a:lnTo>
                      <a:pt x="1926" y="2196"/>
                    </a:lnTo>
                    <a:lnTo>
                      <a:pt x="1914" y="2196"/>
                    </a:lnTo>
                    <a:lnTo>
                      <a:pt x="1932" y="2214"/>
                    </a:lnTo>
                    <a:lnTo>
                      <a:pt x="1932" y="2220"/>
                    </a:lnTo>
                    <a:lnTo>
                      <a:pt x="1926" y="2232"/>
                    </a:lnTo>
                    <a:lnTo>
                      <a:pt x="1920" y="2238"/>
                    </a:lnTo>
                    <a:lnTo>
                      <a:pt x="1908" y="2238"/>
                    </a:lnTo>
                    <a:lnTo>
                      <a:pt x="1902" y="2232"/>
                    </a:lnTo>
                    <a:lnTo>
                      <a:pt x="1902" y="2268"/>
                    </a:lnTo>
                    <a:lnTo>
                      <a:pt x="1896" y="2274"/>
                    </a:lnTo>
                    <a:lnTo>
                      <a:pt x="1884" y="2274"/>
                    </a:lnTo>
                    <a:lnTo>
                      <a:pt x="1890" y="2304"/>
                    </a:lnTo>
                    <a:lnTo>
                      <a:pt x="1878" y="2304"/>
                    </a:lnTo>
                    <a:lnTo>
                      <a:pt x="1878" y="2322"/>
                    </a:lnTo>
                    <a:lnTo>
                      <a:pt x="1896" y="2340"/>
                    </a:lnTo>
                    <a:lnTo>
                      <a:pt x="1902" y="2352"/>
                    </a:lnTo>
                    <a:lnTo>
                      <a:pt x="1890" y="2370"/>
                    </a:lnTo>
                    <a:lnTo>
                      <a:pt x="1902" y="2364"/>
                    </a:lnTo>
                    <a:lnTo>
                      <a:pt x="1908" y="2358"/>
                    </a:lnTo>
                    <a:lnTo>
                      <a:pt x="1920" y="2358"/>
                    </a:lnTo>
                    <a:lnTo>
                      <a:pt x="1926" y="2352"/>
                    </a:lnTo>
                    <a:lnTo>
                      <a:pt x="1986" y="2352"/>
                    </a:lnTo>
                    <a:lnTo>
                      <a:pt x="1956" y="2376"/>
                    </a:lnTo>
                    <a:lnTo>
                      <a:pt x="1980" y="2394"/>
                    </a:lnTo>
                    <a:lnTo>
                      <a:pt x="1992" y="2436"/>
                    </a:lnTo>
                    <a:lnTo>
                      <a:pt x="2022" y="2436"/>
                    </a:lnTo>
                    <a:lnTo>
                      <a:pt x="2034" y="2442"/>
                    </a:lnTo>
                    <a:lnTo>
                      <a:pt x="2040" y="2448"/>
                    </a:lnTo>
                    <a:lnTo>
                      <a:pt x="2040" y="2454"/>
                    </a:lnTo>
                    <a:lnTo>
                      <a:pt x="2034" y="2460"/>
                    </a:lnTo>
                    <a:lnTo>
                      <a:pt x="2022" y="2460"/>
                    </a:lnTo>
                    <a:lnTo>
                      <a:pt x="2016" y="2466"/>
                    </a:lnTo>
                    <a:lnTo>
                      <a:pt x="2028" y="2478"/>
                    </a:lnTo>
                    <a:lnTo>
                      <a:pt x="2028" y="2490"/>
                    </a:lnTo>
                    <a:lnTo>
                      <a:pt x="2022" y="2496"/>
                    </a:lnTo>
                    <a:lnTo>
                      <a:pt x="2022" y="2502"/>
                    </a:lnTo>
                    <a:lnTo>
                      <a:pt x="2016" y="2514"/>
                    </a:lnTo>
                    <a:lnTo>
                      <a:pt x="2070" y="2520"/>
                    </a:lnTo>
                    <a:lnTo>
                      <a:pt x="2082" y="2550"/>
                    </a:lnTo>
                    <a:lnTo>
                      <a:pt x="2094" y="2550"/>
                    </a:lnTo>
                    <a:lnTo>
                      <a:pt x="2094" y="2568"/>
                    </a:lnTo>
                    <a:lnTo>
                      <a:pt x="2136" y="2568"/>
                    </a:lnTo>
                    <a:lnTo>
                      <a:pt x="2136" y="2562"/>
                    </a:lnTo>
                    <a:lnTo>
                      <a:pt x="2154" y="2544"/>
                    </a:lnTo>
                    <a:lnTo>
                      <a:pt x="2166" y="2544"/>
                    </a:lnTo>
                    <a:lnTo>
                      <a:pt x="2172" y="2550"/>
                    </a:lnTo>
                    <a:lnTo>
                      <a:pt x="2172" y="2592"/>
                    </a:lnTo>
                    <a:lnTo>
                      <a:pt x="2214" y="2592"/>
                    </a:lnTo>
                    <a:lnTo>
                      <a:pt x="2214" y="2556"/>
                    </a:lnTo>
                    <a:lnTo>
                      <a:pt x="2190" y="2532"/>
                    </a:lnTo>
                    <a:lnTo>
                      <a:pt x="2190" y="2490"/>
                    </a:lnTo>
                    <a:lnTo>
                      <a:pt x="2196" y="2484"/>
                    </a:lnTo>
                    <a:lnTo>
                      <a:pt x="2232" y="2490"/>
                    </a:lnTo>
                    <a:lnTo>
                      <a:pt x="2232" y="2472"/>
                    </a:lnTo>
                    <a:lnTo>
                      <a:pt x="2238" y="2460"/>
                    </a:lnTo>
                    <a:lnTo>
                      <a:pt x="2250" y="2460"/>
                    </a:lnTo>
                    <a:lnTo>
                      <a:pt x="2274" y="2484"/>
                    </a:lnTo>
                    <a:lnTo>
                      <a:pt x="2286" y="2484"/>
                    </a:lnTo>
                    <a:lnTo>
                      <a:pt x="2292" y="2478"/>
                    </a:lnTo>
                    <a:lnTo>
                      <a:pt x="2298" y="2466"/>
                    </a:lnTo>
                    <a:lnTo>
                      <a:pt x="2304" y="2460"/>
                    </a:lnTo>
                    <a:lnTo>
                      <a:pt x="2322" y="2478"/>
                    </a:lnTo>
                    <a:lnTo>
                      <a:pt x="2322" y="2460"/>
                    </a:lnTo>
                    <a:lnTo>
                      <a:pt x="2328" y="2460"/>
                    </a:lnTo>
                    <a:lnTo>
                      <a:pt x="2340" y="2478"/>
                    </a:lnTo>
                    <a:lnTo>
                      <a:pt x="2346" y="2484"/>
                    </a:lnTo>
                    <a:lnTo>
                      <a:pt x="2364" y="2484"/>
                    </a:lnTo>
                    <a:lnTo>
                      <a:pt x="2364" y="2472"/>
                    </a:lnTo>
                    <a:lnTo>
                      <a:pt x="2352" y="2460"/>
                    </a:lnTo>
                    <a:lnTo>
                      <a:pt x="2370" y="2460"/>
                    </a:lnTo>
                    <a:lnTo>
                      <a:pt x="2376" y="2466"/>
                    </a:lnTo>
                    <a:lnTo>
                      <a:pt x="2382" y="2460"/>
                    </a:lnTo>
                    <a:lnTo>
                      <a:pt x="2400" y="2460"/>
                    </a:lnTo>
                    <a:lnTo>
                      <a:pt x="2400" y="2454"/>
                    </a:lnTo>
                    <a:lnTo>
                      <a:pt x="2406" y="2442"/>
                    </a:lnTo>
                    <a:lnTo>
                      <a:pt x="2406" y="2430"/>
                    </a:lnTo>
                    <a:lnTo>
                      <a:pt x="2412" y="2424"/>
                    </a:lnTo>
                    <a:lnTo>
                      <a:pt x="2424" y="2418"/>
                    </a:lnTo>
                    <a:lnTo>
                      <a:pt x="2430" y="2412"/>
                    </a:lnTo>
                    <a:lnTo>
                      <a:pt x="2436" y="2412"/>
                    </a:lnTo>
                    <a:lnTo>
                      <a:pt x="2466" y="2448"/>
                    </a:lnTo>
                    <a:lnTo>
                      <a:pt x="2496" y="2442"/>
                    </a:lnTo>
                    <a:lnTo>
                      <a:pt x="2508" y="2454"/>
                    </a:lnTo>
                    <a:lnTo>
                      <a:pt x="2538" y="2454"/>
                    </a:lnTo>
                    <a:lnTo>
                      <a:pt x="2544" y="2460"/>
                    </a:lnTo>
                    <a:lnTo>
                      <a:pt x="2544" y="2466"/>
                    </a:lnTo>
                    <a:lnTo>
                      <a:pt x="2526" y="2484"/>
                    </a:lnTo>
                    <a:lnTo>
                      <a:pt x="2532" y="2502"/>
                    </a:lnTo>
                    <a:lnTo>
                      <a:pt x="2544" y="2508"/>
                    </a:lnTo>
                    <a:lnTo>
                      <a:pt x="2544" y="2526"/>
                    </a:lnTo>
                    <a:lnTo>
                      <a:pt x="2562" y="2526"/>
                    </a:lnTo>
                    <a:lnTo>
                      <a:pt x="2568" y="2532"/>
                    </a:lnTo>
                    <a:lnTo>
                      <a:pt x="2574" y="2544"/>
                    </a:lnTo>
                    <a:lnTo>
                      <a:pt x="2586" y="2550"/>
                    </a:lnTo>
                    <a:lnTo>
                      <a:pt x="2616" y="2550"/>
                    </a:lnTo>
                    <a:lnTo>
                      <a:pt x="2622" y="2556"/>
                    </a:lnTo>
                    <a:lnTo>
                      <a:pt x="2628" y="2556"/>
                    </a:lnTo>
                    <a:lnTo>
                      <a:pt x="2676" y="2526"/>
                    </a:lnTo>
                    <a:lnTo>
                      <a:pt x="2694" y="2538"/>
                    </a:lnTo>
                    <a:lnTo>
                      <a:pt x="2718" y="2538"/>
                    </a:lnTo>
                    <a:lnTo>
                      <a:pt x="2736" y="2544"/>
                    </a:lnTo>
                    <a:lnTo>
                      <a:pt x="2748" y="2544"/>
                    </a:lnTo>
                    <a:lnTo>
                      <a:pt x="2760" y="2550"/>
                    </a:lnTo>
                    <a:lnTo>
                      <a:pt x="2766" y="2556"/>
                    </a:lnTo>
                    <a:lnTo>
                      <a:pt x="2772" y="2568"/>
                    </a:lnTo>
                    <a:lnTo>
                      <a:pt x="2766" y="2580"/>
                    </a:lnTo>
                    <a:lnTo>
                      <a:pt x="2766" y="2604"/>
                    </a:lnTo>
                    <a:lnTo>
                      <a:pt x="2760" y="2616"/>
                    </a:lnTo>
                    <a:lnTo>
                      <a:pt x="2766" y="2628"/>
                    </a:lnTo>
                    <a:lnTo>
                      <a:pt x="2772" y="2634"/>
                    </a:lnTo>
                    <a:lnTo>
                      <a:pt x="2784" y="2640"/>
                    </a:lnTo>
                    <a:lnTo>
                      <a:pt x="2790" y="2652"/>
                    </a:lnTo>
                    <a:lnTo>
                      <a:pt x="2802" y="2658"/>
                    </a:lnTo>
                    <a:lnTo>
                      <a:pt x="2808" y="2664"/>
                    </a:lnTo>
                    <a:lnTo>
                      <a:pt x="2826" y="2664"/>
                    </a:lnTo>
                    <a:lnTo>
                      <a:pt x="2832" y="2640"/>
                    </a:lnTo>
                    <a:lnTo>
                      <a:pt x="2832" y="2634"/>
                    </a:lnTo>
                    <a:lnTo>
                      <a:pt x="2826" y="2628"/>
                    </a:lnTo>
                    <a:lnTo>
                      <a:pt x="2826" y="2586"/>
                    </a:lnTo>
                    <a:lnTo>
                      <a:pt x="2832" y="2568"/>
                    </a:lnTo>
                    <a:lnTo>
                      <a:pt x="2844" y="2556"/>
                    </a:lnTo>
                    <a:lnTo>
                      <a:pt x="2856" y="2550"/>
                    </a:lnTo>
                    <a:lnTo>
                      <a:pt x="2886" y="2550"/>
                    </a:lnTo>
                    <a:lnTo>
                      <a:pt x="2898" y="2544"/>
                    </a:lnTo>
                    <a:lnTo>
                      <a:pt x="2910" y="2544"/>
                    </a:lnTo>
                    <a:lnTo>
                      <a:pt x="2922" y="2538"/>
                    </a:lnTo>
                    <a:lnTo>
                      <a:pt x="2940" y="2538"/>
                    </a:lnTo>
                    <a:lnTo>
                      <a:pt x="2964" y="2532"/>
                    </a:lnTo>
                    <a:lnTo>
                      <a:pt x="2982" y="2526"/>
                    </a:lnTo>
                    <a:lnTo>
                      <a:pt x="3000" y="2508"/>
                    </a:lnTo>
                    <a:lnTo>
                      <a:pt x="3000" y="2466"/>
                    </a:lnTo>
                    <a:lnTo>
                      <a:pt x="3006" y="2454"/>
                    </a:lnTo>
                    <a:lnTo>
                      <a:pt x="3012" y="2448"/>
                    </a:lnTo>
                    <a:lnTo>
                      <a:pt x="3024" y="2460"/>
                    </a:lnTo>
                    <a:lnTo>
                      <a:pt x="3036" y="2484"/>
                    </a:lnTo>
                    <a:lnTo>
                      <a:pt x="3042" y="2490"/>
                    </a:lnTo>
                    <a:lnTo>
                      <a:pt x="3048" y="2490"/>
                    </a:lnTo>
                    <a:lnTo>
                      <a:pt x="3054" y="2484"/>
                    </a:lnTo>
                    <a:lnTo>
                      <a:pt x="3066" y="2478"/>
                    </a:lnTo>
                    <a:lnTo>
                      <a:pt x="3072" y="2466"/>
                    </a:lnTo>
                    <a:lnTo>
                      <a:pt x="3090" y="2448"/>
                    </a:lnTo>
                    <a:lnTo>
                      <a:pt x="3096" y="2436"/>
                    </a:lnTo>
                    <a:lnTo>
                      <a:pt x="3114" y="2454"/>
                    </a:lnTo>
                    <a:lnTo>
                      <a:pt x="3144" y="2442"/>
                    </a:lnTo>
                    <a:lnTo>
                      <a:pt x="3150" y="2442"/>
                    </a:lnTo>
                    <a:lnTo>
                      <a:pt x="3156" y="2448"/>
                    </a:lnTo>
                    <a:lnTo>
                      <a:pt x="3186" y="2448"/>
                    </a:lnTo>
                    <a:lnTo>
                      <a:pt x="3234" y="2424"/>
                    </a:lnTo>
                    <a:lnTo>
                      <a:pt x="3288" y="2370"/>
                    </a:lnTo>
                    <a:lnTo>
                      <a:pt x="3294" y="2358"/>
                    </a:lnTo>
                    <a:lnTo>
                      <a:pt x="3300" y="2352"/>
                    </a:lnTo>
                    <a:lnTo>
                      <a:pt x="3294" y="2340"/>
                    </a:lnTo>
                    <a:lnTo>
                      <a:pt x="3294" y="2334"/>
                    </a:lnTo>
                    <a:lnTo>
                      <a:pt x="3288" y="2322"/>
                    </a:lnTo>
                    <a:lnTo>
                      <a:pt x="3282" y="2316"/>
                    </a:lnTo>
                    <a:lnTo>
                      <a:pt x="3300" y="2316"/>
                    </a:lnTo>
                    <a:lnTo>
                      <a:pt x="3312" y="2286"/>
                    </a:lnTo>
                    <a:lnTo>
                      <a:pt x="3336" y="2286"/>
                    </a:lnTo>
                    <a:lnTo>
                      <a:pt x="3348" y="2250"/>
                    </a:lnTo>
                    <a:lnTo>
                      <a:pt x="3360" y="2250"/>
                    </a:lnTo>
                    <a:lnTo>
                      <a:pt x="3360" y="2208"/>
                    </a:lnTo>
                    <a:lnTo>
                      <a:pt x="3372" y="2208"/>
                    </a:lnTo>
                    <a:lnTo>
                      <a:pt x="3384" y="2196"/>
                    </a:lnTo>
                    <a:lnTo>
                      <a:pt x="3384" y="2172"/>
                    </a:lnTo>
                    <a:lnTo>
                      <a:pt x="3378" y="2160"/>
                    </a:lnTo>
                    <a:lnTo>
                      <a:pt x="3372" y="2154"/>
                    </a:lnTo>
                    <a:lnTo>
                      <a:pt x="3372" y="2142"/>
                    </a:lnTo>
                    <a:lnTo>
                      <a:pt x="3378" y="2136"/>
                    </a:lnTo>
                    <a:lnTo>
                      <a:pt x="3384" y="2136"/>
                    </a:lnTo>
                    <a:lnTo>
                      <a:pt x="3390" y="2130"/>
                    </a:lnTo>
                    <a:lnTo>
                      <a:pt x="3402" y="2124"/>
                    </a:lnTo>
                    <a:lnTo>
                      <a:pt x="3408" y="2118"/>
                    </a:lnTo>
                    <a:lnTo>
                      <a:pt x="3408" y="2094"/>
                    </a:lnTo>
                    <a:lnTo>
                      <a:pt x="3390" y="2076"/>
                    </a:lnTo>
                    <a:lnTo>
                      <a:pt x="3390" y="2064"/>
                    </a:lnTo>
                    <a:lnTo>
                      <a:pt x="3402" y="2058"/>
                    </a:lnTo>
                    <a:lnTo>
                      <a:pt x="3408" y="2052"/>
                    </a:lnTo>
                    <a:lnTo>
                      <a:pt x="3408" y="2016"/>
                    </a:lnTo>
                    <a:lnTo>
                      <a:pt x="3414" y="2016"/>
                    </a:lnTo>
                    <a:lnTo>
                      <a:pt x="3420" y="2010"/>
                    </a:lnTo>
                    <a:lnTo>
                      <a:pt x="3456" y="1992"/>
                    </a:lnTo>
                    <a:lnTo>
                      <a:pt x="3462" y="1980"/>
                    </a:lnTo>
                    <a:lnTo>
                      <a:pt x="3462" y="1962"/>
                    </a:lnTo>
                    <a:lnTo>
                      <a:pt x="3456" y="1956"/>
                    </a:lnTo>
                    <a:lnTo>
                      <a:pt x="3444" y="1956"/>
                    </a:lnTo>
                    <a:lnTo>
                      <a:pt x="3450" y="1956"/>
                    </a:lnTo>
                    <a:lnTo>
                      <a:pt x="3456" y="1950"/>
                    </a:lnTo>
                    <a:lnTo>
                      <a:pt x="3468" y="1950"/>
                    </a:lnTo>
                    <a:lnTo>
                      <a:pt x="3480" y="1944"/>
                    </a:lnTo>
                    <a:lnTo>
                      <a:pt x="3492" y="1932"/>
                    </a:lnTo>
                    <a:lnTo>
                      <a:pt x="3474" y="1914"/>
                    </a:lnTo>
                    <a:lnTo>
                      <a:pt x="3468" y="1914"/>
                    </a:lnTo>
                    <a:lnTo>
                      <a:pt x="3486" y="1896"/>
                    </a:lnTo>
                    <a:lnTo>
                      <a:pt x="3498" y="1872"/>
                    </a:lnTo>
                    <a:lnTo>
                      <a:pt x="3504" y="1866"/>
                    </a:lnTo>
                    <a:lnTo>
                      <a:pt x="3504" y="1854"/>
                    </a:lnTo>
                    <a:lnTo>
                      <a:pt x="3498" y="1848"/>
                    </a:lnTo>
                    <a:lnTo>
                      <a:pt x="3474" y="1842"/>
                    </a:lnTo>
                    <a:lnTo>
                      <a:pt x="3438" y="1848"/>
                    </a:lnTo>
                    <a:lnTo>
                      <a:pt x="3396" y="1854"/>
                    </a:lnTo>
                    <a:lnTo>
                      <a:pt x="3366" y="1860"/>
                    </a:lnTo>
                    <a:lnTo>
                      <a:pt x="3354" y="1866"/>
                    </a:lnTo>
                    <a:lnTo>
                      <a:pt x="3336" y="1848"/>
                    </a:lnTo>
                    <a:lnTo>
                      <a:pt x="3378" y="1848"/>
                    </a:lnTo>
                    <a:lnTo>
                      <a:pt x="3378" y="1836"/>
                    </a:lnTo>
                    <a:lnTo>
                      <a:pt x="3384" y="1824"/>
                    </a:lnTo>
                    <a:lnTo>
                      <a:pt x="3390" y="1818"/>
                    </a:lnTo>
                    <a:lnTo>
                      <a:pt x="3402" y="1812"/>
                    </a:lnTo>
                    <a:lnTo>
                      <a:pt x="3432" y="1812"/>
                    </a:lnTo>
                    <a:lnTo>
                      <a:pt x="3426" y="1800"/>
                    </a:lnTo>
                    <a:lnTo>
                      <a:pt x="3420" y="1794"/>
                    </a:lnTo>
                    <a:lnTo>
                      <a:pt x="3414" y="1782"/>
                    </a:lnTo>
                    <a:lnTo>
                      <a:pt x="3414" y="1776"/>
                    </a:lnTo>
                    <a:lnTo>
                      <a:pt x="3408" y="1770"/>
                    </a:lnTo>
                    <a:lnTo>
                      <a:pt x="3390" y="1770"/>
                    </a:lnTo>
                    <a:lnTo>
                      <a:pt x="3378" y="1764"/>
                    </a:lnTo>
                    <a:lnTo>
                      <a:pt x="3366" y="1764"/>
                    </a:lnTo>
                    <a:lnTo>
                      <a:pt x="3354" y="1746"/>
                    </a:lnTo>
                    <a:lnTo>
                      <a:pt x="3342" y="1746"/>
                    </a:lnTo>
                    <a:lnTo>
                      <a:pt x="3336" y="1734"/>
                    </a:lnTo>
                    <a:lnTo>
                      <a:pt x="3324" y="1728"/>
                    </a:lnTo>
                    <a:lnTo>
                      <a:pt x="3294" y="1728"/>
                    </a:lnTo>
                    <a:lnTo>
                      <a:pt x="3288" y="1734"/>
                    </a:lnTo>
                    <a:lnTo>
                      <a:pt x="3282" y="1734"/>
                    </a:lnTo>
                    <a:lnTo>
                      <a:pt x="3246" y="1686"/>
                    </a:lnTo>
                    <a:lnTo>
                      <a:pt x="3252" y="1698"/>
                    </a:lnTo>
                    <a:lnTo>
                      <a:pt x="3264" y="1704"/>
                    </a:lnTo>
                    <a:lnTo>
                      <a:pt x="3270" y="1710"/>
                    </a:lnTo>
                    <a:lnTo>
                      <a:pt x="3282" y="1716"/>
                    </a:lnTo>
                    <a:lnTo>
                      <a:pt x="3294" y="1716"/>
                    </a:lnTo>
                    <a:lnTo>
                      <a:pt x="3300" y="1710"/>
                    </a:lnTo>
                    <a:lnTo>
                      <a:pt x="3306" y="1710"/>
                    </a:lnTo>
                    <a:lnTo>
                      <a:pt x="3336" y="1716"/>
                    </a:lnTo>
                    <a:lnTo>
                      <a:pt x="3348" y="1734"/>
                    </a:lnTo>
                    <a:lnTo>
                      <a:pt x="3366" y="1728"/>
                    </a:lnTo>
                    <a:lnTo>
                      <a:pt x="3408" y="1740"/>
                    </a:lnTo>
                    <a:lnTo>
                      <a:pt x="3390" y="1716"/>
                    </a:lnTo>
                    <a:lnTo>
                      <a:pt x="3372" y="1710"/>
                    </a:lnTo>
                    <a:lnTo>
                      <a:pt x="3372" y="1692"/>
                    </a:lnTo>
                    <a:lnTo>
                      <a:pt x="3360" y="1680"/>
                    </a:lnTo>
                    <a:lnTo>
                      <a:pt x="3348" y="1674"/>
                    </a:lnTo>
                    <a:lnTo>
                      <a:pt x="3330" y="1674"/>
                    </a:lnTo>
                    <a:lnTo>
                      <a:pt x="3318" y="1662"/>
                    </a:lnTo>
                    <a:lnTo>
                      <a:pt x="3318" y="1650"/>
                    </a:lnTo>
                    <a:lnTo>
                      <a:pt x="3312" y="1644"/>
                    </a:lnTo>
                    <a:lnTo>
                      <a:pt x="3312" y="1632"/>
                    </a:lnTo>
                    <a:lnTo>
                      <a:pt x="3234" y="1530"/>
                    </a:lnTo>
                    <a:lnTo>
                      <a:pt x="3198" y="1524"/>
                    </a:lnTo>
                    <a:lnTo>
                      <a:pt x="3162" y="1494"/>
                    </a:lnTo>
                    <a:lnTo>
                      <a:pt x="3144" y="1500"/>
                    </a:lnTo>
                    <a:lnTo>
                      <a:pt x="3138" y="1488"/>
                    </a:lnTo>
                    <a:lnTo>
                      <a:pt x="3132" y="1482"/>
                    </a:lnTo>
                    <a:lnTo>
                      <a:pt x="3132" y="1470"/>
                    </a:lnTo>
                    <a:lnTo>
                      <a:pt x="3126" y="1464"/>
                    </a:lnTo>
                    <a:lnTo>
                      <a:pt x="3138" y="1452"/>
                    </a:lnTo>
                    <a:lnTo>
                      <a:pt x="3150" y="1446"/>
                    </a:lnTo>
                    <a:lnTo>
                      <a:pt x="3156" y="1434"/>
                    </a:lnTo>
                    <a:lnTo>
                      <a:pt x="3162" y="1428"/>
                    </a:lnTo>
                    <a:lnTo>
                      <a:pt x="3168" y="1416"/>
                    </a:lnTo>
                    <a:lnTo>
                      <a:pt x="3168" y="1410"/>
                    </a:lnTo>
                    <a:lnTo>
                      <a:pt x="3162" y="1398"/>
                    </a:lnTo>
                    <a:lnTo>
                      <a:pt x="3162" y="1392"/>
                    </a:lnTo>
                    <a:lnTo>
                      <a:pt x="3156" y="1380"/>
                    </a:lnTo>
                    <a:lnTo>
                      <a:pt x="3168" y="1386"/>
                    </a:lnTo>
                    <a:lnTo>
                      <a:pt x="3174" y="1392"/>
                    </a:lnTo>
                    <a:lnTo>
                      <a:pt x="3186" y="1398"/>
                    </a:lnTo>
                    <a:lnTo>
                      <a:pt x="3198" y="1386"/>
                    </a:lnTo>
                    <a:lnTo>
                      <a:pt x="3198" y="1368"/>
                    </a:lnTo>
                    <a:lnTo>
                      <a:pt x="3192" y="1356"/>
                    </a:lnTo>
                    <a:lnTo>
                      <a:pt x="3192" y="1344"/>
                    </a:lnTo>
                    <a:lnTo>
                      <a:pt x="3216" y="1344"/>
                    </a:lnTo>
                    <a:lnTo>
                      <a:pt x="3252" y="1320"/>
                    </a:lnTo>
                    <a:lnTo>
                      <a:pt x="3264" y="1320"/>
                    </a:lnTo>
                    <a:lnTo>
                      <a:pt x="3270" y="1326"/>
                    </a:lnTo>
                    <a:lnTo>
                      <a:pt x="3294" y="1326"/>
                    </a:lnTo>
                    <a:lnTo>
                      <a:pt x="3294" y="1320"/>
                    </a:lnTo>
                    <a:lnTo>
                      <a:pt x="3288" y="1314"/>
                    </a:lnTo>
                    <a:lnTo>
                      <a:pt x="3288" y="1308"/>
                    </a:lnTo>
                    <a:lnTo>
                      <a:pt x="3282" y="1302"/>
                    </a:lnTo>
                    <a:lnTo>
                      <a:pt x="3288" y="1278"/>
                    </a:lnTo>
                    <a:lnTo>
                      <a:pt x="3258" y="1278"/>
                    </a:lnTo>
                    <a:lnTo>
                      <a:pt x="3246" y="1266"/>
                    </a:lnTo>
                    <a:lnTo>
                      <a:pt x="3240" y="1278"/>
                    </a:lnTo>
                    <a:lnTo>
                      <a:pt x="3204" y="1278"/>
                    </a:lnTo>
                    <a:lnTo>
                      <a:pt x="3198" y="1272"/>
                    </a:lnTo>
                    <a:lnTo>
                      <a:pt x="3192" y="1260"/>
                    </a:lnTo>
                    <a:lnTo>
                      <a:pt x="3180" y="1254"/>
                    </a:lnTo>
                    <a:lnTo>
                      <a:pt x="3174" y="1248"/>
                    </a:lnTo>
                    <a:lnTo>
                      <a:pt x="3150" y="1248"/>
                    </a:lnTo>
                    <a:lnTo>
                      <a:pt x="3144" y="1260"/>
                    </a:lnTo>
                    <a:lnTo>
                      <a:pt x="3132" y="1266"/>
                    </a:lnTo>
                    <a:lnTo>
                      <a:pt x="3114" y="1284"/>
                    </a:lnTo>
                    <a:lnTo>
                      <a:pt x="3114" y="1296"/>
                    </a:lnTo>
                    <a:lnTo>
                      <a:pt x="3108" y="1302"/>
                    </a:lnTo>
                    <a:lnTo>
                      <a:pt x="3108" y="1308"/>
                    </a:lnTo>
                    <a:lnTo>
                      <a:pt x="3078" y="1308"/>
                    </a:lnTo>
                    <a:lnTo>
                      <a:pt x="3054" y="1296"/>
                    </a:lnTo>
                    <a:lnTo>
                      <a:pt x="3048" y="1290"/>
                    </a:lnTo>
                    <a:lnTo>
                      <a:pt x="3042" y="1278"/>
                    </a:lnTo>
                    <a:lnTo>
                      <a:pt x="3030" y="1242"/>
                    </a:lnTo>
                    <a:lnTo>
                      <a:pt x="3024" y="1230"/>
                    </a:lnTo>
                    <a:lnTo>
                      <a:pt x="3018" y="1224"/>
                    </a:lnTo>
                    <a:lnTo>
                      <a:pt x="3006" y="1224"/>
                    </a:lnTo>
                    <a:lnTo>
                      <a:pt x="3000" y="1230"/>
                    </a:lnTo>
                    <a:lnTo>
                      <a:pt x="3000" y="1242"/>
                    </a:lnTo>
                    <a:lnTo>
                      <a:pt x="2988" y="1224"/>
                    </a:lnTo>
                    <a:lnTo>
                      <a:pt x="2952" y="1224"/>
                    </a:lnTo>
                    <a:lnTo>
                      <a:pt x="2940" y="1218"/>
                    </a:lnTo>
                    <a:lnTo>
                      <a:pt x="2934" y="1212"/>
                    </a:lnTo>
                    <a:lnTo>
                      <a:pt x="2928" y="1200"/>
                    </a:lnTo>
                    <a:lnTo>
                      <a:pt x="2916" y="1194"/>
                    </a:lnTo>
                    <a:lnTo>
                      <a:pt x="2910" y="1182"/>
                    </a:lnTo>
                    <a:lnTo>
                      <a:pt x="2910" y="1140"/>
                    </a:lnTo>
                    <a:lnTo>
                      <a:pt x="2928" y="1140"/>
                    </a:lnTo>
                    <a:lnTo>
                      <a:pt x="2940" y="1152"/>
                    </a:lnTo>
                    <a:lnTo>
                      <a:pt x="2946" y="1152"/>
                    </a:lnTo>
                    <a:lnTo>
                      <a:pt x="2952" y="1146"/>
                    </a:lnTo>
                    <a:lnTo>
                      <a:pt x="2952" y="1140"/>
                    </a:lnTo>
                    <a:lnTo>
                      <a:pt x="2958" y="1134"/>
                    </a:lnTo>
                    <a:lnTo>
                      <a:pt x="2964" y="1134"/>
                    </a:lnTo>
                    <a:lnTo>
                      <a:pt x="2970" y="1140"/>
                    </a:lnTo>
                    <a:lnTo>
                      <a:pt x="2982" y="1140"/>
                    </a:lnTo>
                    <a:lnTo>
                      <a:pt x="2994" y="1134"/>
                    </a:lnTo>
                    <a:lnTo>
                      <a:pt x="3000" y="1128"/>
                    </a:lnTo>
                    <a:lnTo>
                      <a:pt x="3000" y="1116"/>
                    </a:lnTo>
                    <a:lnTo>
                      <a:pt x="2994" y="1110"/>
                    </a:lnTo>
                    <a:lnTo>
                      <a:pt x="2994" y="1086"/>
                    </a:lnTo>
                    <a:lnTo>
                      <a:pt x="3000" y="1074"/>
                    </a:lnTo>
                    <a:lnTo>
                      <a:pt x="3000" y="1068"/>
                    </a:lnTo>
                    <a:lnTo>
                      <a:pt x="3036" y="1068"/>
                    </a:lnTo>
                    <a:lnTo>
                      <a:pt x="3042" y="1062"/>
                    </a:lnTo>
                    <a:lnTo>
                      <a:pt x="3048" y="1050"/>
                    </a:lnTo>
                    <a:lnTo>
                      <a:pt x="3048" y="1038"/>
                    </a:lnTo>
                    <a:lnTo>
                      <a:pt x="3054" y="1032"/>
                    </a:lnTo>
                    <a:lnTo>
                      <a:pt x="3054" y="1026"/>
                    </a:lnTo>
                    <a:lnTo>
                      <a:pt x="3072" y="1014"/>
                    </a:lnTo>
                    <a:lnTo>
                      <a:pt x="3060" y="1002"/>
                    </a:lnTo>
                    <a:lnTo>
                      <a:pt x="3096" y="1014"/>
                    </a:lnTo>
                    <a:lnTo>
                      <a:pt x="3114" y="996"/>
                    </a:lnTo>
                    <a:lnTo>
                      <a:pt x="3126" y="1002"/>
                    </a:lnTo>
                    <a:lnTo>
                      <a:pt x="3132" y="1014"/>
                    </a:lnTo>
                    <a:lnTo>
                      <a:pt x="3144" y="1020"/>
                    </a:lnTo>
                    <a:lnTo>
                      <a:pt x="3156" y="1044"/>
                    </a:lnTo>
                    <a:lnTo>
                      <a:pt x="3156" y="1050"/>
                    </a:lnTo>
                    <a:lnTo>
                      <a:pt x="3144" y="1074"/>
                    </a:lnTo>
                    <a:lnTo>
                      <a:pt x="3126" y="1092"/>
                    </a:lnTo>
                    <a:lnTo>
                      <a:pt x="3126" y="1104"/>
                    </a:lnTo>
                    <a:lnTo>
                      <a:pt x="3132" y="1116"/>
                    </a:lnTo>
                    <a:lnTo>
                      <a:pt x="3144" y="1128"/>
                    </a:lnTo>
                    <a:lnTo>
                      <a:pt x="3150" y="1128"/>
                    </a:lnTo>
                    <a:lnTo>
                      <a:pt x="3162" y="1122"/>
                    </a:lnTo>
                    <a:lnTo>
                      <a:pt x="3168" y="1122"/>
                    </a:lnTo>
                    <a:lnTo>
                      <a:pt x="3162" y="1152"/>
                    </a:lnTo>
                    <a:lnTo>
                      <a:pt x="3144" y="1170"/>
                    </a:lnTo>
                    <a:lnTo>
                      <a:pt x="3144" y="1176"/>
                    </a:lnTo>
                    <a:lnTo>
                      <a:pt x="3150" y="1176"/>
                    </a:lnTo>
                    <a:lnTo>
                      <a:pt x="3162" y="1170"/>
                    </a:lnTo>
                    <a:lnTo>
                      <a:pt x="3168" y="1164"/>
                    </a:lnTo>
                    <a:lnTo>
                      <a:pt x="3180" y="1158"/>
                    </a:lnTo>
                    <a:lnTo>
                      <a:pt x="3186" y="1158"/>
                    </a:lnTo>
                    <a:lnTo>
                      <a:pt x="3198" y="1146"/>
                    </a:lnTo>
                    <a:lnTo>
                      <a:pt x="3198" y="1122"/>
                    </a:lnTo>
                    <a:lnTo>
                      <a:pt x="3204" y="1122"/>
                    </a:lnTo>
                    <a:lnTo>
                      <a:pt x="3210" y="1116"/>
                    </a:lnTo>
                    <a:lnTo>
                      <a:pt x="3258" y="1092"/>
                    </a:lnTo>
                    <a:lnTo>
                      <a:pt x="3264" y="1086"/>
                    </a:lnTo>
                    <a:lnTo>
                      <a:pt x="3306" y="1086"/>
                    </a:lnTo>
                    <a:lnTo>
                      <a:pt x="3312" y="1074"/>
                    </a:lnTo>
                    <a:lnTo>
                      <a:pt x="3312" y="1062"/>
                    </a:lnTo>
                    <a:lnTo>
                      <a:pt x="3318" y="1056"/>
                    </a:lnTo>
                    <a:lnTo>
                      <a:pt x="3324" y="1044"/>
                    </a:lnTo>
                    <a:lnTo>
                      <a:pt x="3360" y="1026"/>
                    </a:lnTo>
                    <a:lnTo>
                      <a:pt x="3372" y="1014"/>
                    </a:lnTo>
                    <a:lnTo>
                      <a:pt x="3390" y="978"/>
                    </a:lnTo>
                    <a:lnTo>
                      <a:pt x="3390" y="948"/>
                    </a:lnTo>
                    <a:lnTo>
                      <a:pt x="3396" y="942"/>
                    </a:lnTo>
                    <a:lnTo>
                      <a:pt x="3396" y="936"/>
                    </a:lnTo>
                    <a:lnTo>
                      <a:pt x="3408" y="936"/>
                    </a:lnTo>
                    <a:lnTo>
                      <a:pt x="3420" y="942"/>
                    </a:lnTo>
                    <a:lnTo>
                      <a:pt x="3432" y="954"/>
                    </a:lnTo>
                    <a:lnTo>
                      <a:pt x="3444" y="954"/>
                    </a:lnTo>
                    <a:lnTo>
                      <a:pt x="3456" y="960"/>
                    </a:lnTo>
                    <a:lnTo>
                      <a:pt x="3504" y="960"/>
                    </a:lnTo>
                    <a:lnTo>
                      <a:pt x="3504" y="948"/>
                    </a:lnTo>
                    <a:lnTo>
                      <a:pt x="3498" y="948"/>
                    </a:lnTo>
                    <a:lnTo>
                      <a:pt x="3474" y="924"/>
                    </a:lnTo>
                    <a:lnTo>
                      <a:pt x="3474" y="912"/>
                    </a:lnTo>
                    <a:lnTo>
                      <a:pt x="3480" y="906"/>
                    </a:lnTo>
                    <a:lnTo>
                      <a:pt x="3486" y="912"/>
                    </a:lnTo>
                    <a:lnTo>
                      <a:pt x="3510" y="912"/>
                    </a:lnTo>
                    <a:lnTo>
                      <a:pt x="3522" y="918"/>
                    </a:lnTo>
                    <a:lnTo>
                      <a:pt x="3534" y="912"/>
                    </a:lnTo>
                    <a:lnTo>
                      <a:pt x="3540" y="900"/>
                    </a:lnTo>
                    <a:lnTo>
                      <a:pt x="3540" y="894"/>
                    </a:lnTo>
                    <a:lnTo>
                      <a:pt x="3534" y="882"/>
                    </a:lnTo>
                    <a:lnTo>
                      <a:pt x="3558" y="882"/>
                    </a:lnTo>
                    <a:lnTo>
                      <a:pt x="3558" y="864"/>
                    </a:lnTo>
                    <a:lnTo>
                      <a:pt x="3552" y="852"/>
                    </a:lnTo>
                    <a:lnTo>
                      <a:pt x="3546" y="846"/>
                    </a:lnTo>
                    <a:lnTo>
                      <a:pt x="3546" y="840"/>
                    </a:lnTo>
                    <a:lnTo>
                      <a:pt x="3576" y="840"/>
                    </a:lnTo>
                    <a:lnTo>
                      <a:pt x="3594" y="864"/>
                    </a:lnTo>
                    <a:lnTo>
                      <a:pt x="3600" y="840"/>
                    </a:lnTo>
                    <a:lnTo>
                      <a:pt x="3630" y="846"/>
                    </a:lnTo>
                    <a:lnTo>
                      <a:pt x="3624" y="810"/>
                    </a:lnTo>
                    <a:lnTo>
                      <a:pt x="3618" y="798"/>
                    </a:lnTo>
                    <a:lnTo>
                      <a:pt x="3606" y="786"/>
                    </a:lnTo>
                    <a:lnTo>
                      <a:pt x="3606" y="774"/>
                    </a:lnTo>
                    <a:lnTo>
                      <a:pt x="3600" y="756"/>
                    </a:lnTo>
                    <a:lnTo>
                      <a:pt x="3588" y="744"/>
                    </a:lnTo>
                    <a:lnTo>
                      <a:pt x="3576" y="726"/>
                    </a:lnTo>
                    <a:lnTo>
                      <a:pt x="3564" y="720"/>
                    </a:lnTo>
                    <a:lnTo>
                      <a:pt x="3552" y="708"/>
                    </a:lnTo>
                    <a:lnTo>
                      <a:pt x="3546" y="708"/>
                    </a:lnTo>
                    <a:lnTo>
                      <a:pt x="3540" y="696"/>
                    </a:lnTo>
                    <a:lnTo>
                      <a:pt x="3540" y="684"/>
                    </a:lnTo>
                    <a:lnTo>
                      <a:pt x="3564" y="684"/>
                    </a:lnTo>
                    <a:lnTo>
                      <a:pt x="3564" y="672"/>
                    </a:lnTo>
                    <a:lnTo>
                      <a:pt x="3558" y="666"/>
                    </a:lnTo>
                    <a:lnTo>
                      <a:pt x="3564" y="660"/>
                    </a:lnTo>
                    <a:lnTo>
                      <a:pt x="3588" y="660"/>
                    </a:lnTo>
                    <a:lnTo>
                      <a:pt x="3600" y="666"/>
                    </a:lnTo>
                    <a:lnTo>
                      <a:pt x="3618" y="672"/>
                    </a:lnTo>
                    <a:lnTo>
                      <a:pt x="3630" y="672"/>
                    </a:lnTo>
                    <a:lnTo>
                      <a:pt x="3642" y="678"/>
                    </a:lnTo>
                    <a:lnTo>
                      <a:pt x="3648" y="678"/>
                    </a:lnTo>
                    <a:lnTo>
                      <a:pt x="3654" y="672"/>
                    </a:lnTo>
                    <a:lnTo>
                      <a:pt x="3654" y="660"/>
                    </a:lnTo>
                    <a:lnTo>
                      <a:pt x="3648" y="648"/>
                    </a:lnTo>
                    <a:lnTo>
                      <a:pt x="3648" y="630"/>
                    </a:lnTo>
                    <a:lnTo>
                      <a:pt x="3654" y="630"/>
                    </a:lnTo>
                    <a:lnTo>
                      <a:pt x="3660" y="62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FF0000"/>
                  </a:solidFill>
                </a:endParaRPr>
              </a:p>
            </p:txBody>
          </p:sp>
        </p:grpSp>
        <p:sp>
          <p:nvSpPr>
            <p:cNvPr id="200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7248D34-2799-44C0-9235-A7A8B99FCAD3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3611" y="2189756"/>
              <a:ext cx="150963" cy="83868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9FAE9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19419">
                <a:spcBef>
                  <a:spcPct val="0"/>
                </a:spcBef>
                <a:defRPr/>
              </a:pPr>
              <a:endParaRPr lang="en-GB" sz="633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1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BA2BD90E-A424-4DE0-A668-1663618170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70411" y="2361684"/>
              <a:ext cx="459095" cy="327084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B1B1B1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19419">
                <a:spcBef>
                  <a:spcPct val="0"/>
                </a:spcBef>
                <a:defRPr/>
              </a:pPr>
              <a:endParaRPr lang="en-GB" sz="633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2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E713F4C5-D479-4C04-BEA8-86F33172EE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92569" y="2700373"/>
              <a:ext cx="444618" cy="352244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B1B1B1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19419">
                <a:spcBef>
                  <a:spcPct val="0"/>
                </a:spcBef>
                <a:defRPr/>
              </a:pPr>
              <a:endParaRPr lang="en-GB" sz="633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3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6F7254B3-B330-43FF-904B-9BC51F66996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33780" y="2049276"/>
              <a:ext cx="477707" cy="41724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B1B1B1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19419">
                <a:spcBef>
                  <a:spcPct val="0"/>
                </a:spcBef>
                <a:defRPr/>
              </a:pPr>
              <a:endParaRPr lang="en-GB" sz="633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4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B3CA5601-3AA5-48BC-8919-0BECB29783B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1797" y="2432967"/>
              <a:ext cx="119944" cy="218056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B1B1B1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19419">
                <a:spcBef>
                  <a:spcPct val="0"/>
                </a:spcBef>
                <a:defRPr/>
              </a:pPr>
              <a:endParaRPr lang="en-GB" sz="633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grpSp>
          <p:nvGrpSpPr>
            <p:cNvPr id="205" name="North_West_Europe">
              <a:extLst>
                <a:ext uri="{FF2B5EF4-FFF2-40B4-BE49-F238E27FC236}">
                  <a16:creationId xmlns:a16="http://schemas.microsoft.com/office/drawing/2014/main" id="{A52E14FF-8CF8-44D3-9109-2D103D943943}"/>
                </a:ext>
              </a:extLst>
            </p:cNvPr>
            <p:cNvGrpSpPr/>
            <p:nvPr/>
          </p:nvGrpSpPr>
          <p:grpSpPr>
            <a:xfrm>
              <a:off x="4958139" y="977867"/>
              <a:ext cx="1590294" cy="1144787"/>
              <a:chOff x="5046257" y="1770176"/>
              <a:chExt cx="1343580" cy="967188"/>
            </a:xfrm>
            <a:solidFill>
              <a:srgbClr val="83C256"/>
            </a:solidFill>
          </p:grpSpPr>
          <p:sp>
            <p:nvSpPr>
              <p:cNvPr id="237" name="Sweden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514A9BB-01CF-47C9-A953-8F135F979F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897134" y="2087259"/>
                <a:ext cx="307503" cy="444624"/>
              </a:xfrm>
              <a:custGeom>
                <a:avLst/>
                <a:gdLst>
                  <a:gd name="T0" fmla="*/ 2147483647 w 690"/>
                  <a:gd name="T1" fmla="*/ 2147483647 h 990"/>
                  <a:gd name="T2" fmla="*/ 2147483647 w 690"/>
                  <a:gd name="T3" fmla="*/ 2147483647 h 990"/>
                  <a:gd name="T4" fmla="*/ 2147483647 w 690"/>
                  <a:gd name="T5" fmla="*/ 2147483647 h 990"/>
                  <a:gd name="T6" fmla="*/ 2147483647 w 690"/>
                  <a:gd name="T7" fmla="*/ 2147483647 h 990"/>
                  <a:gd name="T8" fmla="*/ 2147483647 w 690"/>
                  <a:gd name="T9" fmla="*/ 2147483647 h 990"/>
                  <a:gd name="T10" fmla="*/ 2147483647 w 690"/>
                  <a:gd name="T11" fmla="*/ 2147483647 h 990"/>
                  <a:gd name="T12" fmla="*/ 2147483647 w 690"/>
                  <a:gd name="T13" fmla="*/ 2147483647 h 990"/>
                  <a:gd name="T14" fmla="*/ 2147483647 w 690"/>
                  <a:gd name="T15" fmla="*/ 2147483647 h 990"/>
                  <a:gd name="T16" fmla="*/ 2147483647 w 690"/>
                  <a:gd name="T17" fmla="*/ 2147483647 h 990"/>
                  <a:gd name="T18" fmla="*/ 2147483647 w 690"/>
                  <a:gd name="T19" fmla="*/ 2147483647 h 990"/>
                  <a:gd name="T20" fmla="*/ 2147483647 w 690"/>
                  <a:gd name="T21" fmla="*/ 2147483647 h 990"/>
                  <a:gd name="T22" fmla="*/ 2147483647 w 690"/>
                  <a:gd name="T23" fmla="*/ 2147483647 h 990"/>
                  <a:gd name="T24" fmla="*/ 2147483647 w 690"/>
                  <a:gd name="T25" fmla="*/ 2147483647 h 990"/>
                  <a:gd name="T26" fmla="*/ 2147483647 w 690"/>
                  <a:gd name="T27" fmla="*/ 2147483647 h 990"/>
                  <a:gd name="T28" fmla="*/ 2147483647 w 690"/>
                  <a:gd name="T29" fmla="*/ 2147483647 h 990"/>
                  <a:gd name="T30" fmla="*/ 2147483647 w 690"/>
                  <a:gd name="T31" fmla="*/ 2147483647 h 990"/>
                  <a:gd name="T32" fmla="*/ 2147483647 w 690"/>
                  <a:gd name="T33" fmla="*/ 2147483647 h 990"/>
                  <a:gd name="T34" fmla="*/ 2147483647 w 690"/>
                  <a:gd name="T35" fmla="*/ 2147483647 h 990"/>
                  <a:gd name="T36" fmla="*/ 2147483647 w 690"/>
                  <a:gd name="T37" fmla="*/ 2147483647 h 990"/>
                  <a:gd name="T38" fmla="*/ 2147483647 w 690"/>
                  <a:gd name="T39" fmla="*/ 2147483647 h 990"/>
                  <a:gd name="T40" fmla="*/ 2147483647 w 690"/>
                  <a:gd name="T41" fmla="*/ 2147483647 h 990"/>
                  <a:gd name="T42" fmla="*/ 2147483647 w 690"/>
                  <a:gd name="T43" fmla="*/ 2147483647 h 990"/>
                  <a:gd name="T44" fmla="*/ 2147483647 w 690"/>
                  <a:gd name="T45" fmla="*/ 2147483647 h 990"/>
                  <a:gd name="T46" fmla="*/ 0 w 690"/>
                  <a:gd name="T47" fmla="*/ 2147483647 h 990"/>
                  <a:gd name="T48" fmla="*/ 2147483647 w 690"/>
                  <a:gd name="T49" fmla="*/ 2147483647 h 990"/>
                  <a:gd name="T50" fmla="*/ 2147483647 w 690"/>
                  <a:gd name="T51" fmla="*/ 2147483647 h 990"/>
                  <a:gd name="T52" fmla="*/ 2147483647 w 690"/>
                  <a:gd name="T53" fmla="*/ 2147483647 h 990"/>
                  <a:gd name="T54" fmla="*/ 2147483647 w 690"/>
                  <a:gd name="T55" fmla="*/ 2147483647 h 990"/>
                  <a:gd name="T56" fmla="*/ 2147483647 w 690"/>
                  <a:gd name="T57" fmla="*/ 2147483647 h 990"/>
                  <a:gd name="T58" fmla="*/ 2147483647 w 690"/>
                  <a:gd name="T59" fmla="*/ 2147483647 h 990"/>
                  <a:gd name="T60" fmla="*/ 2147483647 w 690"/>
                  <a:gd name="T61" fmla="*/ 2147483647 h 990"/>
                  <a:gd name="T62" fmla="*/ 2147483647 w 690"/>
                  <a:gd name="T63" fmla="*/ 2147483647 h 990"/>
                  <a:gd name="T64" fmla="*/ 2147483647 w 690"/>
                  <a:gd name="T65" fmla="*/ 2147483647 h 990"/>
                  <a:gd name="T66" fmla="*/ 2147483647 w 690"/>
                  <a:gd name="T67" fmla="*/ 2147483647 h 990"/>
                  <a:gd name="T68" fmla="*/ 2147483647 w 690"/>
                  <a:gd name="T69" fmla="*/ 2147483647 h 990"/>
                  <a:gd name="T70" fmla="*/ 2147483647 w 690"/>
                  <a:gd name="T71" fmla="*/ 2147483647 h 990"/>
                  <a:gd name="T72" fmla="*/ 2147483647 w 690"/>
                  <a:gd name="T73" fmla="*/ 2147483647 h 990"/>
                  <a:gd name="T74" fmla="*/ 2147483647 w 690"/>
                  <a:gd name="T75" fmla="*/ 2147483647 h 990"/>
                  <a:gd name="T76" fmla="*/ 2147483647 w 690"/>
                  <a:gd name="T77" fmla="*/ 2147483647 h 990"/>
                  <a:gd name="T78" fmla="*/ 2147483647 w 690"/>
                  <a:gd name="T79" fmla="*/ 2147483647 h 990"/>
                  <a:gd name="T80" fmla="*/ 2147483647 w 690"/>
                  <a:gd name="T81" fmla="*/ 2147483647 h 990"/>
                  <a:gd name="T82" fmla="*/ 2147483647 w 690"/>
                  <a:gd name="T83" fmla="*/ 2147483647 h 990"/>
                  <a:gd name="T84" fmla="*/ 2147483647 w 690"/>
                  <a:gd name="T85" fmla="*/ 2147483647 h 990"/>
                  <a:gd name="T86" fmla="*/ 2147483647 w 690"/>
                  <a:gd name="T87" fmla="*/ 2147483647 h 990"/>
                  <a:gd name="T88" fmla="*/ 2147483647 w 690"/>
                  <a:gd name="T89" fmla="*/ 2147483647 h 990"/>
                  <a:gd name="T90" fmla="*/ 2147483647 w 690"/>
                  <a:gd name="T91" fmla="*/ 2147483647 h 990"/>
                  <a:gd name="T92" fmla="*/ 2147483647 w 690"/>
                  <a:gd name="T93" fmla="*/ 2147483647 h 990"/>
                  <a:gd name="T94" fmla="*/ 2147483647 w 690"/>
                  <a:gd name="T95" fmla="*/ 2147483647 h 990"/>
                  <a:gd name="T96" fmla="*/ 2147483647 w 690"/>
                  <a:gd name="T97" fmla="*/ 2147483647 h 990"/>
                  <a:gd name="T98" fmla="*/ 2147483647 w 690"/>
                  <a:gd name="T99" fmla="*/ 2147483647 h 990"/>
                  <a:gd name="T100" fmla="*/ 2147483647 w 690"/>
                  <a:gd name="T101" fmla="*/ 2147483647 h 99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690"/>
                  <a:gd name="T154" fmla="*/ 0 h 990"/>
                  <a:gd name="T155" fmla="*/ 690 w 690"/>
                  <a:gd name="T156" fmla="*/ 990 h 99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690" h="990">
                    <a:moveTo>
                      <a:pt x="678" y="204"/>
                    </a:moveTo>
                    <a:lnTo>
                      <a:pt x="672" y="198"/>
                    </a:lnTo>
                    <a:lnTo>
                      <a:pt x="660" y="192"/>
                    </a:lnTo>
                    <a:lnTo>
                      <a:pt x="648" y="180"/>
                    </a:lnTo>
                    <a:lnTo>
                      <a:pt x="648" y="174"/>
                    </a:lnTo>
                    <a:lnTo>
                      <a:pt x="654" y="162"/>
                    </a:lnTo>
                    <a:lnTo>
                      <a:pt x="660" y="156"/>
                    </a:lnTo>
                    <a:lnTo>
                      <a:pt x="666" y="144"/>
                    </a:lnTo>
                    <a:lnTo>
                      <a:pt x="642" y="132"/>
                    </a:lnTo>
                    <a:lnTo>
                      <a:pt x="648" y="108"/>
                    </a:lnTo>
                    <a:lnTo>
                      <a:pt x="636" y="102"/>
                    </a:lnTo>
                    <a:lnTo>
                      <a:pt x="636" y="96"/>
                    </a:lnTo>
                    <a:lnTo>
                      <a:pt x="642" y="90"/>
                    </a:lnTo>
                    <a:lnTo>
                      <a:pt x="642" y="66"/>
                    </a:lnTo>
                    <a:lnTo>
                      <a:pt x="636" y="66"/>
                    </a:lnTo>
                    <a:lnTo>
                      <a:pt x="630" y="60"/>
                    </a:lnTo>
                    <a:lnTo>
                      <a:pt x="618" y="60"/>
                    </a:lnTo>
                    <a:lnTo>
                      <a:pt x="588" y="42"/>
                    </a:lnTo>
                    <a:lnTo>
                      <a:pt x="552" y="42"/>
                    </a:lnTo>
                    <a:lnTo>
                      <a:pt x="540" y="30"/>
                    </a:lnTo>
                    <a:lnTo>
                      <a:pt x="534" y="30"/>
                    </a:lnTo>
                    <a:lnTo>
                      <a:pt x="528" y="24"/>
                    </a:lnTo>
                    <a:lnTo>
                      <a:pt x="516" y="24"/>
                    </a:lnTo>
                    <a:lnTo>
                      <a:pt x="504" y="18"/>
                    </a:lnTo>
                    <a:lnTo>
                      <a:pt x="498" y="12"/>
                    </a:lnTo>
                    <a:lnTo>
                      <a:pt x="486" y="6"/>
                    </a:lnTo>
                    <a:lnTo>
                      <a:pt x="456" y="0"/>
                    </a:lnTo>
                    <a:lnTo>
                      <a:pt x="456" y="24"/>
                    </a:lnTo>
                    <a:lnTo>
                      <a:pt x="444" y="24"/>
                    </a:lnTo>
                    <a:lnTo>
                      <a:pt x="444" y="30"/>
                    </a:lnTo>
                    <a:lnTo>
                      <a:pt x="456" y="42"/>
                    </a:lnTo>
                    <a:lnTo>
                      <a:pt x="462" y="42"/>
                    </a:lnTo>
                    <a:lnTo>
                      <a:pt x="456" y="48"/>
                    </a:lnTo>
                    <a:lnTo>
                      <a:pt x="444" y="48"/>
                    </a:lnTo>
                    <a:lnTo>
                      <a:pt x="438" y="42"/>
                    </a:lnTo>
                    <a:lnTo>
                      <a:pt x="414" y="42"/>
                    </a:lnTo>
                    <a:lnTo>
                      <a:pt x="390" y="36"/>
                    </a:lnTo>
                    <a:lnTo>
                      <a:pt x="366" y="42"/>
                    </a:lnTo>
                    <a:lnTo>
                      <a:pt x="366" y="30"/>
                    </a:lnTo>
                    <a:lnTo>
                      <a:pt x="360" y="24"/>
                    </a:lnTo>
                    <a:lnTo>
                      <a:pt x="348" y="36"/>
                    </a:lnTo>
                    <a:lnTo>
                      <a:pt x="348" y="66"/>
                    </a:lnTo>
                    <a:lnTo>
                      <a:pt x="342" y="72"/>
                    </a:lnTo>
                    <a:lnTo>
                      <a:pt x="324" y="72"/>
                    </a:lnTo>
                    <a:lnTo>
                      <a:pt x="282" y="78"/>
                    </a:lnTo>
                    <a:lnTo>
                      <a:pt x="264" y="96"/>
                    </a:lnTo>
                    <a:lnTo>
                      <a:pt x="252" y="102"/>
                    </a:lnTo>
                    <a:lnTo>
                      <a:pt x="246" y="102"/>
                    </a:lnTo>
                    <a:lnTo>
                      <a:pt x="246" y="114"/>
                    </a:lnTo>
                    <a:lnTo>
                      <a:pt x="258" y="120"/>
                    </a:lnTo>
                    <a:lnTo>
                      <a:pt x="264" y="126"/>
                    </a:lnTo>
                    <a:lnTo>
                      <a:pt x="258" y="144"/>
                    </a:lnTo>
                    <a:lnTo>
                      <a:pt x="252" y="144"/>
                    </a:lnTo>
                    <a:lnTo>
                      <a:pt x="240" y="150"/>
                    </a:lnTo>
                    <a:lnTo>
                      <a:pt x="234" y="156"/>
                    </a:lnTo>
                    <a:lnTo>
                      <a:pt x="234" y="162"/>
                    </a:lnTo>
                    <a:lnTo>
                      <a:pt x="228" y="168"/>
                    </a:lnTo>
                    <a:lnTo>
                      <a:pt x="210" y="168"/>
                    </a:lnTo>
                    <a:lnTo>
                      <a:pt x="216" y="174"/>
                    </a:lnTo>
                    <a:lnTo>
                      <a:pt x="216" y="180"/>
                    </a:lnTo>
                    <a:lnTo>
                      <a:pt x="222" y="186"/>
                    </a:lnTo>
                    <a:lnTo>
                      <a:pt x="222" y="192"/>
                    </a:lnTo>
                    <a:lnTo>
                      <a:pt x="216" y="192"/>
                    </a:lnTo>
                    <a:lnTo>
                      <a:pt x="210" y="198"/>
                    </a:lnTo>
                    <a:lnTo>
                      <a:pt x="204" y="198"/>
                    </a:lnTo>
                    <a:lnTo>
                      <a:pt x="192" y="204"/>
                    </a:lnTo>
                    <a:lnTo>
                      <a:pt x="174" y="192"/>
                    </a:lnTo>
                    <a:lnTo>
                      <a:pt x="174" y="228"/>
                    </a:lnTo>
                    <a:lnTo>
                      <a:pt x="168" y="270"/>
                    </a:lnTo>
                    <a:lnTo>
                      <a:pt x="138" y="300"/>
                    </a:lnTo>
                    <a:lnTo>
                      <a:pt x="132" y="300"/>
                    </a:lnTo>
                    <a:lnTo>
                      <a:pt x="120" y="306"/>
                    </a:lnTo>
                    <a:lnTo>
                      <a:pt x="132" y="312"/>
                    </a:lnTo>
                    <a:lnTo>
                      <a:pt x="150" y="330"/>
                    </a:lnTo>
                    <a:lnTo>
                      <a:pt x="150" y="336"/>
                    </a:lnTo>
                    <a:lnTo>
                      <a:pt x="144" y="342"/>
                    </a:lnTo>
                    <a:lnTo>
                      <a:pt x="102" y="342"/>
                    </a:lnTo>
                    <a:lnTo>
                      <a:pt x="90" y="348"/>
                    </a:lnTo>
                    <a:lnTo>
                      <a:pt x="84" y="354"/>
                    </a:lnTo>
                    <a:lnTo>
                      <a:pt x="72" y="360"/>
                    </a:lnTo>
                    <a:lnTo>
                      <a:pt x="30" y="402"/>
                    </a:lnTo>
                    <a:lnTo>
                      <a:pt x="36" y="408"/>
                    </a:lnTo>
                    <a:lnTo>
                      <a:pt x="42" y="408"/>
                    </a:lnTo>
                    <a:lnTo>
                      <a:pt x="48" y="414"/>
                    </a:lnTo>
                    <a:lnTo>
                      <a:pt x="48" y="420"/>
                    </a:lnTo>
                    <a:lnTo>
                      <a:pt x="42" y="426"/>
                    </a:lnTo>
                    <a:lnTo>
                      <a:pt x="36" y="426"/>
                    </a:lnTo>
                    <a:lnTo>
                      <a:pt x="30" y="432"/>
                    </a:lnTo>
                    <a:lnTo>
                      <a:pt x="30" y="444"/>
                    </a:lnTo>
                    <a:lnTo>
                      <a:pt x="54" y="468"/>
                    </a:lnTo>
                    <a:lnTo>
                      <a:pt x="54" y="480"/>
                    </a:lnTo>
                    <a:lnTo>
                      <a:pt x="48" y="492"/>
                    </a:lnTo>
                    <a:lnTo>
                      <a:pt x="48" y="510"/>
                    </a:lnTo>
                    <a:lnTo>
                      <a:pt x="60" y="522"/>
                    </a:lnTo>
                    <a:lnTo>
                      <a:pt x="66" y="522"/>
                    </a:lnTo>
                    <a:lnTo>
                      <a:pt x="84" y="540"/>
                    </a:lnTo>
                    <a:lnTo>
                      <a:pt x="84" y="552"/>
                    </a:lnTo>
                    <a:lnTo>
                      <a:pt x="72" y="564"/>
                    </a:lnTo>
                    <a:lnTo>
                      <a:pt x="48" y="570"/>
                    </a:lnTo>
                    <a:lnTo>
                      <a:pt x="54" y="576"/>
                    </a:lnTo>
                    <a:lnTo>
                      <a:pt x="60" y="588"/>
                    </a:lnTo>
                    <a:lnTo>
                      <a:pt x="60" y="594"/>
                    </a:lnTo>
                    <a:lnTo>
                      <a:pt x="66" y="600"/>
                    </a:lnTo>
                    <a:lnTo>
                      <a:pt x="66" y="606"/>
                    </a:lnTo>
                    <a:lnTo>
                      <a:pt x="72" y="618"/>
                    </a:lnTo>
                    <a:lnTo>
                      <a:pt x="66" y="618"/>
                    </a:lnTo>
                    <a:lnTo>
                      <a:pt x="66" y="642"/>
                    </a:lnTo>
                    <a:lnTo>
                      <a:pt x="60" y="648"/>
                    </a:lnTo>
                    <a:lnTo>
                      <a:pt x="24" y="648"/>
                    </a:lnTo>
                    <a:lnTo>
                      <a:pt x="30" y="660"/>
                    </a:lnTo>
                    <a:lnTo>
                      <a:pt x="30" y="666"/>
                    </a:lnTo>
                    <a:lnTo>
                      <a:pt x="24" y="666"/>
                    </a:lnTo>
                    <a:lnTo>
                      <a:pt x="18" y="672"/>
                    </a:lnTo>
                    <a:lnTo>
                      <a:pt x="18" y="678"/>
                    </a:lnTo>
                    <a:lnTo>
                      <a:pt x="30" y="690"/>
                    </a:lnTo>
                    <a:lnTo>
                      <a:pt x="30" y="708"/>
                    </a:lnTo>
                    <a:lnTo>
                      <a:pt x="24" y="714"/>
                    </a:lnTo>
                    <a:lnTo>
                      <a:pt x="18" y="726"/>
                    </a:lnTo>
                    <a:lnTo>
                      <a:pt x="0" y="708"/>
                    </a:lnTo>
                    <a:lnTo>
                      <a:pt x="0" y="768"/>
                    </a:lnTo>
                    <a:lnTo>
                      <a:pt x="6" y="762"/>
                    </a:lnTo>
                    <a:lnTo>
                      <a:pt x="24" y="762"/>
                    </a:lnTo>
                    <a:lnTo>
                      <a:pt x="36" y="774"/>
                    </a:lnTo>
                    <a:lnTo>
                      <a:pt x="36" y="780"/>
                    </a:lnTo>
                    <a:lnTo>
                      <a:pt x="30" y="780"/>
                    </a:lnTo>
                    <a:lnTo>
                      <a:pt x="30" y="774"/>
                    </a:lnTo>
                    <a:lnTo>
                      <a:pt x="24" y="774"/>
                    </a:lnTo>
                    <a:lnTo>
                      <a:pt x="24" y="834"/>
                    </a:lnTo>
                    <a:lnTo>
                      <a:pt x="30" y="840"/>
                    </a:lnTo>
                    <a:lnTo>
                      <a:pt x="36" y="840"/>
                    </a:lnTo>
                    <a:lnTo>
                      <a:pt x="48" y="846"/>
                    </a:lnTo>
                    <a:lnTo>
                      <a:pt x="54" y="858"/>
                    </a:lnTo>
                    <a:lnTo>
                      <a:pt x="60" y="864"/>
                    </a:lnTo>
                    <a:lnTo>
                      <a:pt x="66" y="876"/>
                    </a:lnTo>
                    <a:lnTo>
                      <a:pt x="90" y="900"/>
                    </a:lnTo>
                    <a:lnTo>
                      <a:pt x="96" y="900"/>
                    </a:lnTo>
                    <a:lnTo>
                      <a:pt x="96" y="912"/>
                    </a:lnTo>
                    <a:lnTo>
                      <a:pt x="78" y="912"/>
                    </a:lnTo>
                    <a:lnTo>
                      <a:pt x="78" y="942"/>
                    </a:lnTo>
                    <a:lnTo>
                      <a:pt x="90" y="954"/>
                    </a:lnTo>
                    <a:lnTo>
                      <a:pt x="102" y="960"/>
                    </a:lnTo>
                    <a:lnTo>
                      <a:pt x="96" y="966"/>
                    </a:lnTo>
                    <a:lnTo>
                      <a:pt x="96" y="984"/>
                    </a:lnTo>
                    <a:lnTo>
                      <a:pt x="102" y="984"/>
                    </a:lnTo>
                    <a:lnTo>
                      <a:pt x="108" y="990"/>
                    </a:lnTo>
                    <a:lnTo>
                      <a:pt x="174" y="990"/>
                    </a:lnTo>
                    <a:lnTo>
                      <a:pt x="180" y="984"/>
                    </a:lnTo>
                    <a:lnTo>
                      <a:pt x="180" y="948"/>
                    </a:lnTo>
                    <a:lnTo>
                      <a:pt x="198" y="942"/>
                    </a:lnTo>
                    <a:lnTo>
                      <a:pt x="198" y="924"/>
                    </a:lnTo>
                    <a:lnTo>
                      <a:pt x="264" y="930"/>
                    </a:lnTo>
                    <a:lnTo>
                      <a:pt x="276" y="936"/>
                    </a:lnTo>
                    <a:lnTo>
                      <a:pt x="300" y="876"/>
                    </a:lnTo>
                    <a:lnTo>
                      <a:pt x="300" y="864"/>
                    </a:lnTo>
                    <a:lnTo>
                      <a:pt x="306" y="852"/>
                    </a:lnTo>
                    <a:lnTo>
                      <a:pt x="306" y="816"/>
                    </a:lnTo>
                    <a:lnTo>
                      <a:pt x="300" y="810"/>
                    </a:lnTo>
                    <a:lnTo>
                      <a:pt x="294" y="798"/>
                    </a:lnTo>
                    <a:lnTo>
                      <a:pt x="312" y="798"/>
                    </a:lnTo>
                    <a:lnTo>
                      <a:pt x="324" y="786"/>
                    </a:lnTo>
                    <a:lnTo>
                      <a:pt x="324" y="780"/>
                    </a:lnTo>
                    <a:lnTo>
                      <a:pt x="306" y="762"/>
                    </a:lnTo>
                    <a:lnTo>
                      <a:pt x="294" y="762"/>
                    </a:lnTo>
                    <a:lnTo>
                      <a:pt x="312" y="756"/>
                    </a:lnTo>
                    <a:lnTo>
                      <a:pt x="300" y="750"/>
                    </a:lnTo>
                    <a:lnTo>
                      <a:pt x="324" y="750"/>
                    </a:lnTo>
                    <a:lnTo>
                      <a:pt x="336" y="744"/>
                    </a:lnTo>
                    <a:lnTo>
                      <a:pt x="348" y="744"/>
                    </a:lnTo>
                    <a:lnTo>
                      <a:pt x="354" y="738"/>
                    </a:lnTo>
                    <a:lnTo>
                      <a:pt x="360" y="726"/>
                    </a:lnTo>
                    <a:lnTo>
                      <a:pt x="360" y="714"/>
                    </a:lnTo>
                    <a:lnTo>
                      <a:pt x="366" y="708"/>
                    </a:lnTo>
                    <a:lnTo>
                      <a:pt x="384" y="726"/>
                    </a:lnTo>
                    <a:lnTo>
                      <a:pt x="390" y="726"/>
                    </a:lnTo>
                    <a:lnTo>
                      <a:pt x="396" y="720"/>
                    </a:lnTo>
                    <a:lnTo>
                      <a:pt x="408" y="696"/>
                    </a:lnTo>
                    <a:lnTo>
                      <a:pt x="402" y="690"/>
                    </a:lnTo>
                    <a:lnTo>
                      <a:pt x="402" y="684"/>
                    </a:lnTo>
                    <a:lnTo>
                      <a:pt x="414" y="684"/>
                    </a:lnTo>
                    <a:lnTo>
                      <a:pt x="420" y="678"/>
                    </a:lnTo>
                    <a:lnTo>
                      <a:pt x="432" y="672"/>
                    </a:lnTo>
                    <a:lnTo>
                      <a:pt x="432" y="660"/>
                    </a:lnTo>
                    <a:lnTo>
                      <a:pt x="420" y="636"/>
                    </a:lnTo>
                    <a:lnTo>
                      <a:pt x="408" y="630"/>
                    </a:lnTo>
                    <a:lnTo>
                      <a:pt x="408" y="618"/>
                    </a:lnTo>
                    <a:lnTo>
                      <a:pt x="372" y="600"/>
                    </a:lnTo>
                    <a:lnTo>
                      <a:pt x="360" y="606"/>
                    </a:lnTo>
                    <a:lnTo>
                      <a:pt x="354" y="606"/>
                    </a:lnTo>
                    <a:lnTo>
                      <a:pt x="342" y="600"/>
                    </a:lnTo>
                    <a:lnTo>
                      <a:pt x="330" y="576"/>
                    </a:lnTo>
                    <a:lnTo>
                      <a:pt x="330" y="558"/>
                    </a:lnTo>
                    <a:lnTo>
                      <a:pt x="324" y="546"/>
                    </a:lnTo>
                    <a:lnTo>
                      <a:pt x="324" y="528"/>
                    </a:lnTo>
                    <a:lnTo>
                      <a:pt x="336" y="516"/>
                    </a:lnTo>
                    <a:lnTo>
                      <a:pt x="342" y="504"/>
                    </a:lnTo>
                    <a:lnTo>
                      <a:pt x="342" y="486"/>
                    </a:lnTo>
                    <a:lnTo>
                      <a:pt x="336" y="474"/>
                    </a:lnTo>
                    <a:lnTo>
                      <a:pt x="330" y="468"/>
                    </a:lnTo>
                    <a:lnTo>
                      <a:pt x="330" y="462"/>
                    </a:lnTo>
                    <a:lnTo>
                      <a:pt x="348" y="462"/>
                    </a:lnTo>
                    <a:lnTo>
                      <a:pt x="354" y="456"/>
                    </a:lnTo>
                    <a:lnTo>
                      <a:pt x="354" y="438"/>
                    </a:lnTo>
                    <a:lnTo>
                      <a:pt x="348" y="426"/>
                    </a:lnTo>
                    <a:lnTo>
                      <a:pt x="354" y="432"/>
                    </a:lnTo>
                    <a:lnTo>
                      <a:pt x="378" y="432"/>
                    </a:lnTo>
                    <a:lnTo>
                      <a:pt x="384" y="426"/>
                    </a:lnTo>
                    <a:lnTo>
                      <a:pt x="396" y="420"/>
                    </a:lnTo>
                    <a:lnTo>
                      <a:pt x="408" y="408"/>
                    </a:lnTo>
                    <a:lnTo>
                      <a:pt x="438" y="414"/>
                    </a:lnTo>
                    <a:lnTo>
                      <a:pt x="450" y="390"/>
                    </a:lnTo>
                    <a:lnTo>
                      <a:pt x="480" y="390"/>
                    </a:lnTo>
                    <a:lnTo>
                      <a:pt x="498" y="384"/>
                    </a:lnTo>
                    <a:lnTo>
                      <a:pt x="510" y="378"/>
                    </a:lnTo>
                    <a:lnTo>
                      <a:pt x="522" y="354"/>
                    </a:lnTo>
                    <a:lnTo>
                      <a:pt x="540" y="336"/>
                    </a:lnTo>
                    <a:lnTo>
                      <a:pt x="546" y="324"/>
                    </a:lnTo>
                    <a:lnTo>
                      <a:pt x="528" y="300"/>
                    </a:lnTo>
                    <a:lnTo>
                      <a:pt x="558" y="264"/>
                    </a:lnTo>
                    <a:lnTo>
                      <a:pt x="540" y="246"/>
                    </a:lnTo>
                    <a:lnTo>
                      <a:pt x="576" y="234"/>
                    </a:lnTo>
                    <a:lnTo>
                      <a:pt x="594" y="216"/>
                    </a:lnTo>
                    <a:lnTo>
                      <a:pt x="672" y="222"/>
                    </a:lnTo>
                    <a:lnTo>
                      <a:pt x="684" y="240"/>
                    </a:lnTo>
                    <a:lnTo>
                      <a:pt x="690" y="240"/>
                    </a:lnTo>
                    <a:lnTo>
                      <a:pt x="678" y="204"/>
                    </a:lnTo>
                    <a:close/>
                    <a:moveTo>
                      <a:pt x="390" y="828"/>
                    </a:moveTo>
                    <a:lnTo>
                      <a:pt x="390" y="840"/>
                    </a:lnTo>
                    <a:lnTo>
                      <a:pt x="396" y="852"/>
                    </a:lnTo>
                    <a:lnTo>
                      <a:pt x="396" y="864"/>
                    </a:lnTo>
                    <a:lnTo>
                      <a:pt x="402" y="870"/>
                    </a:lnTo>
                    <a:lnTo>
                      <a:pt x="402" y="876"/>
                    </a:lnTo>
                    <a:lnTo>
                      <a:pt x="414" y="852"/>
                    </a:lnTo>
                    <a:lnTo>
                      <a:pt x="426" y="852"/>
                    </a:lnTo>
                    <a:lnTo>
                      <a:pt x="432" y="846"/>
                    </a:lnTo>
                    <a:lnTo>
                      <a:pt x="438" y="834"/>
                    </a:lnTo>
                    <a:lnTo>
                      <a:pt x="438" y="822"/>
                    </a:lnTo>
                    <a:lnTo>
                      <a:pt x="432" y="816"/>
                    </a:lnTo>
                    <a:lnTo>
                      <a:pt x="450" y="798"/>
                    </a:lnTo>
                    <a:lnTo>
                      <a:pt x="444" y="798"/>
                    </a:lnTo>
                    <a:lnTo>
                      <a:pt x="438" y="804"/>
                    </a:lnTo>
                    <a:lnTo>
                      <a:pt x="420" y="804"/>
                    </a:lnTo>
                    <a:lnTo>
                      <a:pt x="408" y="810"/>
                    </a:lnTo>
                    <a:lnTo>
                      <a:pt x="390" y="828"/>
                    </a:lnTo>
                    <a:close/>
                    <a:moveTo>
                      <a:pt x="300" y="900"/>
                    </a:moveTo>
                    <a:lnTo>
                      <a:pt x="300" y="912"/>
                    </a:lnTo>
                    <a:lnTo>
                      <a:pt x="294" y="924"/>
                    </a:lnTo>
                    <a:lnTo>
                      <a:pt x="300" y="918"/>
                    </a:lnTo>
                    <a:lnTo>
                      <a:pt x="312" y="912"/>
                    </a:lnTo>
                    <a:lnTo>
                      <a:pt x="318" y="900"/>
                    </a:lnTo>
                    <a:lnTo>
                      <a:pt x="318" y="894"/>
                    </a:lnTo>
                    <a:lnTo>
                      <a:pt x="324" y="888"/>
                    </a:lnTo>
                    <a:lnTo>
                      <a:pt x="324" y="882"/>
                    </a:lnTo>
                    <a:lnTo>
                      <a:pt x="342" y="858"/>
                    </a:lnTo>
                    <a:lnTo>
                      <a:pt x="336" y="840"/>
                    </a:lnTo>
                    <a:lnTo>
                      <a:pt x="330" y="852"/>
                    </a:lnTo>
                    <a:lnTo>
                      <a:pt x="312" y="870"/>
                    </a:lnTo>
                    <a:lnTo>
                      <a:pt x="300" y="894"/>
                    </a:lnTo>
                    <a:lnTo>
                      <a:pt x="300" y="90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38" name="United Kingdo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A21E736-453E-4AB8-97A1-5AEEA551423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385211" y="2351201"/>
                <a:ext cx="255087" cy="370226"/>
              </a:xfrm>
              <a:custGeom>
                <a:avLst/>
                <a:gdLst>
                  <a:gd name="T0" fmla="*/ 2147483647 w 576"/>
                  <a:gd name="T1" fmla="*/ 2147483647 h 822"/>
                  <a:gd name="T2" fmla="*/ 2147483647 w 576"/>
                  <a:gd name="T3" fmla="*/ 2147483647 h 822"/>
                  <a:gd name="T4" fmla="*/ 2147483647 w 576"/>
                  <a:gd name="T5" fmla="*/ 2147483647 h 822"/>
                  <a:gd name="T6" fmla="*/ 2147483647 w 576"/>
                  <a:gd name="T7" fmla="*/ 2147483647 h 822"/>
                  <a:gd name="T8" fmla="*/ 2147483647 w 576"/>
                  <a:gd name="T9" fmla="*/ 2147483647 h 822"/>
                  <a:gd name="T10" fmla="*/ 2147483647 w 576"/>
                  <a:gd name="T11" fmla="*/ 2147483647 h 822"/>
                  <a:gd name="T12" fmla="*/ 2147483647 w 576"/>
                  <a:gd name="T13" fmla="*/ 2147483647 h 822"/>
                  <a:gd name="T14" fmla="*/ 2147483647 w 576"/>
                  <a:gd name="T15" fmla="*/ 0 h 822"/>
                  <a:gd name="T16" fmla="*/ 2147483647 w 576"/>
                  <a:gd name="T17" fmla="*/ 0 h 822"/>
                  <a:gd name="T18" fmla="*/ 2147483647 w 576"/>
                  <a:gd name="T19" fmla="*/ 2147483647 h 822"/>
                  <a:gd name="T20" fmla="*/ 2147483647 w 576"/>
                  <a:gd name="T21" fmla="*/ 2147483647 h 822"/>
                  <a:gd name="T22" fmla="*/ 2147483647 w 576"/>
                  <a:gd name="T23" fmla="*/ 2147483647 h 822"/>
                  <a:gd name="T24" fmla="*/ 2147483647 w 576"/>
                  <a:gd name="T25" fmla="*/ 2147483647 h 822"/>
                  <a:gd name="T26" fmla="*/ 2147483647 w 576"/>
                  <a:gd name="T27" fmla="*/ 2147483647 h 822"/>
                  <a:gd name="T28" fmla="*/ 2147483647 w 576"/>
                  <a:gd name="T29" fmla="*/ 2147483647 h 822"/>
                  <a:gd name="T30" fmla="*/ 2147483647 w 576"/>
                  <a:gd name="T31" fmla="*/ 2147483647 h 822"/>
                  <a:gd name="T32" fmla="*/ 2147483647 w 576"/>
                  <a:gd name="T33" fmla="*/ 2147483647 h 822"/>
                  <a:gd name="T34" fmla="*/ 2147483647 w 576"/>
                  <a:gd name="T35" fmla="*/ 2147483647 h 822"/>
                  <a:gd name="T36" fmla="*/ 2147483647 w 576"/>
                  <a:gd name="T37" fmla="*/ 2147483647 h 822"/>
                  <a:gd name="T38" fmla="*/ 2147483647 w 576"/>
                  <a:gd name="T39" fmla="*/ 2147483647 h 822"/>
                  <a:gd name="T40" fmla="*/ 2147483647 w 576"/>
                  <a:gd name="T41" fmla="*/ 2147483647 h 822"/>
                  <a:gd name="T42" fmla="*/ 2147483647 w 576"/>
                  <a:gd name="T43" fmla="*/ 2147483647 h 822"/>
                  <a:gd name="T44" fmla="*/ 2147483647 w 576"/>
                  <a:gd name="T45" fmla="*/ 2147483647 h 822"/>
                  <a:gd name="T46" fmla="*/ 2147483647 w 576"/>
                  <a:gd name="T47" fmla="*/ 2147483647 h 822"/>
                  <a:gd name="T48" fmla="*/ 2147483647 w 576"/>
                  <a:gd name="T49" fmla="*/ 2147483647 h 822"/>
                  <a:gd name="T50" fmla="*/ 2147483647 w 576"/>
                  <a:gd name="T51" fmla="*/ 2147483647 h 822"/>
                  <a:gd name="T52" fmla="*/ 2147483647 w 576"/>
                  <a:gd name="T53" fmla="*/ 2147483647 h 822"/>
                  <a:gd name="T54" fmla="*/ 2147483647 w 576"/>
                  <a:gd name="T55" fmla="*/ 2147483647 h 822"/>
                  <a:gd name="T56" fmla="*/ 2147483647 w 576"/>
                  <a:gd name="T57" fmla="*/ 2147483647 h 822"/>
                  <a:gd name="T58" fmla="*/ 2147483647 w 576"/>
                  <a:gd name="T59" fmla="*/ 2147483647 h 822"/>
                  <a:gd name="T60" fmla="*/ 2147483647 w 576"/>
                  <a:gd name="T61" fmla="*/ 2147483647 h 822"/>
                  <a:gd name="T62" fmla="*/ 2147483647 w 576"/>
                  <a:gd name="T63" fmla="*/ 2147483647 h 822"/>
                  <a:gd name="T64" fmla="*/ 2147483647 w 576"/>
                  <a:gd name="T65" fmla="*/ 2147483647 h 822"/>
                  <a:gd name="T66" fmla="*/ 2147483647 w 576"/>
                  <a:gd name="T67" fmla="*/ 2147483647 h 822"/>
                  <a:gd name="T68" fmla="*/ 2147483647 w 576"/>
                  <a:gd name="T69" fmla="*/ 2147483647 h 822"/>
                  <a:gd name="T70" fmla="*/ 2147483647 w 576"/>
                  <a:gd name="T71" fmla="*/ 2147483647 h 822"/>
                  <a:gd name="T72" fmla="*/ 2147483647 w 576"/>
                  <a:gd name="T73" fmla="*/ 2147483647 h 822"/>
                  <a:gd name="T74" fmla="*/ 2147483647 w 576"/>
                  <a:gd name="T75" fmla="*/ 2147483647 h 822"/>
                  <a:gd name="T76" fmla="*/ 2147483647 w 576"/>
                  <a:gd name="T77" fmla="*/ 2147483647 h 822"/>
                  <a:gd name="T78" fmla="*/ 2147483647 w 576"/>
                  <a:gd name="T79" fmla="*/ 2147483647 h 822"/>
                  <a:gd name="T80" fmla="*/ 2147483647 w 576"/>
                  <a:gd name="T81" fmla="*/ 2147483647 h 822"/>
                  <a:gd name="T82" fmla="*/ 2147483647 w 576"/>
                  <a:gd name="T83" fmla="*/ 2147483647 h 822"/>
                  <a:gd name="T84" fmla="*/ 2147483647 w 576"/>
                  <a:gd name="T85" fmla="*/ 2147483647 h 822"/>
                  <a:gd name="T86" fmla="*/ 2147483647 w 576"/>
                  <a:gd name="T87" fmla="*/ 2147483647 h 822"/>
                  <a:gd name="T88" fmla="*/ 2147483647 w 576"/>
                  <a:gd name="T89" fmla="*/ 2147483647 h 822"/>
                  <a:gd name="T90" fmla="*/ 2147483647 w 576"/>
                  <a:gd name="T91" fmla="*/ 2147483647 h 822"/>
                  <a:gd name="T92" fmla="*/ 2147483647 w 576"/>
                  <a:gd name="T93" fmla="*/ 2147483647 h 822"/>
                  <a:gd name="T94" fmla="*/ 2147483647 w 576"/>
                  <a:gd name="T95" fmla="*/ 2147483647 h 822"/>
                  <a:gd name="T96" fmla="*/ 2147483647 w 576"/>
                  <a:gd name="T97" fmla="*/ 2147483647 h 822"/>
                  <a:gd name="T98" fmla="*/ 2147483647 w 576"/>
                  <a:gd name="T99" fmla="*/ 2147483647 h 822"/>
                  <a:gd name="T100" fmla="*/ 2147483647 w 576"/>
                  <a:gd name="T101" fmla="*/ 2147483647 h 822"/>
                  <a:gd name="T102" fmla="*/ 2147483647 w 576"/>
                  <a:gd name="T103" fmla="*/ 2147483647 h 822"/>
                  <a:gd name="T104" fmla="*/ 2147483647 w 576"/>
                  <a:gd name="T105" fmla="*/ 2147483647 h 822"/>
                  <a:gd name="T106" fmla="*/ 2147483647 w 576"/>
                  <a:gd name="T107" fmla="*/ 2147483647 h 822"/>
                  <a:gd name="T108" fmla="*/ 2147483647 w 576"/>
                  <a:gd name="T109" fmla="*/ 2147483647 h 822"/>
                  <a:gd name="T110" fmla="*/ 2147483647 w 576"/>
                  <a:gd name="T111" fmla="*/ 2147483647 h 822"/>
                  <a:gd name="T112" fmla="*/ 2147483647 w 576"/>
                  <a:gd name="T113" fmla="*/ 2147483647 h 822"/>
                  <a:gd name="T114" fmla="*/ 2147483647 w 576"/>
                  <a:gd name="T115" fmla="*/ 2147483647 h 822"/>
                  <a:gd name="T116" fmla="*/ 2147483647 w 576"/>
                  <a:gd name="T117" fmla="*/ 2147483647 h 822"/>
                  <a:gd name="T118" fmla="*/ 2147483647 w 576"/>
                  <a:gd name="T119" fmla="*/ 2147483647 h 822"/>
                  <a:gd name="T120" fmla="*/ 2147483647 w 576"/>
                  <a:gd name="T121" fmla="*/ 2147483647 h 822"/>
                  <a:gd name="T122" fmla="*/ 2147483647 w 576"/>
                  <a:gd name="T123" fmla="*/ 2147483647 h 82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6"/>
                  <a:gd name="T187" fmla="*/ 0 h 822"/>
                  <a:gd name="T188" fmla="*/ 576 w 576"/>
                  <a:gd name="T189" fmla="*/ 822 h 82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6" h="822">
                    <a:moveTo>
                      <a:pt x="162" y="378"/>
                    </a:moveTo>
                    <a:lnTo>
                      <a:pt x="156" y="378"/>
                    </a:lnTo>
                    <a:lnTo>
                      <a:pt x="150" y="384"/>
                    </a:lnTo>
                    <a:lnTo>
                      <a:pt x="150" y="396"/>
                    </a:lnTo>
                    <a:lnTo>
                      <a:pt x="144" y="414"/>
                    </a:lnTo>
                    <a:lnTo>
                      <a:pt x="156" y="402"/>
                    </a:lnTo>
                    <a:lnTo>
                      <a:pt x="162" y="390"/>
                    </a:lnTo>
                    <a:lnTo>
                      <a:pt x="162" y="378"/>
                    </a:lnTo>
                    <a:close/>
                    <a:moveTo>
                      <a:pt x="132" y="312"/>
                    </a:moveTo>
                    <a:lnTo>
                      <a:pt x="126" y="312"/>
                    </a:lnTo>
                    <a:lnTo>
                      <a:pt x="126" y="336"/>
                    </a:lnTo>
                    <a:lnTo>
                      <a:pt x="132" y="336"/>
                    </a:lnTo>
                    <a:lnTo>
                      <a:pt x="138" y="330"/>
                    </a:lnTo>
                    <a:lnTo>
                      <a:pt x="150" y="330"/>
                    </a:lnTo>
                    <a:lnTo>
                      <a:pt x="144" y="318"/>
                    </a:lnTo>
                    <a:lnTo>
                      <a:pt x="138" y="312"/>
                    </a:lnTo>
                    <a:lnTo>
                      <a:pt x="132" y="312"/>
                    </a:lnTo>
                    <a:close/>
                    <a:moveTo>
                      <a:pt x="114" y="390"/>
                    </a:moveTo>
                    <a:lnTo>
                      <a:pt x="126" y="390"/>
                    </a:lnTo>
                    <a:lnTo>
                      <a:pt x="138" y="384"/>
                    </a:lnTo>
                    <a:lnTo>
                      <a:pt x="138" y="372"/>
                    </a:lnTo>
                    <a:lnTo>
                      <a:pt x="132" y="366"/>
                    </a:lnTo>
                    <a:lnTo>
                      <a:pt x="120" y="366"/>
                    </a:lnTo>
                    <a:lnTo>
                      <a:pt x="114" y="372"/>
                    </a:lnTo>
                    <a:lnTo>
                      <a:pt x="108" y="384"/>
                    </a:lnTo>
                    <a:lnTo>
                      <a:pt x="108" y="390"/>
                    </a:lnTo>
                    <a:lnTo>
                      <a:pt x="114" y="390"/>
                    </a:lnTo>
                    <a:close/>
                    <a:moveTo>
                      <a:pt x="330" y="120"/>
                    </a:moveTo>
                    <a:lnTo>
                      <a:pt x="324" y="120"/>
                    </a:lnTo>
                    <a:lnTo>
                      <a:pt x="318" y="126"/>
                    </a:lnTo>
                    <a:lnTo>
                      <a:pt x="318" y="138"/>
                    </a:lnTo>
                    <a:lnTo>
                      <a:pt x="330" y="138"/>
                    </a:lnTo>
                    <a:lnTo>
                      <a:pt x="336" y="126"/>
                    </a:lnTo>
                    <a:lnTo>
                      <a:pt x="330" y="120"/>
                    </a:lnTo>
                    <a:close/>
                    <a:moveTo>
                      <a:pt x="138" y="258"/>
                    </a:moveTo>
                    <a:lnTo>
                      <a:pt x="138" y="234"/>
                    </a:lnTo>
                    <a:lnTo>
                      <a:pt x="126" y="234"/>
                    </a:lnTo>
                    <a:lnTo>
                      <a:pt x="120" y="240"/>
                    </a:lnTo>
                    <a:lnTo>
                      <a:pt x="120" y="246"/>
                    </a:lnTo>
                    <a:lnTo>
                      <a:pt x="126" y="252"/>
                    </a:lnTo>
                    <a:lnTo>
                      <a:pt x="108" y="252"/>
                    </a:lnTo>
                    <a:lnTo>
                      <a:pt x="108" y="258"/>
                    </a:lnTo>
                    <a:lnTo>
                      <a:pt x="114" y="264"/>
                    </a:lnTo>
                    <a:lnTo>
                      <a:pt x="120" y="264"/>
                    </a:lnTo>
                    <a:lnTo>
                      <a:pt x="126" y="270"/>
                    </a:lnTo>
                    <a:lnTo>
                      <a:pt x="150" y="270"/>
                    </a:lnTo>
                    <a:lnTo>
                      <a:pt x="138" y="258"/>
                    </a:lnTo>
                    <a:close/>
                    <a:moveTo>
                      <a:pt x="474" y="0"/>
                    </a:moveTo>
                    <a:lnTo>
                      <a:pt x="468" y="0"/>
                    </a:lnTo>
                    <a:lnTo>
                      <a:pt x="456" y="12"/>
                    </a:lnTo>
                    <a:lnTo>
                      <a:pt x="474" y="12"/>
                    </a:lnTo>
                    <a:lnTo>
                      <a:pt x="474" y="6"/>
                    </a:lnTo>
                    <a:lnTo>
                      <a:pt x="480" y="0"/>
                    </a:lnTo>
                    <a:lnTo>
                      <a:pt x="474" y="0"/>
                    </a:lnTo>
                    <a:close/>
                    <a:moveTo>
                      <a:pt x="432" y="48"/>
                    </a:moveTo>
                    <a:lnTo>
                      <a:pt x="432" y="66"/>
                    </a:lnTo>
                    <a:lnTo>
                      <a:pt x="438" y="66"/>
                    </a:lnTo>
                    <a:lnTo>
                      <a:pt x="444" y="60"/>
                    </a:lnTo>
                    <a:lnTo>
                      <a:pt x="450" y="48"/>
                    </a:lnTo>
                    <a:lnTo>
                      <a:pt x="450" y="24"/>
                    </a:lnTo>
                    <a:lnTo>
                      <a:pt x="438" y="12"/>
                    </a:lnTo>
                    <a:lnTo>
                      <a:pt x="432" y="24"/>
                    </a:lnTo>
                    <a:lnTo>
                      <a:pt x="426" y="30"/>
                    </a:lnTo>
                    <a:lnTo>
                      <a:pt x="420" y="30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2" y="48"/>
                    </a:lnTo>
                    <a:close/>
                    <a:moveTo>
                      <a:pt x="342" y="138"/>
                    </a:moveTo>
                    <a:lnTo>
                      <a:pt x="342" y="150"/>
                    </a:lnTo>
                    <a:lnTo>
                      <a:pt x="354" y="138"/>
                    </a:lnTo>
                    <a:lnTo>
                      <a:pt x="342" y="138"/>
                    </a:lnTo>
                    <a:close/>
                    <a:moveTo>
                      <a:pt x="192" y="402"/>
                    </a:moveTo>
                    <a:lnTo>
                      <a:pt x="192" y="390"/>
                    </a:lnTo>
                    <a:lnTo>
                      <a:pt x="186" y="384"/>
                    </a:lnTo>
                    <a:lnTo>
                      <a:pt x="186" y="378"/>
                    </a:lnTo>
                    <a:lnTo>
                      <a:pt x="174" y="390"/>
                    </a:lnTo>
                    <a:lnTo>
                      <a:pt x="174" y="396"/>
                    </a:lnTo>
                    <a:lnTo>
                      <a:pt x="180" y="402"/>
                    </a:lnTo>
                    <a:lnTo>
                      <a:pt x="192" y="402"/>
                    </a:lnTo>
                    <a:close/>
                    <a:moveTo>
                      <a:pt x="504" y="588"/>
                    </a:moveTo>
                    <a:lnTo>
                      <a:pt x="498" y="594"/>
                    </a:lnTo>
                    <a:lnTo>
                      <a:pt x="498" y="600"/>
                    </a:lnTo>
                    <a:lnTo>
                      <a:pt x="480" y="600"/>
                    </a:lnTo>
                    <a:lnTo>
                      <a:pt x="480" y="588"/>
                    </a:lnTo>
                    <a:lnTo>
                      <a:pt x="486" y="576"/>
                    </a:lnTo>
                    <a:lnTo>
                      <a:pt x="498" y="564"/>
                    </a:lnTo>
                    <a:lnTo>
                      <a:pt x="492" y="558"/>
                    </a:lnTo>
                    <a:lnTo>
                      <a:pt x="456" y="540"/>
                    </a:lnTo>
                    <a:lnTo>
                      <a:pt x="450" y="540"/>
                    </a:lnTo>
                    <a:lnTo>
                      <a:pt x="444" y="534"/>
                    </a:lnTo>
                    <a:lnTo>
                      <a:pt x="450" y="534"/>
                    </a:lnTo>
                    <a:lnTo>
                      <a:pt x="456" y="528"/>
                    </a:lnTo>
                    <a:lnTo>
                      <a:pt x="480" y="528"/>
                    </a:lnTo>
                    <a:lnTo>
                      <a:pt x="468" y="516"/>
                    </a:lnTo>
                    <a:lnTo>
                      <a:pt x="468" y="510"/>
                    </a:lnTo>
                    <a:lnTo>
                      <a:pt x="456" y="498"/>
                    </a:lnTo>
                    <a:lnTo>
                      <a:pt x="450" y="486"/>
                    </a:lnTo>
                    <a:lnTo>
                      <a:pt x="432" y="468"/>
                    </a:lnTo>
                    <a:lnTo>
                      <a:pt x="420" y="468"/>
                    </a:lnTo>
                    <a:lnTo>
                      <a:pt x="414" y="456"/>
                    </a:lnTo>
                    <a:lnTo>
                      <a:pt x="402" y="450"/>
                    </a:lnTo>
                    <a:lnTo>
                      <a:pt x="390" y="438"/>
                    </a:lnTo>
                    <a:lnTo>
                      <a:pt x="390" y="414"/>
                    </a:lnTo>
                    <a:lnTo>
                      <a:pt x="396" y="402"/>
                    </a:lnTo>
                    <a:lnTo>
                      <a:pt x="396" y="390"/>
                    </a:lnTo>
                    <a:lnTo>
                      <a:pt x="384" y="390"/>
                    </a:lnTo>
                    <a:lnTo>
                      <a:pt x="378" y="384"/>
                    </a:lnTo>
                    <a:lnTo>
                      <a:pt x="372" y="372"/>
                    </a:lnTo>
                    <a:lnTo>
                      <a:pt x="360" y="360"/>
                    </a:lnTo>
                    <a:lnTo>
                      <a:pt x="342" y="354"/>
                    </a:lnTo>
                    <a:lnTo>
                      <a:pt x="324" y="354"/>
                    </a:lnTo>
                    <a:lnTo>
                      <a:pt x="306" y="360"/>
                    </a:lnTo>
                    <a:lnTo>
                      <a:pt x="294" y="366"/>
                    </a:lnTo>
                    <a:lnTo>
                      <a:pt x="288" y="366"/>
                    </a:lnTo>
                    <a:lnTo>
                      <a:pt x="270" y="348"/>
                    </a:lnTo>
                    <a:lnTo>
                      <a:pt x="282" y="348"/>
                    </a:lnTo>
                    <a:lnTo>
                      <a:pt x="294" y="354"/>
                    </a:lnTo>
                    <a:lnTo>
                      <a:pt x="306" y="354"/>
                    </a:lnTo>
                    <a:lnTo>
                      <a:pt x="330" y="342"/>
                    </a:lnTo>
                    <a:lnTo>
                      <a:pt x="336" y="336"/>
                    </a:lnTo>
                    <a:lnTo>
                      <a:pt x="330" y="336"/>
                    </a:lnTo>
                    <a:lnTo>
                      <a:pt x="324" y="330"/>
                    </a:lnTo>
                    <a:lnTo>
                      <a:pt x="306" y="330"/>
                    </a:lnTo>
                    <a:lnTo>
                      <a:pt x="330" y="324"/>
                    </a:lnTo>
                    <a:lnTo>
                      <a:pt x="336" y="318"/>
                    </a:lnTo>
                    <a:lnTo>
                      <a:pt x="348" y="312"/>
                    </a:lnTo>
                    <a:lnTo>
                      <a:pt x="360" y="300"/>
                    </a:lnTo>
                    <a:lnTo>
                      <a:pt x="360" y="288"/>
                    </a:lnTo>
                    <a:lnTo>
                      <a:pt x="366" y="276"/>
                    </a:lnTo>
                    <a:lnTo>
                      <a:pt x="372" y="270"/>
                    </a:lnTo>
                    <a:lnTo>
                      <a:pt x="378" y="258"/>
                    </a:lnTo>
                    <a:lnTo>
                      <a:pt x="384" y="252"/>
                    </a:lnTo>
                    <a:lnTo>
                      <a:pt x="396" y="246"/>
                    </a:lnTo>
                    <a:lnTo>
                      <a:pt x="402" y="246"/>
                    </a:lnTo>
                    <a:lnTo>
                      <a:pt x="402" y="240"/>
                    </a:lnTo>
                    <a:lnTo>
                      <a:pt x="396" y="234"/>
                    </a:lnTo>
                    <a:lnTo>
                      <a:pt x="318" y="234"/>
                    </a:lnTo>
                    <a:lnTo>
                      <a:pt x="318" y="228"/>
                    </a:lnTo>
                    <a:lnTo>
                      <a:pt x="288" y="228"/>
                    </a:lnTo>
                    <a:lnTo>
                      <a:pt x="276" y="234"/>
                    </a:lnTo>
                    <a:lnTo>
                      <a:pt x="264" y="234"/>
                    </a:lnTo>
                    <a:lnTo>
                      <a:pt x="258" y="240"/>
                    </a:lnTo>
                    <a:lnTo>
                      <a:pt x="252" y="240"/>
                    </a:lnTo>
                    <a:lnTo>
                      <a:pt x="264" y="228"/>
                    </a:lnTo>
                    <a:lnTo>
                      <a:pt x="252" y="216"/>
                    </a:lnTo>
                    <a:lnTo>
                      <a:pt x="270" y="210"/>
                    </a:lnTo>
                    <a:lnTo>
                      <a:pt x="300" y="192"/>
                    </a:lnTo>
                    <a:lnTo>
                      <a:pt x="312" y="186"/>
                    </a:lnTo>
                    <a:lnTo>
                      <a:pt x="324" y="162"/>
                    </a:lnTo>
                    <a:lnTo>
                      <a:pt x="318" y="156"/>
                    </a:lnTo>
                    <a:lnTo>
                      <a:pt x="288" y="156"/>
                    </a:lnTo>
                    <a:lnTo>
                      <a:pt x="276" y="162"/>
                    </a:lnTo>
                    <a:lnTo>
                      <a:pt x="258" y="168"/>
                    </a:lnTo>
                    <a:lnTo>
                      <a:pt x="240" y="168"/>
                    </a:lnTo>
                    <a:lnTo>
                      <a:pt x="228" y="162"/>
                    </a:lnTo>
                    <a:lnTo>
                      <a:pt x="216" y="162"/>
                    </a:lnTo>
                    <a:lnTo>
                      <a:pt x="210" y="168"/>
                    </a:lnTo>
                    <a:lnTo>
                      <a:pt x="210" y="174"/>
                    </a:lnTo>
                    <a:lnTo>
                      <a:pt x="216" y="180"/>
                    </a:lnTo>
                    <a:lnTo>
                      <a:pt x="204" y="180"/>
                    </a:lnTo>
                    <a:lnTo>
                      <a:pt x="192" y="192"/>
                    </a:lnTo>
                    <a:lnTo>
                      <a:pt x="192" y="210"/>
                    </a:lnTo>
                    <a:lnTo>
                      <a:pt x="198" y="216"/>
                    </a:lnTo>
                    <a:lnTo>
                      <a:pt x="156" y="222"/>
                    </a:lnTo>
                    <a:lnTo>
                      <a:pt x="156" y="234"/>
                    </a:lnTo>
                    <a:lnTo>
                      <a:pt x="168" y="240"/>
                    </a:lnTo>
                    <a:lnTo>
                      <a:pt x="180" y="264"/>
                    </a:lnTo>
                    <a:lnTo>
                      <a:pt x="162" y="282"/>
                    </a:lnTo>
                    <a:lnTo>
                      <a:pt x="162" y="294"/>
                    </a:lnTo>
                    <a:lnTo>
                      <a:pt x="144" y="300"/>
                    </a:lnTo>
                    <a:lnTo>
                      <a:pt x="156" y="312"/>
                    </a:lnTo>
                    <a:lnTo>
                      <a:pt x="168" y="312"/>
                    </a:lnTo>
                    <a:lnTo>
                      <a:pt x="180" y="306"/>
                    </a:lnTo>
                    <a:lnTo>
                      <a:pt x="186" y="300"/>
                    </a:lnTo>
                    <a:lnTo>
                      <a:pt x="186" y="318"/>
                    </a:lnTo>
                    <a:lnTo>
                      <a:pt x="180" y="318"/>
                    </a:lnTo>
                    <a:lnTo>
                      <a:pt x="168" y="330"/>
                    </a:lnTo>
                    <a:lnTo>
                      <a:pt x="156" y="336"/>
                    </a:lnTo>
                    <a:lnTo>
                      <a:pt x="156" y="360"/>
                    </a:lnTo>
                    <a:lnTo>
                      <a:pt x="162" y="372"/>
                    </a:lnTo>
                    <a:lnTo>
                      <a:pt x="168" y="366"/>
                    </a:lnTo>
                    <a:lnTo>
                      <a:pt x="198" y="366"/>
                    </a:lnTo>
                    <a:lnTo>
                      <a:pt x="210" y="360"/>
                    </a:lnTo>
                    <a:lnTo>
                      <a:pt x="216" y="354"/>
                    </a:lnTo>
                    <a:lnTo>
                      <a:pt x="198" y="372"/>
                    </a:lnTo>
                    <a:lnTo>
                      <a:pt x="210" y="402"/>
                    </a:lnTo>
                    <a:lnTo>
                      <a:pt x="204" y="408"/>
                    </a:lnTo>
                    <a:lnTo>
                      <a:pt x="198" y="420"/>
                    </a:lnTo>
                    <a:lnTo>
                      <a:pt x="186" y="426"/>
                    </a:lnTo>
                    <a:lnTo>
                      <a:pt x="180" y="438"/>
                    </a:lnTo>
                    <a:lnTo>
                      <a:pt x="180" y="450"/>
                    </a:lnTo>
                    <a:lnTo>
                      <a:pt x="186" y="456"/>
                    </a:lnTo>
                    <a:lnTo>
                      <a:pt x="204" y="456"/>
                    </a:lnTo>
                    <a:lnTo>
                      <a:pt x="216" y="450"/>
                    </a:lnTo>
                    <a:lnTo>
                      <a:pt x="240" y="450"/>
                    </a:lnTo>
                    <a:lnTo>
                      <a:pt x="252" y="444"/>
                    </a:lnTo>
                    <a:lnTo>
                      <a:pt x="258" y="438"/>
                    </a:lnTo>
                    <a:lnTo>
                      <a:pt x="270" y="432"/>
                    </a:lnTo>
                    <a:lnTo>
                      <a:pt x="300" y="438"/>
                    </a:lnTo>
                    <a:lnTo>
                      <a:pt x="288" y="444"/>
                    </a:lnTo>
                    <a:lnTo>
                      <a:pt x="264" y="468"/>
                    </a:lnTo>
                    <a:lnTo>
                      <a:pt x="264" y="474"/>
                    </a:lnTo>
                    <a:lnTo>
                      <a:pt x="282" y="492"/>
                    </a:lnTo>
                    <a:lnTo>
                      <a:pt x="294" y="492"/>
                    </a:lnTo>
                    <a:lnTo>
                      <a:pt x="300" y="498"/>
                    </a:lnTo>
                    <a:lnTo>
                      <a:pt x="306" y="498"/>
                    </a:lnTo>
                    <a:lnTo>
                      <a:pt x="312" y="516"/>
                    </a:lnTo>
                    <a:lnTo>
                      <a:pt x="294" y="534"/>
                    </a:lnTo>
                    <a:lnTo>
                      <a:pt x="294" y="564"/>
                    </a:lnTo>
                    <a:lnTo>
                      <a:pt x="222" y="564"/>
                    </a:lnTo>
                    <a:lnTo>
                      <a:pt x="216" y="558"/>
                    </a:lnTo>
                    <a:lnTo>
                      <a:pt x="198" y="558"/>
                    </a:lnTo>
                    <a:lnTo>
                      <a:pt x="192" y="564"/>
                    </a:lnTo>
                    <a:lnTo>
                      <a:pt x="210" y="582"/>
                    </a:lnTo>
                    <a:lnTo>
                      <a:pt x="186" y="600"/>
                    </a:lnTo>
                    <a:lnTo>
                      <a:pt x="228" y="594"/>
                    </a:lnTo>
                    <a:lnTo>
                      <a:pt x="228" y="618"/>
                    </a:lnTo>
                    <a:lnTo>
                      <a:pt x="216" y="642"/>
                    </a:lnTo>
                    <a:lnTo>
                      <a:pt x="210" y="648"/>
                    </a:lnTo>
                    <a:lnTo>
                      <a:pt x="198" y="654"/>
                    </a:lnTo>
                    <a:lnTo>
                      <a:pt x="180" y="660"/>
                    </a:lnTo>
                    <a:lnTo>
                      <a:pt x="168" y="666"/>
                    </a:lnTo>
                    <a:lnTo>
                      <a:pt x="162" y="666"/>
                    </a:lnTo>
                    <a:lnTo>
                      <a:pt x="162" y="690"/>
                    </a:lnTo>
                    <a:lnTo>
                      <a:pt x="168" y="696"/>
                    </a:lnTo>
                    <a:lnTo>
                      <a:pt x="174" y="696"/>
                    </a:lnTo>
                    <a:lnTo>
                      <a:pt x="180" y="690"/>
                    </a:lnTo>
                    <a:lnTo>
                      <a:pt x="192" y="684"/>
                    </a:lnTo>
                    <a:lnTo>
                      <a:pt x="198" y="678"/>
                    </a:lnTo>
                    <a:lnTo>
                      <a:pt x="204" y="684"/>
                    </a:lnTo>
                    <a:lnTo>
                      <a:pt x="204" y="690"/>
                    </a:lnTo>
                    <a:lnTo>
                      <a:pt x="210" y="696"/>
                    </a:lnTo>
                    <a:lnTo>
                      <a:pt x="234" y="696"/>
                    </a:lnTo>
                    <a:lnTo>
                      <a:pt x="240" y="702"/>
                    </a:lnTo>
                    <a:lnTo>
                      <a:pt x="252" y="708"/>
                    </a:lnTo>
                    <a:lnTo>
                      <a:pt x="258" y="708"/>
                    </a:lnTo>
                    <a:lnTo>
                      <a:pt x="276" y="702"/>
                    </a:lnTo>
                    <a:lnTo>
                      <a:pt x="288" y="696"/>
                    </a:lnTo>
                    <a:lnTo>
                      <a:pt x="294" y="690"/>
                    </a:lnTo>
                    <a:lnTo>
                      <a:pt x="318" y="690"/>
                    </a:lnTo>
                    <a:lnTo>
                      <a:pt x="312" y="696"/>
                    </a:lnTo>
                    <a:lnTo>
                      <a:pt x="300" y="702"/>
                    </a:lnTo>
                    <a:lnTo>
                      <a:pt x="294" y="714"/>
                    </a:lnTo>
                    <a:lnTo>
                      <a:pt x="282" y="720"/>
                    </a:lnTo>
                    <a:lnTo>
                      <a:pt x="276" y="726"/>
                    </a:lnTo>
                    <a:lnTo>
                      <a:pt x="210" y="726"/>
                    </a:lnTo>
                    <a:lnTo>
                      <a:pt x="210" y="738"/>
                    </a:lnTo>
                    <a:lnTo>
                      <a:pt x="198" y="738"/>
                    </a:lnTo>
                    <a:lnTo>
                      <a:pt x="186" y="744"/>
                    </a:lnTo>
                    <a:lnTo>
                      <a:pt x="180" y="750"/>
                    </a:lnTo>
                    <a:lnTo>
                      <a:pt x="180" y="768"/>
                    </a:lnTo>
                    <a:lnTo>
                      <a:pt x="174" y="774"/>
                    </a:lnTo>
                    <a:lnTo>
                      <a:pt x="144" y="774"/>
                    </a:lnTo>
                    <a:lnTo>
                      <a:pt x="144" y="780"/>
                    </a:lnTo>
                    <a:lnTo>
                      <a:pt x="138" y="786"/>
                    </a:lnTo>
                    <a:lnTo>
                      <a:pt x="138" y="792"/>
                    </a:lnTo>
                    <a:lnTo>
                      <a:pt x="126" y="804"/>
                    </a:lnTo>
                    <a:lnTo>
                      <a:pt x="114" y="810"/>
                    </a:lnTo>
                    <a:lnTo>
                      <a:pt x="108" y="810"/>
                    </a:lnTo>
                    <a:lnTo>
                      <a:pt x="108" y="816"/>
                    </a:lnTo>
                    <a:lnTo>
                      <a:pt x="114" y="816"/>
                    </a:lnTo>
                    <a:lnTo>
                      <a:pt x="120" y="822"/>
                    </a:lnTo>
                    <a:lnTo>
                      <a:pt x="150" y="822"/>
                    </a:lnTo>
                    <a:lnTo>
                      <a:pt x="156" y="810"/>
                    </a:lnTo>
                    <a:lnTo>
                      <a:pt x="174" y="792"/>
                    </a:lnTo>
                    <a:lnTo>
                      <a:pt x="210" y="792"/>
                    </a:lnTo>
                    <a:lnTo>
                      <a:pt x="216" y="798"/>
                    </a:lnTo>
                    <a:lnTo>
                      <a:pt x="228" y="804"/>
                    </a:lnTo>
                    <a:lnTo>
                      <a:pt x="240" y="804"/>
                    </a:lnTo>
                    <a:lnTo>
                      <a:pt x="246" y="792"/>
                    </a:lnTo>
                    <a:lnTo>
                      <a:pt x="252" y="786"/>
                    </a:lnTo>
                    <a:lnTo>
                      <a:pt x="258" y="774"/>
                    </a:lnTo>
                    <a:lnTo>
                      <a:pt x="270" y="762"/>
                    </a:lnTo>
                    <a:lnTo>
                      <a:pt x="288" y="762"/>
                    </a:lnTo>
                    <a:lnTo>
                      <a:pt x="300" y="774"/>
                    </a:lnTo>
                    <a:lnTo>
                      <a:pt x="330" y="774"/>
                    </a:lnTo>
                    <a:lnTo>
                      <a:pt x="354" y="762"/>
                    </a:lnTo>
                    <a:lnTo>
                      <a:pt x="360" y="762"/>
                    </a:lnTo>
                    <a:lnTo>
                      <a:pt x="366" y="768"/>
                    </a:lnTo>
                    <a:lnTo>
                      <a:pt x="378" y="768"/>
                    </a:lnTo>
                    <a:lnTo>
                      <a:pt x="390" y="774"/>
                    </a:lnTo>
                    <a:lnTo>
                      <a:pt x="396" y="774"/>
                    </a:lnTo>
                    <a:lnTo>
                      <a:pt x="396" y="768"/>
                    </a:lnTo>
                    <a:lnTo>
                      <a:pt x="390" y="762"/>
                    </a:lnTo>
                    <a:lnTo>
                      <a:pt x="390" y="750"/>
                    </a:lnTo>
                    <a:lnTo>
                      <a:pt x="396" y="750"/>
                    </a:lnTo>
                    <a:lnTo>
                      <a:pt x="408" y="756"/>
                    </a:lnTo>
                    <a:lnTo>
                      <a:pt x="414" y="762"/>
                    </a:lnTo>
                    <a:lnTo>
                      <a:pt x="426" y="756"/>
                    </a:lnTo>
                    <a:lnTo>
                      <a:pt x="498" y="756"/>
                    </a:lnTo>
                    <a:lnTo>
                      <a:pt x="522" y="750"/>
                    </a:lnTo>
                    <a:lnTo>
                      <a:pt x="534" y="744"/>
                    </a:lnTo>
                    <a:lnTo>
                      <a:pt x="540" y="732"/>
                    </a:lnTo>
                    <a:lnTo>
                      <a:pt x="546" y="726"/>
                    </a:lnTo>
                    <a:lnTo>
                      <a:pt x="552" y="714"/>
                    </a:lnTo>
                    <a:lnTo>
                      <a:pt x="498" y="708"/>
                    </a:lnTo>
                    <a:lnTo>
                      <a:pt x="522" y="702"/>
                    </a:lnTo>
                    <a:lnTo>
                      <a:pt x="516" y="684"/>
                    </a:lnTo>
                    <a:lnTo>
                      <a:pt x="528" y="672"/>
                    </a:lnTo>
                    <a:lnTo>
                      <a:pt x="540" y="666"/>
                    </a:lnTo>
                    <a:lnTo>
                      <a:pt x="546" y="666"/>
                    </a:lnTo>
                    <a:lnTo>
                      <a:pt x="558" y="660"/>
                    </a:lnTo>
                    <a:lnTo>
                      <a:pt x="564" y="654"/>
                    </a:lnTo>
                    <a:lnTo>
                      <a:pt x="576" y="618"/>
                    </a:lnTo>
                    <a:lnTo>
                      <a:pt x="570" y="606"/>
                    </a:lnTo>
                    <a:lnTo>
                      <a:pt x="564" y="600"/>
                    </a:lnTo>
                    <a:lnTo>
                      <a:pt x="552" y="594"/>
                    </a:lnTo>
                    <a:lnTo>
                      <a:pt x="540" y="594"/>
                    </a:lnTo>
                    <a:lnTo>
                      <a:pt x="528" y="588"/>
                    </a:lnTo>
                    <a:lnTo>
                      <a:pt x="504" y="588"/>
                    </a:lnTo>
                    <a:close/>
                    <a:moveTo>
                      <a:pt x="222" y="486"/>
                    </a:moveTo>
                    <a:lnTo>
                      <a:pt x="216" y="480"/>
                    </a:lnTo>
                    <a:lnTo>
                      <a:pt x="204" y="480"/>
                    </a:lnTo>
                    <a:lnTo>
                      <a:pt x="204" y="486"/>
                    </a:lnTo>
                    <a:lnTo>
                      <a:pt x="198" y="498"/>
                    </a:lnTo>
                    <a:lnTo>
                      <a:pt x="192" y="504"/>
                    </a:lnTo>
                    <a:lnTo>
                      <a:pt x="210" y="504"/>
                    </a:lnTo>
                    <a:lnTo>
                      <a:pt x="222" y="492"/>
                    </a:lnTo>
                    <a:lnTo>
                      <a:pt x="222" y="486"/>
                    </a:lnTo>
                    <a:close/>
                    <a:moveTo>
                      <a:pt x="126" y="504"/>
                    </a:moveTo>
                    <a:lnTo>
                      <a:pt x="132" y="498"/>
                    </a:lnTo>
                    <a:lnTo>
                      <a:pt x="132" y="492"/>
                    </a:lnTo>
                    <a:lnTo>
                      <a:pt x="144" y="492"/>
                    </a:lnTo>
                    <a:lnTo>
                      <a:pt x="150" y="480"/>
                    </a:lnTo>
                    <a:lnTo>
                      <a:pt x="156" y="474"/>
                    </a:lnTo>
                    <a:lnTo>
                      <a:pt x="156" y="462"/>
                    </a:lnTo>
                    <a:lnTo>
                      <a:pt x="138" y="444"/>
                    </a:lnTo>
                    <a:lnTo>
                      <a:pt x="138" y="432"/>
                    </a:lnTo>
                    <a:lnTo>
                      <a:pt x="132" y="438"/>
                    </a:lnTo>
                    <a:lnTo>
                      <a:pt x="126" y="426"/>
                    </a:lnTo>
                    <a:lnTo>
                      <a:pt x="120" y="420"/>
                    </a:lnTo>
                    <a:lnTo>
                      <a:pt x="78" y="420"/>
                    </a:lnTo>
                    <a:lnTo>
                      <a:pt x="72" y="426"/>
                    </a:lnTo>
                    <a:lnTo>
                      <a:pt x="30" y="450"/>
                    </a:lnTo>
                    <a:lnTo>
                      <a:pt x="30" y="462"/>
                    </a:lnTo>
                    <a:lnTo>
                      <a:pt x="24" y="462"/>
                    </a:lnTo>
                    <a:lnTo>
                      <a:pt x="18" y="468"/>
                    </a:lnTo>
                    <a:lnTo>
                      <a:pt x="12" y="468"/>
                    </a:lnTo>
                    <a:lnTo>
                      <a:pt x="0" y="480"/>
                    </a:lnTo>
                    <a:lnTo>
                      <a:pt x="6" y="486"/>
                    </a:lnTo>
                    <a:lnTo>
                      <a:pt x="30" y="498"/>
                    </a:lnTo>
                    <a:lnTo>
                      <a:pt x="42" y="498"/>
                    </a:lnTo>
                    <a:lnTo>
                      <a:pt x="66" y="474"/>
                    </a:lnTo>
                    <a:lnTo>
                      <a:pt x="84" y="498"/>
                    </a:lnTo>
                    <a:lnTo>
                      <a:pt x="120" y="504"/>
                    </a:lnTo>
                    <a:lnTo>
                      <a:pt x="126" y="504"/>
                    </a:lnTo>
                    <a:close/>
                    <a:moveTo>
                      <a:pt x="78" y="228"/>
                    </a:moveTo>
                    <a:lnTo>
                      <a:pt x="72" y="228"/>
                    </a:lnTo>
                    <a:lnTo>
                      <a:pt x="66" y="234"/>
                    </a:lnTo>
                    <a:lnTo>
                      <a:pt x="66" y="240"/>
                    </a:lnTo>
                    <a:lnTo>
                      <a:pt x="84" y="240"/>
                    </a:lnTo>
                    <a:lnTo>
                      <a:pt x="84" y="228"/>
                    </a:lnTo>
                    <a:lnTo>
                      <a:pt x="78" y="228"/>
                    </a:lnTo>
                    <a:close/>
                    <a:moveTo>
                      <a:pt x="108" y="210"/>
                    </a:moveTo>
                    <a:lnTo>
                      <a:pt x="126" y="210"/>
                    </a:lnTo>
                    <a:lnTo>
                      <a:pt x="132" y="204"/>
                    </a:lnTo>
                    <a:lnTo>
                      <a:pt x="132" y="198"/>
                    </a:lnTo>
                    <a:lnTo>
                      <a:pt x="138" y="186"/>
                    </a:lnTo>
                    <a:lnTo>
                      <a:pt x="150" y="174"/>
                    </a:lnTo>
                    <a:lnTo>
                      <a:pt x="150" y="168"/>
                    </a:lnTo>
                    <a:lnTo>
                      <a:pt x="138" y="174"/>
                    </a:lnTo>
                    <a:lnTo>
                      <a:pt x="132" y="174"/>
                    </a:lnTo>
                    <a:lnTo>
                      <a:pt x="114" y="192"/>
                    </a:lnTo>
                    <a:lnTo>
                      <a:pt x="108" y="186"/>
                    </a:lnTo>
                    <a:lnTo>
                      <a:pt x="96" y="186"/>
                    </a:lnTo>
                    <a:lnTo>
                      <a:pt x="90" y="192"/>
                    </a:lnTo>
                    <a:lnTo>
                      <a:pt x="90" y="210"/>
                    </a:lnTo>
                    <a:lnTo>
                      <a:pt x="96" y="216"/>
                    </a:lnTo>
                    <a:lnTo>
                      <a:pt x="96" y="228"/>
                    </a:lnTo>
                    <a:lnTo>
                      <a:pt x="108" y="210"/>
                    </a:lnTo>
                    <a:close/>
                    <a:moveTo>
                      <a:pt x="72" y="252"/>
                    </a:moveTo>
                    <a:lnTo>
                      <a:pt x="60" y="282"/>
                    </a:lnTo>
                    <a:lnTo>
                      <a:pt x="78" y="258"/>
                    </a:lnTo>
                    <a:lnTo>
                      <a:pt x="72" y="252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39" name="Norw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F6F8E5E-6115-4841-A6E2-505BB1C784A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41634" y="1770176"/>
                <a:ext cx="602774" cy="671366"/>
              </a:xfrm>
              <a:custGeom>
                <a:avLst/>
                <a:gdLst>
                  <a:gd name="T0" fmla="*/ 2147483647 w 1362"/>
                  <a:gd name="T1" fmla="*/ 2147483647 h 1500"/>
                  <a:gd name="T2" fmla="*/ 2147483647 w 1362"/>
                  <a:gd name="T3" fmla="*/ 2147483647 h 1500"/>
                  <a:gd name="T4" fmla="*/ 2147483647 w 1362"/>
                  <a:gd name="T5" fmla="*/ 2147483647 h 1500"/>
                  <a:gd name="T6" fmla="*/ 2147483647 w 1362"/>
                  <a:gd name="T7" fmla="*/ 2147483647 h 1500"/>
                  <a:gd name="T8" fmla="*/ 2147483647 w 1362"/>
                  <a:gd name="T9" fmla="*/ 0 h 1500"/>
                  <a:gd name="T10" fmla="*/ 2147483647 w 1362"/>
                  <a:gd name="T11" fmla="*/ 2147483647 h 1500"/>
                  <a:gd name="T12" fmla="*/ 2147483647 w 1362"/>
                  <a:gd name="T13" fmla="*/ 2147483647 h 1500"/>
                  <a:gd name="T14" fmla="*/ 2147483647 w 1362"/>
                  <a:gd name="T15" fmla="*/ 2147483647 h 1500"/>
                  <a:gd name="T16" fmla="*/ 2147483647 w 1362"/>
                  <a:gd name="T17" fmla="*/ 2147483647 h 1500"/>
                  <a:gd name="T18" fmla="*/ 2147483647 w 1362"/>
                  <a:gd name="T19" fmla="*/ 2147483647 h 1500"/>
                  <a:gd name="T20" fmla="*/ 2147483647 w 1362"/>
                  <a:gd name="T21" fmla="*/ 2147483647 h 1500"/>
                  <a:gd name="T22" fmla="*/ 2147483647 w 1362"/>
                  <a:gd name="T23" fmla="*/ 2147483647 h 1500"/>
                  <a:gd name="T24" fmla="*/ 2147483647 w 1362"/>
                  <a:gd name="T25" fmla="*/ 2147483647 h 1500"/>
                  <a:gd name="T26" fmla="*/ 2147483647 w 1362"/>
                  <a:gd name="T27" fmla="*/ 2147483647 h 1500"/>
                  <a:gd name="T28" fmla="*/ 2147483647 w 1362"/>
                  <a:gd name="T29" fmla="*/ 2147483647 h 1500"/>
                  <a:gd name="T30" fmla="*/ 2147483647 w 1362"/>
                  <a:gd name="T31" fmla="*/ 2147483647 h 1500"/>
                  <a:gd name="T32" fmla="*/ 2147483647 w 1362"/>
                  <a:gd name="T33" fmla="*/ 2147483647 h 1500"/>
                  <a:gd name="T34" fmla="*/ 2147483647 w 1362"/>
                  <a:gd name="T35" fmla="*/ 2147483647 h 1500"/>
                  <a:gd name="T36" fmla="*/ 2147483647 w 1362"/>
                  <a:gd name="T37" fmla="*/ 2147483647 h 1500"/>
                  <a:gd name="T38" fmla="*/ 2147483647 w 1362"/>
                  <a:gd name="T39" fmla="*/ 2147483647 h 1500"/>
                  <a:gd name="T40" fmla="*/ 2147483647 w 1362"/>
                  <a:gd name="T41" fmla="*/ 2147483647 h 1500"/>
                  <a:gd name="T42" fmla="*/ 2147483647 w 1362"/>
                  <a:gd name="T43" fmla="*/ 2147483647 h 1500"/>
                  <a:gd name="T44" fmla="*/ 2147483647 w 1362"/>
                  <a:gd name="T45" fmla="*/ 2147483647 h 1500"/>
                  <a:gd name="T46" fmla="*/ 2147483647 w 1362"/>
                  <a:gd name="T47" fmla="*/ 2147483647 h 1500"/>
                  <a:gd name="T48" fmla="*/ 2147483647 w 1362"/>
                  <a:gd name="T49" fmla="*/ 2147483647 h 1500"/>
                  <a:gd name="T50" fmla="*/ 2147483647 w 1362"/>
                  <a:gd name="T51" fmla="*/ 2147483647 h 1500"/>
                  <a:gd name="T52" fmla="*/ 2147483647 w 1362"/>
                  <a:gd name="T53" fmla="*/ 2147483647 h 1500"/>
                  <a:gd name="T54" fmla="*/ 2147483647 w 1362"/>
                  <a:gd name="T55" fmla="*/ 2147483647 h 1500"/>
                  <a:gd name="T56" fmla="*/ 2147483647 w 1362"/>
                  <a:gd name="T57" fmla="*/ 2147483647 h 1500"/>
                  <a:gd name="T58" fmla="*/ 2147483647 w 1362"/>
                  <a:gd name="T59" fmla="*/ 2147483647 h 1500"/>
                  <a:gd name="T60" fmla="*/ 2147483647 w 1362"/>
                  <a:gd name="T61" fmla="*/ 2147483647 h 1500"/>
                  <a:gd name="T62" fmla="*/ 2147483647 w 1362"/>
                  <a:gd name="T63" fmla="*/ 2147483647 h 1500"/>
                  <a:gd name="T64" fmla="*/ 2147483647 w 1362"/>
                  <a:gd name="T65" fmla="*/ 2147483647 h 1500"/>
                  <a:gd name="T66" fmla="*/ 2147483647 w 1362"/>
                  <a:gd name="T67" fmla="*/ 2147483647 h 1500"/>
                  <a:gd name="T68" fmla="*/ 2147483647 w 1362"/>
                  <a:gd name="T69" fmla="*/ 2147483647 h 1500"/>
                  <a:gd name="T70" fmla="*/ 2147483647 w 1362"/>
                  <a:gd name="T71" fmla="*/ 2147483647 h 1500"/>
                  <a:gd name="T72" fmla="*/ 2147483647 w 1362"/>
                  <a:gd name="T73" fmla="*/ 2147483647 h 1500"/>
                  <a:gd name="T74" fmla="*/ 2147483647 w 1362"/>
                  <a:gd name="T75" fmla="*/ 2147483647 h 1500"/>
                  <a:gd name="T76" fmla="*/ 2147483647 w 1362"/>
                  <a:gd name="T77" fmla="*/ 2147483647 h 1500"/>
                  <a:gd name="T78" fmla="*/ 2147483647 w 1362"/>
                  <a:gd name="T79" fmla="*/ 2147483647 h 1500"/>
                  <a:gd name="T80" fmla="*/ 2147483647 w 1362"/>
                  <a:gd name="T81" fmla="*/ 2147483647 h 1500"/>
                  <a:gd name="T82" fmla="*/ 2147483647 w 1362"/>
                  <a:gd name="T83" fmla="*/ 2147483647 h 1500"/>
                  <a:gd name="T84" fmla="*/ 2147483647 w 1362"/>
                  <a:gd name="T85" fmla="*/ 2147483647 h 1500"/>
                  <a:gd name="T86" fmla="*/ 2147483647 w 1362"/>
                  <a:gd name="T87" fmla="*/ 2147483647 h 1500"/>
                  <a:gd name="T88" fmla="*/ 2147483647 w 1362"/>
                  <a:gd name="T89" fmla="*/ 2147483647 h 1500"/>
                  <a:gd name="T90" fmla="*/ 2147483647 w 1362"/>
                  <a:gd name="T91" fmla="*/ 2147483647 h 1500"/>
                  <a:gd name="T92" fmla="*/ 2147483647 w 1362"/>
                  <a:gd name="T93" fmla="*/ 2147483647 h 1500"/>
                  <a:gd name="T94" fmla="*/ 2147483647 w 1362"/>
                  <a:gd name="T95" fmla="*/ 2147483647 h 1500"/>
                  <a:gd name="T96" fmla="*/ 2147483647 w 1362"/>
                  <a:gd name="T97" fmla="*/ 2147483647 h 1500"/>
                  <a:gd name="T98" fmla="*/ 2147483647 w 1362"/>
                  <a:gd name="T99" fmla="*/ 2147483647 h 1500"/>
                  <a:gd name="T100" fmla="*/ 2147483647 w 1362"/>
                  <a:gd name="T101" fmla="*/ 2147483647 h 1500"/>
                  <a:gd name="T102" fmla="*/ 2147483647 w 1362"/>
                  <a:gd name="T103" fmla="*/ 2147483647 h 1500"/>
                  <a:gd name="T104" fmla="*/ 2147483647 w 1362"/>
                  <a:gd name="T105" fmla="*/ 2147483647 h 1500"/>
                  <a:gd name="T106" fmla="*/ 2147483647 w 1362"/>
                  <a:gd name="T107" fmla="*/ 2147483647 h 1500"/>
                  <a:gd name="T108" fmla="*/ 2147483647 w 1362"/>
                  <a:gd name="T109" fmla="*/ 2147483647 h 1500"/>
                  <a:gd name="T110" fmla="*/ 2147483647 w 1362"/>
                  <a:gd name="T111" fmla="*/ 2147483647 h 1500"/>
                  <a:gd name="T112" fmla="*/ 2147483647 w 1362"/>
                  <a:gd name="T113" fmla="*/ 2147483647 h 1500"/>
                  <a:gd name="T114" fmla="*/ 2147483647 w 1362"/>
                  <a:gd name="T115" fmla="*/ 2147483647 h 150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362"/>
                  <a:gd name="T175" fmla="*/ 0 h 1500"/>
                  <a:gd name="T176" fmla="*/ 1362 w 1362"/>
                  <a:gd name="T177" fmla="*/ 1500 h 150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362" h="1500">
                    <a:moveTo>
                      <a:pt x="324" y="120"/>
                    </a:moveTo>
                    <a:lnTo>
                      <a:pt x="336" y="126"/>
                    </a:lnTo>
                    <a:lnTo>
                      <a:pt x="354" y="132"/>
                    </a:lnTo>
                    <a:lnTo>
                      <a:pt x="378" y="132"/>
                    </a:lnTo>
                    <a:lnTo>
                      <a:pt x="294" y="90"/>
                    </a:lnTo>
                    <a:lnTo>
                      <a:pt x="294" y="102"/>
                    </a:lnTo>
                    <a:lnTo>
                      <a:pt x="306" y="108"/>
                    </a:lnTo>
                    <a:lnTo>
                      <a:pt x="312" y="114"/>
                    </a:lnTo>
                    <a:lnTo>
                      <a:pt x="324" y="120"/>
                    </a:lnTo>
                    <a:close/>
                    <a:moveTo>
                      <a:pt x="684" y="48"/>
                    </a:moveTo>
                    <a:lnTo>
                      <a:pt x="732" y="48"/>
                    </a:lnTo>
                    <a:lnTo>
                      <a:pt x="738" y="54"/>
                    </a:lnTo>
                    <a:lnTo>
                      <a:pt x="750" y="54"/>
                    </a:lnTo>
                    <a:lnTo>
                      <a:pt x="774" y="66"/>
                    </a:lnTo>
                    <a:lnTo>
                      <a:pt x="786" y="66"/>
                    </a:lnTo>
                    <a:lnTo>
                      <a:pt x="798" y="60"/>
                    </a:lnTo>
                    <a:lnTo>
                      <a:pt x="804" y="60"/>
                    </a:lnTo>
                    <a:lnTo>
                      <a:pt x="816" y="54"/>
                    </a:lnTo>
                    <a:lnTo>
                      <a:pt x="828" y="54"/>
                    </a:lnTo>
                    <a:lnTo>
                      <a:pt x="840" y="60"/>
                    </a:lnTo>
                    <a:lnTo>
                      <a:pt x="876" y="72"/>
                    </a:lnTo>
                    <a:lnTo>
                      <a:pt x="888" y="78"/>
                    </a:lnTo>
                    <a:lnTo>
                      <a:pt x="894" y="84"/>
                    </a:lnTo>
                    <a:lnTo>
                      <a:pt x="900" y="84"/>
                    </a:lnTo>
                    <a:lnTo>
                      <a:pt x="924" y="60"/>
                    </a:lnTo>
                    <a:lnTo>
                      <a:pt x="984" y="66"/>
                    </a:lnTo>
                    <a:lnTo>
                      <a:pt x="984" y="42"/>
                    </a:lnTo>
                    <a:lnTo>
                      <a:pt x="1014" y="42"/>
                    </a:lnTo>
                    <a:lnTo>
                      <a:pt x="1026" y="36"/>
                    </a:lnTo>
                    <a:lnTo>
                      <a:pt x="1032" y="24"/>
                    </a:lnTo>
                    <a:lnTo>
                      <a:pt x="1038" y="18"/>
                    </a:lnTo>
                    <a:lnTo>
                      <a:pt x="1032" y="12"/>
                    </a:lnTo>
                    <a:lnTo>
                      <a:pt x="1002" y="12"/>
                    </a:lnTo>
                    <a:lnTo>
                      <a:pt x="990" y="18"/>
                    </a:lnTo>
                    <a:lnTo>
                      <a:pt x="984" y="18"/>
                    </a:lnTo>
                    <a:lnTo>
                      <a:pt x="972" y="6"/>
                    </a:lnTo>
                    <a:lnTo>
                      <a:pt x="960" y="0"/>
                    </a:lnTo>
                    <a:lnTo>
                      <a:pt x="918" y="0"/>
                    </a:lnTo>
                    <a:lnTo>
                      <a:pt x="900" y="6"/>
                    </a:lnTo>
                    <a:lnTo>
                      <a:pt x="882" y="18"/>
                    </a:lnTo>
                    <a:lnTo>
                      <a:pt x="870" y="18"/>
                    </a:lnTo>
                    <a:lnTo>
                      <a:pt x="864" y="12"/>
                    </a:lnTo>
                    <a:lnTo>
                      <a:pt x="864" y="6"/>
                    </a:lnTo>
                    <a:lnTo>
                      <a:pt x="858" y="6"/>
                    </a:lnTo>
                    <a:lnTo>
                      <a:pt x="852" y="0"/>
                    </a:lnTo>
                    <a:lnTo>
                      <a:pt x="822" y="0"/>
                    </a:lnTo>
                    <a:lnTo>
                      <a:pt x="804" y="18"/>
                    </a:lnTo>
                    <a:lnTo>
                      <a:pt x="738" y="0"/>
                    </a:lnTo>
                    <a:lnTo>
                      <a:pt x="726" y="0"/>
                    </a:lnTo>
                    <a:lnTo>
                      <a:pt x="708" y="6"/>
                    </a:lnTo>
                    <a:lnTo>
                      <a:pt x="690" y="6"/>
                    </a:lnTo>
                    <a:lnTo>
                      <a:pt x="672" y="12"/>
                    </a:lnTo>
                    <a:lnTo>
                      <a:pt x="660" y="12"/>
                    </a:lnTo>
                    <a:lnTo>
                      <a:pt x="660" y="6"/>
                    </a:lnTo>
                    <a:lnTo>
                      <a:pt x="666" y="0"/>
                    </a:lnTo>
                    <a:lnTo>
                      <a:pt x="630" y="12"/>
                    </a:lnTo>
                    <a:lnTo>
                      <a:pt x="648" y="36"/>
                    </a:lnTo>
                    <a:lnTo>
                      <a:pt x="684" y="48"/>
                    </a:lnTo>
                    <a:close/>
                    <a:moveTo>
                      <a:pt x="324" y="66"/>
                    </a:moveTo>
                    <a:lnTo>
                      <a:pt x="342" y="66"/>
                    </a:lnTo>
                    <a:lnTo>
                      <a:pt x="348" y="72"/>
                    </a:lnTo>
                    <a:lnTo>
                      <a:pt x="360" y="72"/>
                    </a:lnTo>
                    <a:lnTo>
                      <a:pt x="360" y="78"/>
                    </a:lnTo>
                    <a:lnTo>
                      <a:pt x="342" y="96"/>
                    </a:lnTo>
                    <a:lnTo>
                      <a:pt x="336" y="96"/>
                    </a:lnTo>
                    <a:lnTo>
                      <a:pt x="378" y="114"/>
                    </a:lnTo>
                    <a:lnTo>
                      <a:pt x="390" y="120"/>
                    </a:lnTo>
                    <a:lnTo>
                      <a:pt x="396" y="126"/>
                    </a:lnTo>
                    <a:lnTo>
                      <a:pt x="414" y="126"/>
                    </a:lnTo>
                    <a:lnTo>
                      <a:pt x="426" y="132"/>
                    </a:lnTo>
                    <a:lnTo>
                      <a:pt x="438" y="132"/>
                    </a:lnTo>
                    <a:lnTo>
                      <a:pt x="462" y="108"/>
                    </a:lnTo>
                    <a:lnTo>
                      <a:pt x="504" y="96"/>
                    </a:lnTo>
                    <a:lnTo>
                      <a:pt x="534" y="120"/>
                    </a:lnTo>
                    <a:lnTo>
                      <a:pt x="528" y="120"/>
                    </a:lnTo>
                    <a:lnTo>
                      <a:pt x="516" y="126"/>
                    </a:lnTo>
                    <a:lnTo>
                      <a:pt x="504" y="126"/>
                    </a:lnTo>
                    <a:lnTo>
                      <a:pt x="480" y="132"/>
                    </a:lnTo>
                    <a:lnTo>
                      <a:pt x="468" y="138"/>
                    </a:lnTo>
                    <a:lnTo>
                      <a:pt x="456" y="150"/>
                    </a:lnTo>
                    <a:lnTo>
                      <a:pt x="486" y="150"/>
                    </a:lnTo>
                    <a:lnTo>
                      <a:pt x="498" y="156"/>
                    </a:lnTo>
                    <a:lnTo>
                      <a:pt x="522" y="156"/>
                    </a:lnTo>
                    <a:lnTo>
                      <a:pt x="516" y="162"/>
                    </a:lnTo>
                    <a:lnTo>
                      <a:pt x="504" y="162"/>
                    </a:lnTo>
                    <a:lnTo>
                      <a:pt x="486" y="168"/>
                    </a:lnTo>
                    <a:lnTo>
                      <a:pt x="474" y="174"/>
                    </a:lnTo>
                    <a:lnTo>
                      <a:pt x="468" y="180"/>
                    </a:lnTo>
                    <a:lnTo>
                      <a:pt x="462" y="180"/>
                    </a:lnTo>
                    <a:lnTo>
                      <a:pt x="516" y="198"/>
                    </a:lnTo>
                    <a:lnTo>
                      <a:pt x="522" y="198"/>
                    </a:lnTo>
                    <a:lnTo>
                      <a:pt x="528" y="204"/>
                    </a:lnTo>
                    <a:lnTo>
                      <a:pt x="540" y="210"/>
                    </a:lnTo>
                    <a:lnTo>
                      <a:pt x="558" y="210"/>
                    </a:lnTo>
                    <a:lnTo>
                      <a:pt x="576" y="216"/>
                    </a:lnTo>
                    <a:lnTo>
                      <a:pt x="594" y="210"/>
                    </a:lnTo>
                    <a:lnTo>
                      <a:pt x="606" y="204"/>
                    </a:lnTo>
                    <a:lnTo>
                      <a:pt x="612" y="204"/>
                    </a:lnTo>
                    <a:lnTo>
                      <a:pt x="618" y="198"/>
                    </a:lnTo>
                    <a:lnTo>
                      <a:pt x="612" y="192"/>
                    </a:lnTo>
                    <a:lnTo>
                      <a:pt x="612" y="186"/>
                    </a:lnTo>
                    <a:lnTo>
                      <a:pt x="606" y="180"/>
                    </a:lnTo>
                    <a:lnTo>
                      <a:pt x="606" y="174"/>
                    </a:lnTo>
                    <a:lnTo>
                      <a:pt x="612" y="168"/>
                    </a:lnTo>
                    <a:lnTo>
                      <a:pt x="618" y="168"/>
                    </a:lnTo>
                    <a:lnTo>
                      <a:pt x="630" y="162"/>
                    </a:lnTo>
                    <a:lnTo>
                      <a:pt x="648" y="162"/>
                    </a:lnTo>
                    <a:lnTo>
                      <a:pt x="648" y="144"/>
                    </a:lnTo>
                    <a:lnTo>
                      <a:pt x="678" y="132"/>
                    </a:lnTo>
                    <a:lnTo>
                      <a:pt x="690" y="102"/>
                    </a:lnTo>
                    <a:lnTo>
                      <a:pt x="714" y="114"/>
                    </a:lnTo>
                    <a:lnTo>
                      <a:pt x="738" y="102"/>
                    </a:lnTo>
                    <a:lnTo>
                      <a:pt x="750" y="114"/>
                    </a:lnTo>
                    <a:lnTo>
                      <a:pt x="762" y="120"/>
                    </a:lnTo>
                    <a:lnTo>
                      <a:pt x="780" y="126"/>
                    </a:lnTo>
                    <a:lnTo>
                      <a:pt x="792" y="138"/>
                    </a:lnTo>
                    <a:lnTo>
                      <a:pt x="792" y="144"/>
                    </a:lnTo>
                    <a:lnTo>
                      <a:pt x="786" y="150"/>
                    </a:lnTo>
                    <a:lnTo>
                      <a:pt x="786" y="162"/>
                    </a:lnTo>
                    <a:lnTo>
                      <a:pt x="774" y="174"/>
                    </a:lnTo>
                    <a:lnTo>
                      <a:pt x="828" y="174"/>
                    </a:lnTo>
                    <a:lnTo>
                      <a:pt x="834" y="180"/>
                    </a:lnTo>
                    <a:lnTo>
                      <a:pt x="846" y="186"/>
                    </a:lnTo>
                    <a:lnTo>
                      <a:pt x="852" y="192"/>
                    </a:lnTo>
                    <a:lnTo>
                      <a:pt x="858" y="192"/>
                    </a:lnTo>
                    <a:lnTo>
                      <a:pt x="864" y="186"/>
                    </a:lnTo>
                    <a:lnTo>
                      <a:pt x="876" y="186"/>
                    </a:lnTo>
                    <a:lnTo>
                      <a:pt x="894" y="174"/>
                    </a:lnTo>
                    <a:lnTo>
                      <a:pt x="906" y="168"/>
                    </a:lnTo>
                    <a:lnTo>
                      <a:pt x="924" y="162"/>
                    </a:lnTo>
                    <a:lnTo>
                      <a:pt x="936" y="156"/>
                    </a:lnTo>
                    <a:lnTo>
                      <a:pt x="942" y="150"/>
                    </a:lnTo>
                    <a:lnTo>
                      <a:pt x="942" y="144"/>
                    </a:lnTo>
                    <a:lnTo>
                      <a:pt x="936" y="144"/>
                    </a:lnTo>
                    <a:lnTo>
                      <a:pt x="924" y="138"/>
                    </a:lnTo>
                    <a:lnTo>
                      <a:pt x="888" y="138"/>
                    </a:lnTo>
                    <a:lnTo>
                      <a:pt x="882" y="120"/>
                    </a:lnTo>
                    <a:lnTo>
                      <a:pt x="828" y="114"/>
                    </a:lnTo>
                    <a:lnTo>
                      <a:pt x="828" y="96"/>
                    </a:lnTo>
                    <a:lnTo>
                      <a:pt x="798" y="102"/>
                    </a:lnTo>
                    <a:lnTo>
                      <a:pt x="798" y="84"/>
                    </a:lnTo>
                    <a:lnTo>
                      <a:pt x="726" y="84"/>
                    </a:lnTo>
                    <a:lnTo>
                      <a:pt x="720" y="72"/>
                    </a:lnTo>
                    <a:lnTo>
                      <a:pt x="684" y="72"/>
                    </a:lnTo>
                    <a:lnTo>
                      <a:pt x="678" y="60"/>
                    </a:lnTo>
                    <a:lnTo>
                      <a:pt x="654" y="48"/>
                    </a:lnTo>
                    <a:lnTo>
                      <a:pt x="624" y="48"/>
                    </a:lnTo>
                    <a:lnTo>
                      <a:pt x="624" y="30"/>
                    </a:lnTo>
                    <a:lnTo>
                      <a:pt x="618" y="30"/>
                    </a:lnTo>
                    <a:lnTo>
                      <a:pt x="612" y="24"/>
                    </a:lnTo>
                    <a:lnTo>
                      <a:pt x="540" y="24"/>
                    </a:lnTo>
                    <a:lnTo>
                      <a:pt x="534" y="30"/>
                    </a:lnTo>
                    <a:lnTo>
                      <a:pt x="534" y="36"/>
                    </a:lnTo>
                    <a:lnTo>
                      <a:pt x="540" y="42"/>
                    </a:lnTo>
                    <a:lnTo>
                      <a:pt x="546" y="54"/>
                    </a:lnTo>
                    <a:lnTo>
                      <a:pt x="564" y="72"/>
                    </a:lnTo>
                    <a:lnTo>
                      <a:pt x="552" y="66"/>
                    </a:lnTo>
                    <a:lnTo>
                      <a:pt x="546" y="60"/>
                    </a:lnTo>
                    <a:lnTo>
                      <a:pt x="528" y="48"/>
                    </a:lnTo>
                    <a:lnTo>
                      <a:pt x="492" y="30"/>
                    </a:lnTo>
                    <a:lnTo>
                      <a:pt x="480" y="30"/>
                    </a:lnTo>
                    <a:lnTo>
                      <a:pt x="474" y="36"/>
                    </a:lnTo>
                    <a:lnTo>
                      <a:pt x="468" y="48"/>
                    </a:lnTo>
                    <a:lnTo>
                      <a:pt x="462" y="54"/>
                    </a:lnTo>
                    <a:lnTo>
                      <a:pt x="450" y="54"/>
                    </a:lnTo>
                    <a:lnTo>
                      <a:pt x="438" y="48"/>
                    </a:lnTo>
                    <a:lnTo>
                      <a:pt x="420" y="48"/>
                    </a:lnTo>
                    <a:lnTo>
                      <a:pt x="420" y="42"/>
                    </a:lnTo>
                    <a:lnTo>
                      <a:pt x="426" y="42"/>
                    </a:lnTo>
                    <a:lnTo>
                      <a:pt x="438" y="30"/>
                    </a:lnTo>
                    <a:lnTo>
                      <a:pt x="384" y="30"/>
                    </a:lnTo>
                    <a:lnTo>
                      <a:pt x="372" y="42"/>
                    </a:lnTo>
                    <a:lnTo>
                      <a:pt x="366" y="30"/>
                    </a:lnTo>
                    <a:lnTo>
                      <a:pt x="354" y="30"/>
                    </a:lnTo>
                    <a:lnTo>
                      <a:pt x="318" y="48"/>
                    </a:lnTo>
                    <a:lnTo>
                      <a:pt x="318" y="60"/>
                    </a:lnTo>
                    <a:lnTo>
                      <a:pt x="324" y="66"/>
                    </a:lnTo>
                    <a:close/>
                    <a:moveTo>
                      <a:pt x="642" y="708"/>
                    </a:moveTo>
                    <a:lnTo>
                      <a:pt x="666" y="696"/>
                    </a:lnTo>
                    <a:lnTo>
                      <a:pt x="666" y="690"/>
                    </a:lnTo>
                    <a:lnTo>
                      <a:pt x="678" y="690"/>
                    </a:lnTo>
                    <a:lnTo>
                      <a:pt x="678" y="678"/>
                    </a:lnTo>
                    <a:lnTo>
                      <a:pt x="672" y="672"/>
                    </a:lnTo>
                    <a:lnTo>
                      <a:pt x="630" y="690"/>
                    </a:lnTo>
                    <a:lnTo>
                      <a:pt x="642" y="708"/>
                    </a:lnTo>
                    <a:close/>
                    <a:moveTo>
                      <a:pt x="774" y="648"/>
                    </a:moveTo>
                    <a:lnTo>
                      <a:pt x="780" y="642"/>
                    </a:lnTo>
                    <a:lnTo>
                      <a:pt x="786" y="642"/>
                    </a:lnTo>
                    <a:lnTo>
                      <a:pt x="792" y="636"/>
                    </a:lnTo>
                    <a:lnTo>
                      <a:pt x="792" y="630"/>
                    </a:lnTo>
                    <a:lnTo>
                      <a:pt x="786" y="624"/>
                    </a:lnTo>
                    <a:lnTo>
                      <a:pt x="774" y="624"/>
                    </a:lnTo>
                    <a:lnTo>
                      <a:pt x="768" y="630"/>
                    </a:lnTo>
                    <a:lnTo>
                      <a:pt x="768" y="642"/>
                    </a:lnTo>
                    <a:lnTo>
                      <a:pt x="774" y="648"/>
                    </a:lnTo>
                    <a:close/>
                    <a:moveTo>
                      <a:pt x="594" y="696"/>
                    </a:moveTo>
                    <a:lnTo>
                      <a:pt x="576" y="696"/>
                    </a:lnTo>
                    <a:lnTo>
                      <a:pt x="552" y="708"/>
                    </a:lnTo>
                    <a:lnTo>
                      <a:pt x="546" y="714"/>
                    </a:lnTo>
                    <a:lnTo>
                      <a:pt x="570" y="720"/>
                    </a:lnTo>
                    <a:lnTo>
                      <a:pt x="576" y="714"/>
                    </a:lnTo>
                    <a:lnTo>
                      <a:pt x="588" y="714"/>
                    </a:lnTo>
                    <a:lnTo>
                      <a:pt x="600" y="702"/>
                    </a:lnTo>
                    <a:lnTo>
                      <a:pt x="594" y="696"/>
                    </a:lnTo>
                    <a:close/>
                    <a:moveTo>
                      <a:pt x="918" y="612"/>
                    </a:moveTo>
                    <a:lnTo>
                      <a:pt x="936" y="618"/>
                    </a:lnTo>
                    <a:lnTo>
                      <a:pt x="942" y="606"/>
                    </a:lnTo>
                    <a:lnTo>
                      <a:pt x="948" y="600"/>
                    </a:lnTo>
                    <a:lnTo>
                      <a:pt x="948" y="594"/>
                    </a:lnTo>
                    <a:lnTo>
                      <a:pt x="918" y="594"/>
                    </a:lnTo>
                    <a:lnTo>
                      <a:pt x="918" y="612"/>
                    </a:lnTo>
                    <a:close/>
                    <a:moveTo>
                      <a:pt x="486" y="756"/>
                    </a:moveTo>
                    <a:lnTo>
                      <a:pt x="474" y="756"/>
                    </a:lnTo>
                    <a:lnTo>
                      <a:pt x="438" y="774"/>
                    </a:lnTo>
                    <a:lnTo>
                      <a:pt x="432" y="780"/>
                    </a:lnTo>
                    <a:lnTo>
                      <a:pt x="432" y="786"/>
                    </a:lnTo>
                    <a:lnTo>
                      <a:pt x="444" y="786"/>
                    </a:lnTo>
                    <a:lnTo>
                      <a:pt x="456" y="780"/>
                    </a:lnTo>
                    <a:lnTo>
                      <a:pt x="462" y="774"/>
                    </a:lnTo>
                    <a:lnTo>
                      <a:pt x="474" y="768"/>
                    </a:lnTo>
                    <a:lnTo>
                      <a:pt x="510" y="768"/>
                    </a:lnTo>
                    <a:lnTo>
                      <a:pt x="510" y="762"/>
                    </a:lnTo>
                    <a:lnTo>
                      <a:pt x="504" y="762"/>
                    </a:lnTo>
                    <a:lnTo>
                      <a:pt x="504" y="756"/>
                    </a:lnTo>
                    <a:lnTo>
                      <a:pt x="486" y="756"/>
                    </a:lnTo>
                    <a:close/>
                    <a:moveTo>
                      <a:pt x="1356" y="660"/>
                    </a:moveTo>
                    <a:lnTo>
                      <a:pt x="1326" y="666"/>
                    </a:lnTo>
                    <a:lnTo>
                      <a:pt x="1290" y="654"/>
                    </a:lnTo>
                    <a:lnTo>
                      <a:pt x="1260" y="642"/>
                    </a:lnTo>
                    <a:lnTo>
                      <a:pt x="1302" y="642"/>
                    </a:lnTo>
                    <a:lnTo>
                      <a:pt x="1326" y="630"/>
                    </a:lnTo>
                    <a:lnTo>
                      <a:pt x="1344" y="630"/>
                    </a:lnTo>
                    <a:lnTo>
                      <a:pt x="1350" y="624"/>
                    </a:lnTo>
                    <a:lnTo>
                      <a:pt x="1356" y="624"/>
                    </a:lnTo>
                    <a:lnTo>
                      <a:pt x="1344" y="618"/>
                    </a:lnTo>
                    <a:lnTo>
                      <a:pt x="1338" y="612"/>
                    </a:lnTo>
                    <a:lnTo>
                      <a:pt x="1320" y="606"/>
                    </a:lnTo>
                    <a:lnTo>
                      <a:pt x="1308" y="600"/>
                    </a:lnTo>
                    <a:lnTo>
                      <a:pt x="1284" y="600"/>
                    </a:lnTo>
                    <a:lnTo>
                      <a:pt x="1260" y="588"/>
                    </a:lnTo>
                    <a:lnTo>
                      <a:pt x="1254" y="588"/>
                    </a:lnTo>
                    <a:lnTo>
                      <a:pt x="1242" y="582"/>
                    </a:lnTo>
                    <a:lnTo>
                      <a:pt x="1242" y="588"/>
                    </a:lnTo>
                    <a:lnTo>
                      <a:pt x="1236" y="594"/>
                    </a:lnTo>
                    <a:lnTo>
                      <a:pt x="1236" y="600"/>
                    </a:lnTo>
                    <a:lnTo>
                      <a:pt x="1218" y="618"/>
                    </a:lnTo>
                    <a:lnTo>
                      <a:pt x="1206" y="618"/>
                    </a:lnTo>
                    <a:lnTo>
                      <a:pt x="1200" y="612"/>
                    </a:lnTo>
                    <a:lnTo>
                      <a:pt x="1224" y="588"/>
                    </a:lnTo>
                    <a:lnTo>
                      <a:pt x="1158" y="564"/>
                    </a:lnTo>
                    <a:lnTo>
                      <a:pt x="1158" y="576"/>
                    </a:lnTo>
                    <a:lnTo>
                      <a:pt x="1152" y="594"/>
                    </a:lnTo>
                    <a:lnTo>
                      <a:pt x="1134" y="630"/>
                    </a:lnTo>
                    <a:lnTo>
                      <a:pt x="1128" y="630"/>
                    </a:lnTo>
                    <a:lnTo>
                      <a:pt x="1122" y="624"/>
                    </a:lnTo>
                    <a:lnTo>
                      <a:pt x="1116" y="612"/>
                    </a:lnTo>
                    <a:lnTo>
                      <a:pt x="1116" y="594"/>
                    </a:lnTo>
                    <a:lnTo>
                      <a:pt x="1122" y="582"/>
                    </a:lnTo>
                    <a:lnTo>
                      <a:pt x="1116" y="594"/>
                    </a:lnTo>
                    <a:lnTo>
                      <a:pt x="1104" y="600"/>
                    </a:lnTo>
                    <a:lnTo>
                      <a:pt x="1080" y="624"/>
                    </a:lnTo>
                    <a:lnTo>
                      <a:pt x="1056" y="636"/>
                    </a:lnTo>
                    <a:lnTo>
                      <a:pt x="1050" y="636"/>
                    </a:lnTo>
                    <a:lnTo>
                      <a:pt x="1050" y="630"/>
                    </a:lnTo>
                    <a:lnTo>
                      <a:pt x="1056" y="618"/>
                    </a:lnTo>
                    <a:lnTo>
                      <a:pt x="1086" y="588"/>
                    </a:lnTo>
                    <a:lnTo>
                      <a:pt x="1092" y="576"/>
                    </a:lnTo>
                    <a:lnTo>
                      <a:pt x="1104" y="570"/>
                    </a:lnTo>
                    <a:lnTo>
                      <a:pt x="1068" y="570"/>
                    </a:lnTo>
                    <a:lnTo>
                      <a:pt x="1050" y="582"/>
                    </a:lnTo>
                    <a:lnTo>
                      <a:pt x="1026" y="582"/>
                    </a:lnTo>
                    <a:lnTo>
                      <a:pt x="984" y="606"/>
                    </a:lnTo>
                    <a:lnTo>
                      <a:pt x="960" y="606"/>
                    </a:lnTo>
                    <a:lnTo>
                      <a:pt x="954" y="636"/>
                    </a:lnTo>
                    <a:lnTo>
                      <a:pt x="918" y="624"/>
                    </a:lnTo>
                    <a:lnTo>
                      <a:pt x="882" y="630"/>
                    </a:lnTo>
                    <a:lnTo>
                      <a:pt x="894" y="660"/>
                    </a:lnTo>
                    <a:lnTo>
                      <a:pt x="846" y="648"/>
                    </a:lnTo>
                    <a:lnTo>
                      <a:pt x="828" y="654"/>
                    </a:lnTo>
                    <a:lnTo>
                      <a:pt x="834" y="678"/>
                    </a:lnTo>
                    <a:lnTo>
                      <a:pt x="792" y="690"/>
                    </a:lnTo>
                    <a:lnTo>
                      <a:pt x="792" y="654"/>
                    </a:lnTo>
                    <a:lnTo>
                      <a:pt x="762" y="654"/>
                    </a:lnTo>
                    <a:lnTo>
                      <a:pt x="774" y="678"/>
                    </a:lnTo>
                    <a:lnTo>
                      <a:pt x="750" y="660"/>
                    </a:lnTo>
                    <a:lnTo>
                      <a:pt x="750" y="690"/>
                    </a:lnTo>
                    <a:lnTo>
                      <a:pt x="726" y="690"/>
                    </a:lnTo>
                    <a:lnTo>
                      <a:pt x="726" y="660"/>
                    </a:lnTo>
                    <a:lnTo>
                      <a:pt x="738" y="654"/>
                    </a:lnTo>
                    <a:lnTo>
                      <a:pt x="744" y="648"/>
                    </a:lnTo>
                    <a:lnTo>
                      <a:pt x="708" y="642"/>
                    </a:lnTo>
                    <a:lnTo>
                      <a:pt x="708" y="684"/>
                    </a:lnTo>
                    <a:lnTo>
                      <a:pt x="678" y="696"/>
                    </a:lnTo>
                    <a:lnTo>
                      <a:pt x="696" y="708"/>
                    </a:lnTo>
                    <a:lnTo>
                      <a:pt x="660" y="714"/>
                    </a:lnTo>
                    <a:lnTo>
                      <a:pt x="672" y="726"/>
                    </a:lnTo>
                    <a:lnTo>
                      <a:pt x="630" y="726"/>
                    </a:lnTo>
                    <a:lnTo>
                      <a:pt x="630" y="738"/>
                    </a:lnTo>
                    <a:lnTo>
                      <a:pt x="660" y="750"/>
                    </a:lnTo>
                    <a:lnTo>
                      <a:pt x="654" y="762"/>
                    </a:lnTo>
                    <a:lnTo>
                      <a:pt x="618" y="744"/>
                    </a:lnTo>
                    <a:lnTo>
                      <a:pt x="600" y="750"/>
                    </a:lnTo>
                    <a:lnTo>
                      <a:pt x="624" y="762"/>
                    </a:lnTo>
                    <a:lnTo>
                      <a:pt x="606" y="780"/>
                    </a:lnTo>
                    <a:lnTo>
                      <a:pt x="594" y="762"/>
                    </a:lnTo>
                    <a:lnTo>
                      <a:pt x="576" y="768"/>
                    </a:lnTo>
                    <a:lnTo>
                      <a:pt x="576" y="780"/>
                    </a:lnTo>
                    <a:lnTo>
                      <a:pt x="546" y="780"/>
                    </a:lnTo>
                    <a:lnTo>
                      <a:pt x="540" y="792"/>
                    </a:lnTo>
                    <a:lnTo>
                      <a:pt x="564" y="804"/>
                    </a:lnTo>
                    <a:lnTo>
                      <a:pt x="564" y="822"/>
                    </a:lnTo>
                    <a:lnTo>
                      <a:pt x="528" y="810"/>
                    </a:lnTo>
                    <a:lnTo>
                      <a:pt x="522" y="822"/>
                    </a:lnTo>
                    <a:lnTo>
                      <a:pt x="552" y="834"/>
                    </a:lnTo>
                    <a:lnTo>
                      <a:pt x="504" y="834"/>
                    </a:lnTo>
                    <a:lnTo>
                      <a:pt x="504" y="852"/>
                    </a:lnTo>
                    <a:lnTo>
                      <a:pt x="492" y="846"/>
                    </a:lnTo>
                    <a:lnTo>
                      <a:pt x="486" y="846"/>
                    </a:lnTo>
                    <a:lnTo>
                      <a:pt x="474" y="852"/>
                    </a:lnTo>
                    <a:lnTo>
                      <a:pt x="468" y="858"/>
                    </a:lnTo>
                    <a:lnTo>
                      <a:pt x="456" y="858"/>
                    </a:lnTo>
                    <a:lnTo>
                      <a:pt x="456" y="870"/>
                    </a:lnTo>
                    <a:lnTo>
                      <a:pt x="462" y="876"/>
                    </a:lnTo>
                    <a:lnTo>
                      <a:pt x="456" y="876"/>
                    </a:lnTo>
                    <a:lnTo>
                      <a:pt x="450" y="882"/>
                    </a:lnTo>
                    <a:lnTo>
                      <a:pt x="444" y="882"/>
                    </a:lnTo>
                    <a:lnTo>
                      <a:pt x="444" y="900"/>
                    </a:lnTo>
                    <a:lnTo>
                      <a:pt x="480" y="900"/>
                    </a:lnTo>
                    <a:lnTo>
                      <a:pt x="468" y="912"/>
                    </a:lnTo>
                    <a:lnTo>
                      <a:pt x="432" y="906"/>
                    </a:lnTo>
                    <a:lnTo>
                      <a:pt x="420" y="912"/>
                    </a:lnTo>
                    <a:lnTo>
                      <a:pt x="414" y="918"/>
                    </a:lnTo>
                    <a:lnTo>
                      <a:pt x="414" y="930"/>
                    </a:lnTo>
                    <a:lnTo>
                      <a:pt x="420" y="936"/>
                    </a:lnTo>
                    <a:lnTo>
                      <a:pt x="420" y="948"/>
                    </a:lnTo>
                    <a:lnTo>
                      <a:pt x="408" y="954"/>
                    </a:lnTo>
                    <a:lnTo>
                      <a:pt x="390" y="954"/>
                    </a:lnTo>
                    <a:lnTo>
                      <a:pt x="390" y="972"/>
                    </a:lnTo>
                    <a:lnTo>
                      <a:pt x="408" y="990"/>
                    </a:lnTo>
                    <a:lnTo>
                      <a:pt x="408" y="996"/>
                    </a:lnTo>
                    <a:lnTo>
                      <a:pt x="402" y="1002"/>
                    </a:lnTo>
                    <a:lnTo>
                      <a:pt x="366" y="1002"/>
                    </a:lnTo>
                    <a:lnTo>
                      <a:pt x="360" y="1008"/>
                    </a:lnTo>
                    <a:lnTo>
                      <a:pt x="360" y="1026"/>
                    </a:lnTo>
                    <a:lnTo>
                      <a:pt x="354" y="1032"/>
                    </a:lnTo>
                    <a:lnTo>
                      <a:pt x="342" y="1032"/>
                    </a:lnTo>
                    <a:lnTo>
                      <a:pt x="336" y="1026"/>
                    </a:lnTo>
                    <a:lnTo>
                      <a:pt x="318" y="1026"/>
                    </a:lnTo>
                    <a:lnTo>
                      <a:pt x="294" y="1050"/>
                    </a:lnTo>
                    <a:lnTo>
                      <a:pt x="282" y="1050"/>
                    </a:lnTo>
                    <a:lnTo>
                      <a:pt x="270" y="1062"/>
                    </a:lnTo>
                    <a:lnTo>
                      <a:pt x="270" y="1068"/>
                    </a:lnTo>
                    <a:lnTo>
                      <a:pt x="276" y="1074"/>
                    </a:lnTo>
                    <a:lnTo>
                      <a:pt x="276" y="1080"/>
                    </a:lnTo>
                    <a:lnTo>
                      <a:pt x="264" y="1092"/>
                    </a:lnTo>
                    <a:lnTo>
                      <a:pt x="252" y="1092"/>
                    </a:lnTo>
                    <a:lnTo>
                      <a:pt x="246" y="1086"/>
                    </a:lnTo>
                    <a:lnTo>
                      <a:pt x="234" y="1080"/>
                    </a:lnTo>
                    <a:lnTo>
                      <a:pt x="234" y="1074"/>
                    </a:lnTo>
                    <a:lnTo>
                      <a:pt x="228" y="1074"/>
                    </a:lnTo>
                    <a:lnTo>
                      <a:pt x="204" y="1086"/>
                    </a:lnTo>
                    <a:lnTo>
                      <a:pt x="198" y="1092"/>
                    </a:lnTo>
                    <a:lnTo>
                      <a:pt x="180" y="1092"/>
                    </a:lnTo>
                    <a:lnTo>
                      <a:pt x="180" y="1110"/>
                    </a:lnTo>
                    <a:lnTo>
                      <a:pt x="186" y="1116"/>
                    </a:lnTo>
                    <a:lnTo>
                      <a:pt x="192" y="1116"/>
                    </a:lnTo>
                    <a:lnTo>
                      <a:pt x="192" y="1128"/>
                    </a:lnTo>
                    <a:lnTo>
                      <a:pt x="186" y="1128"/>
                    </a:lnTo>
                    <a:lnTo>
                      <a:pt x="174" y="1116"/>
                    </a:lnTo>
                    <a:lnTo>
                      <a:pt x="162" y="1116"/>
                    </a:lnTo>
                    <a:lnTo>
                      <a:pt x="156" y="1122"/>
                    </a:lnTo>
                    <a:lnTo>
                      <a:pt x="156" y="1134"/>
                    </a:lnTo>
                    <a:lnTo>
                      <a:pt x="168" y="1134"/>
                    </a:lnTo>
                    <a:lnTo>
                      <a:pt x="174" y="1140"/>
                    </a:lnTo>
                    <a:lnTo>
                      <a:pt x="180" y="1140"/>
                    </a:lnTo>
                    <a:lnTo>
                      <a:pt x="180" y="1152"/>
                    </a:lnTo>
                    <a:lnTo>
                      <a:pt x="138" y="1152"/>
                    </a:lnTo>
                    <a:lnTo>
                      <a:pt x="138" y="1146"/>
                    </a:lnTo>
                    <a:lnTo>
                      <a:pt x="132" y="1146"/>
                    </a:lnTo>
                    <a:lnTo>
                      <a:pt x="126" y="1158"/>
                    </a:lnTo>
                    <a:lnTo>
                      <a:pt x="126" y="1170"/>
                    </a:lnTo>
                    <a:lnTo>
                      <a:pt x="120" y="1164"/>
                    </a:lnTo>
                    <a:lnTo>
                      <a:pt x="102" y="1164"/>
                    </a:lnTo>
                    <a:lnTo>
                      <a:pt x="96" y="1158"/>
                    </a:lnTo>
                    <a:lnTo>
                      <a:pt x="90" y="1158"/>
                    </a:lnTo>
                    <a:lnTo>
                      <a:pt x="90" y="1164"/>
                    </a:lnTo>
                    <a:lnTo>
                      <a:pt x="96" y="1170"/>
                    </a:lnTo>
                    <a:lnTo>
                      <a:pt x="120" y="1182"/>
                    </a:lnTo>
                    <a:lnTo>
                      <a:pt x="132" y="1182"/>
                    </a:lnTo>
                    <a:lnTo>
                      <a:pt x="108" y="1200"/>
                    </a:lnTo>
                    <a:lnTo>
                      <a:pt x="108" y="1188"/>
                    </a:lnTo>
                    <a:lnTo>
                      <a:pt x="90" y="1188"/>
                    </a:lnTo>
                    <a:lnTo>
                      <a:pt x="84" y="1194"/>
                    </a:lnTo>
                    <a:lnTo>
                      <a:pt x="60" y="1182"/>
                    </a:lnTo>
                    <a:lnTo>
                      <a:pt x="54" y="1194"/>
                    </a:lnTo>
                    <a:lnTo>
                      <a:pt x="66" y="1200"/>
                    </a:lnTo>
                    <a:lnTo>
                      <a:pt x="30" y="1194"/>
                    </a:lnTo>
                    <a:lnTo>
                      <a:pt x="30" y="1212"/>
                    </a:lnTo>
                    <a:lnTo>
                      <a:pt x="78" y="1212"/>
                    </a:lnTo>
                    <a:lnTo>
                      <a:pt x="54" y="1218"/>
                    </a:lnTo>
                    <a:lnTo>
                      <a:pt x="18" y="1212"/>
                    </a:lnTo>
                    <a:lnTo>
                      <a:pt x="6" y="1224"/>
                    </a:lnTo>
                    <a:lnTo>
                      <a:pt x="6" y="1230"/>
                    </a:lnTo>
                    <a:lnTo>
                      <a:pt x="18" y="1242"/>
                    </a:lnTo>
                    <a:lnTo>
                      <a:pt x="36" y="1242"/>
                    </a:lnTo>
                    <a:lnTo>
                      <a:pt x="18" y="1248"/>
                    </a:lnTo>
                    <a:lnTo>
                      <a:pt x="12" y="1254"/>
                    </a:lnTo>
                    <a:lnTo>
                      <a:pt x="12" y="1260"/>
                    </a:lnTo>
                    <a:lnTo>
                      <a:pt x="66" y="1260"/>
                    </a:lnTo>
                    <a:lnTo>
                      <a:pt x="78" y="1272"/>
                    </a:lnTo>
                    <a:lnTo>
                      <a:pt x="96" y="1260"/>
                    </a:lnTo>
                    <a:lnTo>
                      <a:pt x="108" y="1272"/>
                    </a:lnTo>
                    <a:lnTo>
                      <a:pt x="138" y="1260"/>
                    </a:lnTo>
                    <a:lnTo>
                      <a:pt x="132" y="1266"/>
                    </a:lnTo>
                    <a:lnTo>
                      <a:pt x="126" y="1278"/>
                    </a:lnTo>
                    <a:lnTo>
                      <a:pt x="60" y="1278"/>
                    </a:lnTo>
                    <a:lnTo>
                      <a:pt x="54" y="1272"/>
                    </a:lnTo>
                    <a:lnTo>
                      <a:pt x="24" y="1272"/>
                    </a:lnTo>
                    <a:lnTo>
                      <a:pt x="12" y="1278"/>
                    </a:lnTo>
                    <a:lnTo>
                      <a:pt x="0" y="1278"/>
                    </a:lnTo>
                    <a:lnTo>
                      <a:pt x="6" y="1284"/>
                    </a:lnTo>
                    <a:lnTo>
                      <a:pt x="6" y="1296"/>
                    </a:lnTo>
                    <a:lnTo>
                      <a:pt x="12" y="1296"/>
                    </a:lnTo>
                    <a:lnTo>
                      <a:pt x="18" y="1302"/>
                    </a:lnTo>
                    <a:lnTo>
                      <a:pt x="30" y="1302"/>
                    </a:lnTo>
                    <a:lnTo>
                      <a:pt x="24" y="1308"/>
                    </a:lnTo>
                    <a:lnTo>
                      <a:pt x="18" y="1320"/>
                    </a:lnTo>
                    <a:lnTo>
                      <a:pt x="36" y="1338"/>
                    </a:lnTo>
                    <a:lnTo>
                      <a:pt x="48" y="1338"/>
                    </a:lnTo>
                    <a:lnTo>
                      <a:pt x="72" y="1320"/>
                    </a:lnTo>
                    <a:lnTo>
                      <a:pt x="102" y="1314"/>
                    </a:lnTo>
                    <a:lnTo>
                      <a:pt x="90" y="1338"/>
                    </a:lnTo>
                    <a:lnTo>
                      <a:pt x="78" y="1332"/>
                    </a:lnTo>
                    <a:lnTo>
                      <a:pt x="66" y="1350"/>
                    </a:lnTo>
                    <a:lnTo>
                      <a:pt x="30" y="1350"/>
                    </a:lnTo>
                    <a:lnTo>
                      <a:pt x="48" y="1368"/>
                    </a:lnTo>
                    <a:lnTo>
                      <a:pt x="24" y="1380"/>
                    </a:lnTo>
                    <a:lnTo>
                      <a:pt x="6" y="1380"/>
                    </a:lnTo>
                    <a:lnTo>
                      <a:pt x="6" y="1398"/>
                    </a:lnTo>
                    <a:lnTo>
                      <a:pt x="66" y="1398"/>
                    </a:lnTo>
                    <a:lnTo>
                      <a:pt x="54" y="1422"/>
                    </a:lnTo>
                    <a:lnTo>
                      <a:pt x="66" y="1422"/>
                    </a:lnTo>
                    <a:lnTo>
                      <a:pt x="54" y="1440"/>
                    </a:lnTo>
                    <a:lnTo>
                      <a:pt x="42" y="1434"/>
                    </a:lnTo>
                    <a:lnTo>
                      <a:pt x="36" y="1434"/>
                    </a:lnTo>
                    <a:lnTo>
                      <a:pt x="30" y="1428"/>
                    </a:lnTo>
                    <a:lnTo>
                      <a:pt x="18" y="1428"/>
                    </a:lnTo>
                    <a:lnTo>
                      <a:pt x="18" y="1440"/>
                    </a:lnTo>
                    <a:lnTo>
                      <a:pt x="24" y="1452"/>
                    </a:lnTo>
                    <a:lnTo>
                      <a:pt x="36" y="1464"/>
                    </a:lnTo>
                    <a:lnTo>
                      <a:pt x="84" y="1482"/>
                    </a:lnTo>
                    <a:lnTo>
                      <a:pt x="78" y="1488"/>
                    </a:lnTo>
                    <a:lnTo>
                      <a:pt x="84" y="1494"/>
                    </a:lnTo>
                    <a:lnTo>
                      <a:pt x="126" y="1494"/>
                    </a:lnTo>
                    <a:lnTo>
                      <a:pt x="132" y="1500"/>
                    </a:lnTo>
                    <a:lnTo>
                      <a:pt x="144" y="1500"/>
                    </a:lnTo>
                    <a:lnTo>
                      <a:pt x="192" y="1476"/>
                    </a:lnTo>
                    <a:lnTo>
                      <a:pt x="204" y="1464"/>
                    </a:lnTo>
                    <a:lnTo>
                      <a:pt x="216" y="1458"/>
                    </a:lnTo>
                    <a:lnTo>
                      <a:pt x="222" y="1452"/>
                    </a:lnTo>
                    <a:lnTo>
                      <a:pt x="258" y="1422"/>
                    </a:lnTo>
                    <a:lnTo>
                      <a:pt x="282" y="1422"/>
                    </a:lnTo>
                    <a:lnTo>
                      <a:pt x="294" y="1416"/>
                    </a:lnTo>
                    <a:lnTo>
                      <a:pt x="300" y="1410"/>
                    </a:lnTo>
                    <a:lnTo>
                      <a:pt x="300" y="1386"/>
                    </a:lnTo>
                    <a:lnTo>
                      <a:pt x="294" y="1380"/>
                    </a:lnTo>
                    <a:lnTo>
                      <a:pt x="294" y="1374"/>
                    </a:lnTo>
                    <a:lnTo>
                      <a:pt x="312" y="1368"/>
                    </a:lnTo>
                    <a:lnTo>
                      <a:pt x="306" y="1374"/>
                    </a:lnTo>
                    <a:lnTo>
                      <a:pt x="306" y="1380"/>
                    </a:lnTo>
                    <a:lnTo>
                      <a:pt x="300" y="1386"/>
                    </a:lnTo>
                    <a:lnTo>
                      <a:pt x="300" y="1392"/>
                    </a:lnTo>
                    <a:lnTo>
                      <a:pt x="312" y="1404"/>
                    </a:lnTo>
                    <a:lnTo>
                      <a:pt x="330" y="1410"/>
                    </a:lnTo>
                    <a:lnTo>
                      <a:pt x="342" y="1410"/>
                    </a:lnTo>
                    <a:lnTo>
                      <a:pt x="348" y="1416"/>
                    </a:lnTo>
                    <a:lnTo>
                      <a:pt x="354" y="1416"/>
                    </a:lnTo>
                    <a:lnTo>
                      <a:pt x="372" y="1434"/>
                    </a:lnTo>
                    <a:lnTo>
                      <a:pt x="378" y="1422"/>
                    </a:lnTo>
                    <a:lnTo>
                      <a:pt x="384" y="1416"/>
                    </a:lnTo>
                    <a:lnTo>
                      <a:pt x="384" y="1398"/>
                    </a:lnTo>
                    <a:lnTo>
                      <a:pt x="372" y="1386"/>
                    </a:lnTo>
                    <a:lnTo>
                      <a:pt x="372" y="1380"/>
                    </a:lnTo>
                    <a:lnTo>
                      <a:pt x="378" y="1374"/>
                    </a:lnTo>
                    <a:lnTo>
                      <a:pt x="384" y="1374"/>
                    </a:lnTo>
                    <a:lnTo>
                      <a:pt x="384" y="1368"/>
                    </a:lnTo>
                    <a:lnTo>
                      <a:pt x="378" y="1356"/>
                    </a:lnTo>
                    <a:lnTo>
                      <a:pt x="414" y="1356"/>
                    </a:lnTo>
                    <a:lnTo>
                      <a:pt x="420" y="1350"/>
                    </a:lnTo>
                    <a:lnTo>
                      <a:pt x="420" y="1326"/>
                    </a:lnTo>
                    <a:lnTo>
                      <a:pt x="426" y="1326"/>
                    </a:lnTo>
                    <a:lnTo>
                      <a:pt x="420" y="1314"/>
                    </a:lnTo>
                    <a:lnTo>
                      <a:pt x="420" y="1308"/>
                    </a:lnTo>
                    <a:lnTo>
                      <a:pt x="414" y="1302"/>
                    </a:lnTo>
                    <a:lnTo>
                      <a:pt x="414" y="1296"/>
                    </a:lnTo>
                    <a:lnTo>
                      <a:pt x="408" y="1284"/>
                    </a:lnTo>
                    <a:lnTo>
                      <a:pt x="402" y="1278"/>
                    </a:lnTo>
                    <a:lnTo>
                      <a:pt x="426" y="1272"/>
                    </a:lnTo>
                    <a:lnTo>
                      <a:pt x="438" y="1260"/>
                    </a:lnTo>
                    <a:lnTo>
                      <a:pt x="438" y="1248"/>
                    </a:lnTo>
                    <a:lnTo>
                      <a:pt x="420" y="1230"/>
                    </a:lnTo>
                    <a:lnTo>
                      <a:pt x="414" y="1230"/>
                    </a:lnTo>
                    <a:lnTo>
                      <a:pt x="402" y="1218"/>
                    </a:lnTo>
                    <a:lnTo>
                      <a:pt x="402" y="1200"/>
                    </a:lnTo>
                    <a:lnTo>
                      <a:pt x="408" y="1188"/>
                    </a:lnTo>
                    <a:lnTo>
                      <a:pt x="408" y="1176"/>
                    </a:lnTo>
                    <a:lnTo>
                      <a:pt x="384" y="1152"/>
                    </a:lnTo>
                    <a:lnTo>
                      <a:pt x="384" y="1140"/>
                    </a:lnTo>
                    <a:lnTo>
                      <a:pt x="390" y="1134"/>
                    </a:lnTo>
                    <a:lnTo>
                      <a:pt x="396" y="1134"/>
                    </a:lnTo>
                    <a:lnTo>
                      <a:pt x="402" y="1128"/>
                    </a:lnTo>
                    <a:lnTo>
                      <a:pt x="402" y="1122"/>
                    </a:lnTo>
                    <a:lnTo>
                      <a:pt x="396" y="1116"/>
                    </a:lnTo>
                    <a:lnTo>
                      <a:pt x="390" y="1116"/>
                    </a:lnTo>
                    <a:lnTo>
                      <a:pt x="384" y="1110"/>
                    </a:lnTo>
                    <a:lnTo>
                      <a:pt x="426" y="1068"/>
                    </a:lnTo>
                    <a:lnTo>
                      <a:pt x="438" y="1062"/>
                    </a:lnTo>
                    <a:lnTo>
                      <a:pt x="444" y="1056"/>
                    </a:lnTo>
                    <a:lnTo>
                      <a:pt x="456" y="1050"/>
                    </a:lnTo>
                    <a:lnTo>
                      <a:pt x="498" y="1050"/>
                    </a:lnTo>
                    <a:lnTo>
                      <a:pt x="504" y="1044"/>
                    </a:lnTo>
                    <a:lnTo>
                      <a:pt x="504" y="1038"/>
                    </a:lnTo>
                    <a:lnTo>
                      <a:pt x="486" y="1020"/>
                    </a:lnTo>
                    <a:lnTo>
                      <a:pt x="474" y="1014"/>
                    </a:lnTo>
                    <a:lnTo>
                      <a:pt x="486" y="1008"/>
                    </a:lnTo>
                    <a:lnTo>
                      <a:pt x="492" y="1008"/>
                    </a:lnTo>
                    <a:lnTo>
                      <a:pt x="522" y="978"/>
                    </a:lnTo>
                    <a:lnTo>
                      <a:pt x="528" y="936"/>
                    </a:lnTo>
                    <a:lnTo>
                      <a:pt x="528" y="900"/>
                    </a:lnTo>
                    <a:lnTo>
                      <a:pt x="546" y="912"/>
                    </a:lnTo>
                    <a:lnTo>
                      <a:pt x="558" y="906"/>
                    </a:lnTo>
                    <a:lnTo>
                      <a:pt x="564" y="906"/>
                    </a:lnTo>
                    <a:lnTo>
                      <a:pt x="570" y="900"/>
                    </a:lnTo>
                    <a:lnTo>
                      <a:pt x="576" y="900"/>
                    </a:lnTo>
                    <a:lnTo>
                      <a:pt x="576" y="894"/>
                    </a:lnTo>
                    <a:lnTo>
                      <a:pt x="570" y="888"/>
                    </a:lnTo>
                    <a:lnTo>
                      <a:pt x="570" y="882"/>
                    </a:lnTo>
                    <a:lnTo>
                      <a:pt x="564" y="876"/>
                    </a:lnTo>
                    <a:lnTo>
                      <a:pt x="582" y="876"/>
                    </a:lnTo>
                    <a:lnTo>
                      <a:pt x="588" y="870"/>
                    </a:lnTo>
                    <a:lnTo>
                      <a:pt x="588" y="864"/>
                    </a:lnTo>
                    <a:lnTo>
                      <a:pt x="594" y="858"/>
                    </a:lnTo>
                    <a:lnTo>
                      <a:pt x="606" y="852"/>
                    </a:lnTo>
                    <a:lnTo>
                      <a:pt x="612" y="852"/>
                    </a:lnTo>
                    <a:lnTo>
                      <a:pt x="618" y="834"/>
                    </a:lnTo>
                    <a:lnTo>
                      <a:pt x="612" y="828"/>
                    </a:lnTo>
                    <a:lnTo>
                      <a:pt x="600" y="822"/>
                    </a:lnTo>
                    <a:lnTo>
                      <a:pt x="600" y="810"/>
                    </a:lnTo>
                    <a:lnTo>
                      <a:pt x="606" y="810"/>
                    </a:lnTo>
                    <a:lnTo>
                      <a:pt x="618" y="804"/>
                    </a:lnTo>
                    <a:lnTo>
                      <a:pt x="636" y="786"/>
                    </a:lnTo>
                    <a:lnTo>
                      <a:pt x="678" y="780"/>
                    </a:lnTo>
                    <a:lnTo>
                      <a:pt x="696" y="780"/>
                    </a:lnTo>
                    <a:lnTo>
                      <a:pt x="702" y="774"/>
                    </a:lnTo>
                    <a:lnTo>
                      <a:pt x="702" y="744"/>
                    </a:lnTo>
                    <a:lnTo>
                      <a:pt x="714" y="732"/>
                    </a:lnTo>
                    <a:lnTo>
                      <a:pt x="720" y="738"/>
                    </a:lnTo>
                    <a:lnTo>
                      <a:pt x="720" y="750"/>
                    </a:lnTo>
                    <a:lnTo>
                      <a:pt x="744" y="744"/>
                    </a:lnTo>
                    <a:lnTo>
                      <a:pt x="768" y="750"/>
                    </a:lnTo>
                    <a:lnTo>
                      <a:pt x="792" y="750"/>
                    </a:lnTo>
                    <a:lnTo>
                      <a:pt x="798" y="756"/>
                    </a:lnTo>
                    <a:lnTo>
                      <a:pt x="810" y="756"/>
                    </a:lnTo>
                    <a:lnTo>
                      <a:pt x="816" y="750"/>
                    </a:lnTo>
                    <a:lnTo>
                      <a:pt x="810" y="750"/>
                    </a:lnTo>
                    <a:lnTo>
                      <a:pt x="798" y="738"/>
                    </a:lnTo>
                    <a:lnTo>
                      <a:pt x="798" y="732"/>
                    </a:lnTo>
                    <a:lnTo>
                      <a:pt x="810" y="732"/>
                    </a:lnTo>
                    <a:lnTo>
                      <a:pt x="810" y="708"/>
                    </a:lnTo>
                    <a:lnTo>
                      <a:pt x="840" y="714"/>
                    </a:lnTo>
                    <a:lnTo>
                      <a:pt x="834" y="708"/>
                    </a:lnTo>
                    <a:lnTo>
                      <a:pt x="840" y="702"/>
                    </a:lnTo>
                    <a:lnTo>
                      <a:pt x="858" y="708"/>
                    </a:lnTo>
                    <a:lnTo>
                      <a:pt x="858" y="696"/>
                    </a:lnTo>
                    <a:lnTo>
                      <a:pt x="864" y="690"/>
                    </a:lnTo>
                    <a:lnTo>
                      <a:pt x="882" y="690"/>
                    </a:lnTo>
                    <a:lnTo>
                      <a:pt x="888" y="696"/>
                    </a:lnTo>
                    <a:lnTo>
                      <a:pt x="894" y="708"/>
                    </a:lnTo>
                    <a:lnTo>
                      <a:pt x="906" y="714"/>
                    </a:lnTo>
                    <a:lnTo>
                      <a:pt x="918" y="726"/>
                    </a:lnTo>
                    <a:lnTo>
                      <a:pt x="930" y="726"/>
                    </a:lnTo>
                    <a:lnTo>
                      <a:pt x="942" y="732"/>
                    </a:lnTo>
                    <a:lnTo>
                      <a:pt x="960" y="732"/>
                    </a:lnTo>
                    <a:lnTo>
                      <a:pt x="966" y="738"/>
                    </a:lnTo>
                    <a:lnTo>
                      <a:pt x="978" y="738"/>
                    </a:lnTo>
                    <a:lnTo>
                      <a:pt x="990" y="732"/>
                    </a:lnTo>
                    <a:lnTo>
                      <a:pt x="996" y="726"/>
                    </a:lnTo>
                    <a:lnTo>
                      <a:pt x="1026" y="726"/>
                    </a:lnTo>
                    <a:lnTo>
                      <a:pt x="1038" y="732"/>
                    </a:lnTo>
                    <a:lnTo>
                      <a:pt x="1044" y="738"/>
                    </a:lnTo>
                    <a:lnTo>
                      <a:pt x="1062" y="738"/>
                    </a:lnTo>
                    <a:lnTo>
                      <a:pt x="1062" y="726"/>
                    </a:lnTo>
                    <a:lnTo>
                      <a:pt x="1068" y="720"/>
                    </a:lnTo>
                    <a:lnTo>
                      <a:pt x="1068" y="714"/>
                    </a:lnTo>
                    <a:lnTo>
                      <a:pt x="1092" y="714"/>
                    </a:lnTo>
                    <a:lnTo>
                      <a:pt x="1092" y="678"/>
                    </a:lnTo>
                    <a:lnTo>
                      <a:pt x="1098" y="672"/>
                    </a:lnTo>
                    <a:lnTo>
                      <a:pt x="1098" y="660"/>
                    </a:lnTo>
                    <a:lnTo>
                      <a:pt x="1110" y="654"/>
                    </a:lnTo>
                    <a:lnTo>
                      <a:pt x="1116" y="654"/>
                    </a:lnTo>
                    <a:lnTo>
                      <a:pt x="1128" y="648"/>
                    </a:lnTo>
                    <a:lnTo>
                      <a:pt x="1158" y="648"/>
                    </a:lnTo>
                    <a:lnTo>
                      <a:pt x="1170" y="642"/>
                    </a:lnTo>
                    <a:lnTo>
                      <a:pt x="1206" y="642"/>
                    </a:lnTo>
                    <a:lnTo>
                      <a:pt x="1206" y="654"/>
                    </a:lnTo>
                    <a:lnTo>
                      <a:pt x="1242" y="660"/>
                    </a:lnTo>
                    <a:lnTo>
                      <a:pt x="1248" y="660"/>
                    </a:lnTo>
                    <a:lnTo>
                      <a:pt x="1260" y="672"/>
                    </a:lnTo>
                    <a:lnTo>
                      <a:pt x="1266" y="684"/>
                    </a:lnTo>
                    <a:lnTo>
                      <a:pt x="1266" y="702"/>
                    </a:lnTo>
                    <a:lnTo>
                      <a:pt x="1260" y="702"/>
                    </a:lnTo>
                    <a:lnTo>
                      <a:pt x="1260" y="696"/>
                    </a:lnTo>
                    <a:lnTo>
                      <a:pt x="1254" y="696"/>
                    </a:lnTo>
                    <a:lnTo>
                      <a:pt x="1254" y="708"/>
                    </a:lnTo>
                    <a:lnTo>
                      <a:pt x="1278" y="708"/>
                    </a:lnTo>
                    <a:lnTo>
                      <a:pt x="1284" y="696"/>
                    </a:lnTo>
                    <a:lnTo>
                      <a:pt x="1284" y="690"/>
                    </a:lnTo>
                    <a:lnTo>
                      <a:pt x="1308" y="684"/>
                    </a:lnTo>
                    <a:lnTo>
                      <a:pt x="1314" y="672"/>
                    </a:lnTo>
                    <a:lnTo>
                      <a:pt x="1350" y="672"/>
                    </a:lnTo>
                    <a:lnTo>
                      <a:pt x="1362" y="660"/>
                    </a:lnTo>
                    <a:lnTo>
                      <a:pt x="1356" y="660"/>
                    </a:lnTo>
                    <a:close/>
                    <a:moveTo>
                      <a:pt x="564" y="726"/>
                    </a:moveTo>
                    <a:lnTo>
                      <a:pt x="540" y="738"/>
                    </a:lnTo>
                    <a:lnTo>
                      <a:pt x="546" y="756"/>
                    </a:lnTo>
                    <a:lnTo>
                      <a:pt x="576" y="756"/>
                    </a:lnTo>
                    <a:lnTo>
                      <a:pt x="570" y="738"/>
                    </a:lnTo>
                    <a:lnTo>
                      <a:pt x="564" y="726"/>
                    </a:lnTo>
                    <a:close/>
                    <a:moveTo>
                      <a:pt x="522" y="714"/>
                    </a:moveTo>
                    <a:lnTo>
                      <a:pt x="516" y="720"/>
                    </a:lnTo>
                    <a:lnTo>
                      <a:pt x="510" y="732"/>
                    </a:lnTo>
                    <a:lnTo>
                      <a:pt x="510" y="750"/>
                    </a:lnTo>
                    <a:lnTo>
                      <a:pt x="528" y="768"/>
                    </a:lnTo>
                    <a:lnTo>
                      <a:pt x="528" y="756"/>
                    </a:lnTo>
                    <a:lnTo>
                      <a:pt x="534" y="744"/>
                    </a:lnTo>
                    <a:lnTo>
                      <a:pt x="534" y="720"/>
                    </a:lnTo>
                    <a:lnTo>
                      <a:pt x="528" y="714"/>
                    </a:lnTo>
                    <a:lnTo>
                      <a:pt x="522" y="714"/>
                    </a:lnTo>
                    <a:close/>
                    <a:moveTo>
                      <a:pt x="606" y="738"/>
                    </a:moveTo>
                    <a:lnTo>
                      <a:pt x="618" y="732"/>
                    </a:lnTo>
                    <a:lnTo>
                      <a:pt x="624" y="732"/>
                    </a:lnTo>
                    <a:lnTo>
                      <a:pt x="630" y="726"/>
                    </a:lnTo>
                    <a:lnTo>
                      <a:pt x="618" y="720"/>
                    </a:lnTo>
                    <a:lnTo>
                      <a:pt x="588" y="720"/>
                    </a:lnTo>
                    <a:lnTo>
                      <a:pt x="576" y="732"/>
                    </a:lnTo>
                    <a:lnTo>
                      <a:pt x="582" y="744"/>
                    </a:lnTo>
                    <a:lnTo>
                      <a:pt x="606" y="738"/>
                    </a:lnTo>
                    <a:close/>
                  </a:path>
                </a:pathLst>
              </a:custGeom>
              <a:grpFill/>
              <a:ln w="3175">
                <a:solidFill>
                  <a:srgbClr val="B4D2AC">
                    <a:lumMod val="60000"/>
                    <a:lumOff val="4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40" name="Luxembourg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72ABF2B-533F-458A-BC79-E72FD82E96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45128" y="2714338"/>
                <a:ext cx="22713" cy="19486"/>
              </a:xfrm>
              <a:custGeom>
                <a:avLst/>
                <a:gdLst>
                  <a:gd name="T0" fmla="*/ 2147483647 w 54"/>
                  <a:gd name="T1" fmla="*/ 2147483647 h 42"/>
                  <a:gd name="T2" fmla="*/ 2147483647 w 54"/>
                  <a:gd name="T3" fmla="*/ 2147483647 h 42"/>
                  <a:gd name="T4" fmla="*/ 2147483647 w 54"/>
                  <a:gd name="T5" fmla="*/ 2147483647 h 42"/>
                  <a:gd name="T6" fmla="*/ 2147483647 w 54"/>
                  <a:gd name="T7" fmla="*/ 2147483647 h 42"/>
                  <a:gd name="T8" fmla="*/ 2147483647 w 54"/>
                  <a:gd name="T9" fmla="*/ 2147483647 h 42"/>
                  <a:gd name="T10" fmla="*/ 2147483647 w 54"/>
                  <a:gd name="T11" fmla="*/ 2147483647 h 42"/>
                  <a:gd name="T12" fmla="*/ 2147483647 w 54"/>
                  <a:gd name="T13" fmla="*/ 2147483647 h 42"/>
                  <a:gd name="T14" fmla="*/ 2147483647 w 54"/>
                  <a:gd name="T15" fmla="*/ 2147483647 h 42"/>
                  <a:gd name="T16" fmla="*/ 2147483647 w 54"/>
                  <a:gd name="T17" fmla="*/ 0 h 42"/>
                  <a:gd name="T18" fmla="*/ 2147483647 w 54"/>
                  <a:gd name="T19" fmla="*/ 0 h 42"/>
                  <a:gd name="T20" fmla="*/ 2147483647 w 54"/>
                  <a:gd name="T21" fmla="*/ 2147483647 h 42"/>
                  <a:gd name="T22" fmla="*/ 2147483647 w 54"/>
                  <a:gd name="T23" fmla="*/ 2147483647 h 42"/>
                  <a:gd name="T24" fmla="*/ 0 w 54"/>
                  <a:gd name="T25" fmla="*/ 2147483647 h 42"/>
                  <a:gd name="T26" fmla="*/ 0 w 54"/>
                  <a:gd name="T27" fmla="*/ 2147483647 h 42"/>
                  <a:gd name="T28" fmla="*/ 2147483647 w 54"/>
                  <a:gd name="T29" fmla="*/ 2147483647 h 42"/>
                  <a:gd name="T30" fmla="*/ 2147483647 w 54"/>
                  <a:gd name="T31" fmla="*/ 2147483647 h 4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4"/>
                  <a:gd name="T49" fmla="*/ 0 h 42"/>
                  <a:gd name="T50" fmla="*/ 54 w 54"/>
                  <a:gd name="T51" fmla="*/ 42 h 4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4" h="42">
                    <a:moveTo>
                      <a:pt x="18" y="42"/>
                    </a:moveTo>
                    <a:lnTo>
                      <a:pt x="30" y="36"/>
                    </a:lnTo>
                    <a:lnTo>
                      <a:pt x="48" y="42"/>
                    </a:lnTo>
                    <a:lnTo>
                      <a:pt x="54" y="36"/>
                    </a:lnTo>
                    <a:lnTo>
                      <a:pt x="54" y="24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12"/>
                    </a:lnTo>
                    <a:lnTo>
                      <a:pt x="30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12" y="30"/>
                    </a:lnTo>
                    <a:lnTo>
                      <a:pt x="18" y="42"/>
                    </a:lnTo>
                    <a:close/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1" name="Lithua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357A1A8-6696-4F7B-98D5-FAE44F888D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3964" y="2494687"/>
                <a:ext cx="150258" cy="88571"/>
              </a:xfrm>
              <a:custGeom>
                <a:avLst/>
                <a:gdLst>
                  <a:gd name="T0" fmla="*/ 2147483647 w 342"/>
                  <a:gd name="T1" fmla="*/ 2147483647 h 198"/>
                  <a:gd name="T2" fmla="*/ 2147483647 w 342"/>
                  <a:gd name="T3" fmla="*/ 2147483647 h 198"/>
                  <a:gd name="T4" fmla="*/ 2147483647 w 342"/>
                  <a:gd name="T5" fmla="*/ 2147483647 h 198"/>
                  <a:gd name="T6" fmla="*/ 2147483647 w 342"/>
                  <a:gd name="T7" fmla="*/ 2147483647 h 198"/>
                  <a:gd name="T8" fmla="*/ 2147483647 w 342"/>
                  <a:gd name="T9" fmla="*/ 2147483647 h 198"/>
                  <a:gd name="T10" fmla="*/ 2147483647 w 342"/>
                  <a:gd name="T11" fmla="*/ 2147483647 h 198"/>
                  <a:gd name="T12" fmla="*/ 2147483647 w 342"/>
                  <a:gd name="T13" fmla="*/ 2147483647 h 198"/>
                  <a:gd name="T14" fmla="*/ 2147483647 w 342"/>
                  <a:gd name="T15" fmla="*/ 2147483647 h 198"/>
                  <a:gd name="T16" fmla="*/ 2147483647 w 342"/>
                  <a:gd name="T17" fmla="*/ 2147483647 h 198"/>
                  <a:gd name="T18" fmla="*/ 2147483647 w 342"/>
                  <a:gd name="T19" fmla="*/ 2147483647 h 198"/>
                  <a:gd name="T20" fmla="*/ 2147483647 w 342"/>
                  <a:gd name="T21" fmla="*/ 2147483647 h 198"/>
                  <a:gd name="T22" fmla="*/ 2147483647 w 342"/>
                  <a:gd name="T23" fmla="*/ 2147483647 h 198"/>
                  <a:gd name="T24" fmla="*/ 2147483647 w 342"/>
                  <a:gd name="T25" fmla="*/ 0 h 198"/>
                  <a:gd name="T26" fmla="*/ 2147483647 w 342"/>
                  <a:gd name="T27" fmla="*/ 2147483647 h 198"/>
                  <a:gd name="T28" fmla="*/ 0 w 342"/>
                  <a:gd name="T29" fmla="*/ 2147483647 h 198"/>
                  <a:gd name="T30" fmla="*/ 2147483647 w 342"/>
                  <a:gd name="T31" fmla="*/ 2147483647 h 198"/>
                  <a:gd name="T32" fmla="*/ 2147483647 w 342"/>
                  <a:gd name="T33" fmla="*/ 2147483647 h 198"/>
                  <a:gd name="T34" fmla="*/ 2147483647 w 342"/>
                  <a:gd name="T35" fmla="*/ 2147483647 h 198"/>
                  <a:gd name="T36" fmla="*/ 2147483647 w 342"/>
                  <a:gd name="T37" fmla="*/ 2147483647 h 198"/>
                  <a:gd name="T38" fmla="*/ 2147483647 w 342"/>
                  <a:gd name="T39" fmla="*/ 2147483647 h 198"/>
                  <a:gd name="T40" fmla="*/ 2147483647 w 342"/>
                  <a:gd name="T41" fmla="*/ 2147483647 h 198"/>
                  <a:gd name="T42" fmla="*/ 2147483647 w 342"/>
                  <a:gd name="T43" fmla="*/ 2147483647 h 198"/>
                  <a:gd name="T44" fmla="*/ 2147483647 w 342"/>
                  <a:gd name="T45" fmla="*/ 2147483647 h 198"/>
                  <a:gd name="T46" fmla="*/ 2147483647 w 342"/>
                  <a:gd name="T47" fmla="*/ 2147483647 h 198"/>
                  <a:gd name="T48" fmla="*/ 2147483647 w 342"/>
                  <a:gd name="T49" fmla="*/ 2147483647 h 198"/>
                  <a:gd name="T50" fmla="*/ 2147483647 w 342"/>
                  <a:gd name="T51" fmla="*/ 2147483647 h 198"/>
                  <a:gd name="T52" fmla="*/ 2147483647 w 342"/>
                  <a:gd name="T53" fmla="*/ 2147483647 h 198"/>
                  <a:gd name="T54" fmla="*/ 2147483647 w 342"/>
                  <a:gd name="T55" fmla="*/ 2147483647 h 198"/>
                  <a:gd name="T56" fmla="*/ 2147483647 w 342"/>
                  <a:gd name="T57" fmla="*/ 2147483647 h 198"/>
                  <a:gd name="T58" fmla="*/ 2147483647 w 342"/>
                  <a:gd name="T59" fmla="*/ 2147483647 h 198"/>
                  <a:gd name="T60" fmla="*/ 2147483647 w 342"/>
                  <a:gd name="T61" fmla="*/ 2147483647 h 198"/>
                  <a:gd name="T62" fmla="*/ 2147483647 w 342"/>
                  <a:gd name="T63" fmla="*/ 2147483647 h 198"/>
                  <a:gd name="T64" fmla="*/ 2147483647 w 342"/>
                  <a:gd name="T65" fmla="*/ 2147483647 h 198"/>
                  <a:gd name="T66" fmla="*/ 2147483647 w 342"/>
                  <a:gd name="T67" fmla="*/ 2147483647 h 198"/>
                  <a:gd name="T68" fmla="*/ 2147483647 w 342"/>
                  <a:gd name="T69" fmla="*/ 2147483647 h 198"/>
                  <a:gd name="T70" fmla="*/ 2147483647 w 342"/>
                  <a:gd name="T71" fmla="*/ 2147483647 h 198"/>
                  <a:gd name="T72" fmla="*/ 2147483647 w 342"/>
                  <a:gd name="T73" fmla="*/ 2147483647 h 198"/>
                  <a:gd name="T74" fmla="*/ 2147483647 w 342"/>
                  <a:gd name="T75" fmla="*/ 2147483647 h 198"/>
                  <a:gd name="T76" fmla="*/ 2147483647 w 342"/>
                  <a:gd name="T77" fmla="*/ 2147483647 h 198"/>
                  <a:gd name="T78" fmla="*/ 2147483647 w 342"/>
                  <a:gd name="T79" fmla="*/ 2147483647 h 198"/>
                  <a:gd name="T80" fmla="*/ 2147483647 w 342"/>
                  <a:gd name="T81" fmla="*/ 2147483647 h 198"/>
                  <a:gd name="T82" fmla="*/ 2147483647 w 342"/>
                  <a:gd name="T83" fmla="*/ 2147483647 h 198"/>
                  <a:gd name="T84" fmla="*/ 2147483647 w 342"/>
                  <a:gd name="T85" fmla="*/ 2147483647 h 19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42"/>
                  <a:gd name="T130" fmla="*/ 0 h 198"/>
                  <a:gd name="T131" fmla="*/ 342 w 342"/>
                  <a:gd name="T132" fmla="*/ 198 h 19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42" h="198">
                    <a:moveTo>
                      <a:pt x="330" y="60"/>
                    </a:moveTo>
                    <a:lnTo>
                      <a:pt x="312" y="54"/>
                    </a:lnTo>
                    <a:lnTo>
                      <a:pt x="294" y="42"/>
                    </a:lnTo>
                    <a:lnTo>
                      <a:pt x="282" y="30"/>
                    </a:lnTo>
                    <a:lnTo>
                      <a:pt x="276" y="30"/>
                    </a:lnTo>
                    <a:lnTo>
                      <a:pt x="264" y="24"/>
                    </a:lnTo>
                    <a:lnTo>
                      <a:pt x="234" y="24"/>
                    </a:lnTo>
                    <a:lnTo>
                      <a:pt x="228" y="12"/>
                    </a:lnTo>
                    <a:lnTo>
                      <a:pt x="222" y="6"/>
                    </a:lnTo>
                    <a:lnTo>
                      <a:pt x="210" y="6"/>
                    </a:lnTo>
                    <a:lnTo>
                      <a:pt x="198" y="18"/>
                    </a:lnTo>
                    <a:lnTo>
                      <a:pt x="180" y="18"/>
                    </a:lnTo>
                    <a:lnTo>
                      <a:pt x="174" y="12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14" y="12"/>
                    </a:lnTo>
                    <a:lnTo>
                      <a:pt x="108" y="12"/>
                    </a:lnTo>
                    <a:lnTo>
                      <a:pt x="102" y="6"/>
                    </a:lnTo>
                    <a:lnTo>
                      <a:pt x="96" y="6"/>
                    </a:lnTo>
                    <a:lnTo>
                      <a:pt x="90" y="0"/>
                    </a:lnTo>
                    <a:lnTo>
                      <a:pt x="72" y="0"/>
                    </a:lnTo>
                    <a:lnTo>
                      <a:pt x="60" y="12"/>
                    </a:lnTo>
                    <a:lnTo>
                      <a:pt x="18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60"/>
                    </a:lnTo>
                    <a:lnTo>
                      <a:pt x="12" y="84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30" y="96"/>
                    </a:lnTo>
                    <a:lnTo>
                      <a:pt x="30" y="102"/>
                    </a:lnTo>
                    <a:lnTo>
                      <a:pt x="42" y="102"/>
                    </a:lnTo>
                    <a:lnTo>
                      <a:pt x="48" y="108"/>
                    </a:lnTo>
                    <a:lnTo>
                      <a:pt x="72" y="108"/>
                    </a:lnTo>
                    <a:lnTo>
                      <a:pt x="84" y="102"/>
                    </a:lnTo>
                    <a:lnTo>
                      <a:pt x="102" y="102"/>
                    </a:lnTo>
                    <a:lnTo>
                      <a:pt x="108" y="114"/>
                    </a:lnTo>
                    <a:lnTo>
                      <a:pt x="108" y="132"/>
                    </a:lnTo>
                    <a:lnTo>
                      <a:pt x="96" y="144"/>
                    </a:lnTo>
                    <a:lnTo>
                      <a:pt x="102" y="162"/>
                    </a:lnTo>
                    <a:lnTo>
                      <a:pt x="120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6" y="174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68" y="192"/>
                    </a:lnTo>
                    <a:lnTo>
                      <a:pt x="180" y="192"/>
                    </a:lnTo>
                    <a:lnTo>
                      <a:pt x="192" y="186"/>
                    </a:lnTo>
                    <a:lnTo>
                      <a:pt x="198" y="186"/>
                    </a:lnTo>
                    <a:lnTo>
                      <a:pt x="204" y="192"/>
                    </a:lnTo>
                    <a:lnTo>
                      <a:pt x="204" y="198"/>
                    </a:lnTo>
                    <a:lnTo>
                      <a:pt x="234" y="198"/>
                    </a:lnTo>
                    <a:lnTo>
                      <a:pt x="234" y="180"/>
                    </a:lnTo>
                    <a:lnTo>
                      <a:pt x="246" y="192"/>
                    </a:lnTo>
                    <a:lnTo>
                      <a:pt x="252" y="180"/>
                    </a:lnTo>
                    <a:lnTo>
                      <a:pt x="258" y="174"/>
                    </a:lnTo>
                    <a:lnTo>
                      <a:pt x="270" y="168"/>
                    </a:lnTo>
                    <a:lnTo>
                      <a:pt x="288" y="168"/>
                    </a:lnTo>
                    <a:lnTo>
                      <a:pt x="288" y="174"/>
                    </a:lnTo>
                    <a:lnTo>
                      <a:pt x="282" y="180"/>
                    </a:lnTo>
                    <a:lnTo>
                      <a:pt x="294" y="180"/>
                    </a:lnTo>
                    <a:lnTo>
                      <a:pt x="294" y="174"/>
                    </a:lnTo>
                    <a:lnTo>
                      <a:pt x="288" y="168"/>
                    </a:lnTo>
                    <a:lnTo>
                      <a:pt x="288" y="156"/>
                    </a:lnTo>
                    <a:lnTo>
                      <a:pt x="282" y="150"/>
                    </a:lnTo>
                    <a:lnTo>
                      <a:pt x="282" y="144"/>
                    </a:lnTo>
                    <a:lnTo>
                      <a:pt x="294" y="144"/>
                    </a:lnTo>
                    <a:lnTo>
                      <a:pt x="294" y="138"/>
                    </a:lnTo>
                    <a:lnTo>
                      <a:pt x="288" y="126"/>
                    </a:lnTo>
                    <a:lnTo>
                      <a:pt x="288" y="120"/>
                    </a:lnTo>
                    <a:lnTo>
                      <a:pt x="294" y="114"/>
                    </a:lnTo>
                    <a:lnTo>
                      <a:pt x="312" y="114"/>
                    </a:lnTo>
                    <a:lnTo>
                      <a:pt x="306" y="96"/>
                    </a:lnTo>
                    <a:lnTo>
                      <a:pt x="312" y="96"/>
                    </a:lnTo>
                    <a:lnTo>
                      <a:pt x="318" y="102"/>
                    </a:lnTo>
                    <a:lnTo>
                      <a:pt x="336" y="102"/>
                    </a:lnTo>
                    <a:lnTo>
                      <a:pt x="342" y="96"/>
                    </a:lnTo>
                    <a:lnTo>
                      <a:pt x="324" y="78"/>
                    </a:lnTo>
                    <a:lnTo>
                      <a:pt x="324" y="72"/>
                    </a:lnTo>
                    <a:lnTo>
                      <a:pt x="330" y="66"/>
                    </a:lnTo>
                    <a:lnTo>
                      <a:pt x="330" y="6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2" name="Latv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EF26582-32E3-4D6D-A5CD-9781302661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50473" y="2439772"/>
                <a:ext cx="188695" cy="81485"/>
              </a:xfrm>
              <a:custGeom>
                <a:avLst/>
                <a:gdLst>
                  <a:gd name="T0" fmla="*/ 2147483647 w 426"/>
                  <a:gd name="T1" fmla="*/ 2147483647 h 180"/>
                  <a:gd name="T2" fmla="*/ 2147483647 w 426"/>
                  <a:gd name="T3" fmla="*/ 2147483647 h 180"/>
                  <a:gd name="T4" fmla="*/ 2147483647 w 426"/>
                  <a:gd name="T5" fmla="*/ 2147483647 h 180"/>
                  <a:gd name="T6" fmla="*/ 2147483647 w 426"/>
                  <a:gd name="T7" fmla="*/ 2147483647 h 180"/>
                  <a:gd name="T8" fmla="*/ 2147483647 w 426"/>
                  <a:gd name="T9" fmla="*/ 2147483647 h 180"/>
                  <a:gd name="T10" fmla="*/ 2147483647 w 426"/>
                  <a:gd name="T11" fmla="*/ 2147483647 h 180"/>
                  <a:gd name="T12" fmla="*/ 2147483647 w 426"/>
                  <a:gd name="T13" fmla="*/ 2147483647 h 180"/>
                  <a:gd name="T14" fmla="*/ 2147483647 w 426"/>
                  <a:gd name="T15" fmla="*/ 2147483647 h 180"/>
                  <a:gd name="T16" fmla="*/ 2147483647 w 426"/>
                  <a:gd name="T17" fmla="*/ 2147483647 h 180"/>
                  <a:gd name="T18" fmla="*/ 2147483647 w 426"/>
                  <a:gd name="T19" fmla="*/ 2147483647 h 180"/>
                  <a:gd name="T20" fmla="*/ 2147483647 w 426"/>
                  <a:gd name="T21" fmla="*/ 2147483647 h 180"/>
                  <a:gd name="T22" fmla="*/ 2147483647 w 426"/>
                  <a:gd name="T23" fmla="*/ 2147483647 h 180"/>
                  <a:gd name="T24" fmla="*/ 2147483647 w 426"/>
                  <a:gd name="T25" fmla="*/ 2147483647 h 180"/>
                  <a:gd name="T26" fmla="*/ 2147483647 w 426"/>
                  <a:gd name="T27" fmla="*/ 2147483647 h 180"/>
                  <a:gd name="T28" fmla="*/ 2147483647 w 426"/>
                  <a:gd name="T29" fmla="*/ 2147483647 h 180"/>
                  <a:gd name="T30" fmla="*/ 2147483647 w 426"/>
                  <a:gd name="T31" fmla="*/ 2147483647 h 180"/>
                  <a:gd name="T32" fmla="*/ 2147483647 w 426"/>
                  <a:gd name="T33" fmla="*/ 2147483647 h 180"/>
                  <a:gd name="T34" fmla="*/ 2147483647 w 426"/>
                  <a:gd name="T35" fmla="*/ 2147483647 h 180"/>
                  <a:gd name="T36" fmla="*/ 2147483647 w 426"/>
                  <a:gd name="T37" fmla="*/ 2147483647 h 180"/>
                  <a:gd name="T38" fmla="*/ 2147483647 w 426"/>
                  <a:gd name="T39" fmla="*/ 2147483647 h 180"/>
                  <a:gd name="T40" fmla="*/ 2147483647 w 426"/>
                  <a:gd name="T41" fmla="*/ 2147483647 h 180"/>
                  <a:gd name="T42" fmla="*/ 2147483647 w 426"/>
                  <a:gd name="T43" fmla="*/ 2147483647 h 180"/>
                  <a:gd name="T44" fmla="*/ 2147483647 w 426"/>
                  <a:gd name="T45" fmla="*/ 2147483647 h 180"/>
                  <a:gd name="T46" fmla="*/ 2147483647 w 426"/>
                  <a:gd name="T47" fmla="*/ 2147483647 h 180"/>
                  <a:gd name="T48" fmla="*/ 2147483647 w 426"/>
                  <a:gd name="T49" fmla="*/ 2147483647 h 180"/>
                  <a:gd name="T50" fmla="*/ 2147483647 w 426"/>
                  <a:gd name="T51" fmla="*/ 2147483647 h 180"/>
                  <a:gd name="T52" fmla="*/ 2147483647 w 426"/>
                  <a:gd name="T53" fmla="*/ 2147483647 h 180"/>
                  <a:gd name="T54" fmla="*/ 2147483647 w 426"/>
                  <a:gd name="T55" fmla="*/ 2147483647 h 180"/>
                  <a:gd name="T56" fmla="*/ 2147483647 w 426"/>
                  <a:gd name="T57" fmla="*/ 2147483647 h 180"/>
                  <a:gd name="T58" fmla="*/ 2147483647 w 426"/>
                  <a:gd name="T59" fmla="*/ 2147483647 h 180"/>
                  <a:gd name="T60" fmla="*/ 2147483647 w 426"/>
                  <a:gd name="T61" fmla="*/ 0 h 180"/>
                  <a:gd name="T62" fmla="*/ 2147483647 w 426"/>
                  <a:gd name="T63" fmla="*/ 2147483647 h 180"/>
                  <a:gd name="T64" fmla="*/ 2147483647 w 426"/>
                  <a:gd name="T65" fmla="*/ 2147483647 h 180"/>
                  <a:gd name="T66" fmla="*/ 2147483647 w 426"/>
                  <a:gd name="T67" fmla="*/ 2147483647 h 180"/>
                  <a:gd name="T68" fmla="*/ 2147483647 w 426"/>
                  <a:gd name="T69" fmla="*/ 2147483647 h 180"/>
                  <a:gd name="T70" fmla="*/ 2147483647 w 426"/>
                  <a:gd name="T71" fmla="*/ 2147483647 h 180"/>
                  <a:gd name="T72" fmla="*/ 2147483647 w 426"/>
                  <a:gd name="T73" fmla="*/ 2147483647 h 180"/>
                  <a:gd name="T74" fmla="*/ 2147483647 w 426"/>
                  <a:gd name="T75" fmla="*/ 2147483647 h 180"/>
                  <a:gd name="T76" fmla="*/ 2147483647 w 426"/>
                  <a:gd name="T77" fmla="*/ 2147483647 h 180"/>
                  <a:gd name="T78" fmla="*/ 2147483647 w 426"/>
                  <a:gd name="T79" fmla="*/ 2147483647 h 180"/>
                  <a:gd name="T80" fmla="*/ 2147483647 w 426"/>
                  <a:gd name="T81" fmla="*/ 2147483647 h 180"/>
                  <a:gd name="T82" fmla="*/ 2147483647 w 426"/>
                  <a:gd name="T83" fmla="*/ 2147483647 h 180"/>
                  <a:gd name="T84" fmla="*/ 0 w 426"/>
                  <a:gd name="T85" fmla="*/ 2147483647 h 180"/>
                  <a:gd name="T86" fmla="*/ 2147483647 w 426"/>
                  <a:gd name="T87" fmla="*/ 2147483647 h 18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26"/>
                  <a:gd name="T133" fmla="*/ 0 h 180"/>
                  <a:gd name="T134" fmla="*/ 426 w 426"/>
                  <a:gd name="T135" fmla="*/ 180 h 18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26" h="180">
                    <a:moveTo>
                      <a:pt x="6" y="144"/>
                    </a:moveTo>
                    <a:lnTo>
                      <a:pt x="6" y="138"/>
                    </a:lnTo>
                    <a:lnTo>
                      <a:pt x="12" y="138"/>
                    </a:lnTo>
                    <a:lnTo>
                      <a:pt x="24" y="132"/>
                    </a:lnTo>
                    <a:lnTo>
                      <a:pt x="66" y="132"/>
                    </a:lnTo>
                    <a:lnTo>
                      <a:pt x="78" y="120"/>
                    </a:lnTo>
                    <a:lnTo>
                      <a:pt x="96" y="120"/>
                    </a:lnTo>
                    <a:lnTo>
                      <a:pt x="102" y="126"/>
                    </a:lnTo>
                    <a:lnTo>
                      <a:pt x="108" y="126"/>
                    </a:lnTo>
                    <a:lnTo>
                      <a:pt x="114" y="132"/>
                    </a:lnTo>
                    <a:lnTo>
                      <a:pt x="120" y="132"/>
                    </a:lnTo>
                    <a:lnTo>
                      <a:pt x="126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56" y="138"/>
                    </a:lnTo>
                    <a:lnTo>
                      <a:pt x="162" y="138"/>
                    </a:lnTo>
                    <a:lnTo>
                      <a:pt x="168" y="132"/>
                    </a:lnTo>
                    <a:lnTo>
                      <a:pt x="180" y="132"/>
                    </a:lnTo>
                    <a:lnTo>
                      <a:pt x="186" y="138"/>
                    </a:lnTo>
                    <a:lnTo>
                      <a:pt x="204" y="138"/>
                    </a:lnTo>
                    <a:lnTo>
                      <a:pt x="216" y="126"/>
                    </a:lnTo>
                    <a:lnTo>
                      <a:pt x="228" y="126"/>
                    </a:lnTo>
                    <a:lnTo>
                      <a:pt x="234" y="132"/>
                    </a:lnTo>
                    <a:lnTo>
                      <a:pt x="240" y="144"/>
                    </a:lnTo>
                    <a:lnTo>
                      <a:pt x="270" y="144"/>
                    </a:lnTo>
                    <a:lnTo>
                      <a:pt x="282" y="150"/>
                    </a:lnTo>
                    <a:lnTo>
                      <a:pt x="288" y="150"/>
                    </a:lnTo>
                    <a:lnTo>
                      <a:pt x="300" y="162"/>
                    </a:lnTo>
                    <a:lnTo>
                      <a:pt x="318" y="174"/>
                    </a:lnTo>
                    <a:lnTo>
                      <a:pt x="336" y="180"/>
                    </a:lnTo>
                    <a:lnTo>
                      <a:pt x="360" y="168"/>
                    </a:lnTo>
                    <a:lnTo>
                      <a:pt x="378" y="168"/>
                    </a:lnTo>
                    <a:lnTo>
                      <a:pt x="384" y="174"/>
                    </a:lnTo>
                    <a:lnTo>
                      <a:pt x="390" y="168"/>
                    </a:lnTo>
                    <a:lnTo>
                      <a:pt x="396" y="168"/>
                    </a:lnTo>
                    <a:lnTo>
                      <a:pt x="402" y="162"/>
                    </a:lnTo>
                    <a:lnTo>
                      <a:pt x="408" y="150"/>
                    </a:lnTo>
                    <a:lnTo>
                      <a:pt x="414" y="144"/>
                    </a:lnTo>
                    <a:lnTo>
                      <a:pt x="420" y="150"/>
                    </a:lnTo>
                    <a:lnTo>
                      <a:pt x="426" y="150"/>
                    </a:lnTo>
                    <a:lnTo>
                      <a:pt x="426" y="126"/>
                    </a:lnTo>
                    <a:lnTo>
                      <a:pt x="414" y="114"/>
                    </a:lnTo>
                    <a:lnTo>
                      <a:pt x="408" y="102"/>
                    </a:lnTo>
                    <a:lnTo>
                      <a:pt x="402" y="96"/>
                    </a:lnTo>
                    <a:lnTo>
                      <a:pt x="378" y="90"/>
                    </a:lnTo>
                    <a:lnTo>
                      <a:pt x="384" y="72"/>
                    </a:lnTo>
                    <a:lnTo>
                      <a:pt x="402" y="72"/>
                    </a:lnTo>
                    <a:lnTo>
                      <a:pt x="402" y="66"/>
                    </a:lnTo>
                    <a:lnTo>
                      <a:pt x="396" y="60"/>
                    </a:lnTo>
                    <a:lnTo>
                      <a:pt x="384" y="54"/>
                    </a:lnTo>
                    <a:lnTo>
                      <a:pt x="372" y="42"/>
                    </a:lnTo>
                    <a:lnTo>
                      <a:pt x="354" y="42"/>
                    </a:lnTo>
                    <a:lnTo>
                      <a:pt x="348" y="36"/>
                    </a:lnTo>
                    <a:lnTo>
                      <a:pt x="330" y="36"/>
                    </a:lnTo>
                    <a:lnTo>
                      <a:pt x="324" y="42"/>
                    </a:lnTo>
                    <a:lnTo>
                      <a:pt x="306" y="42"/>
                    </a:lnTo>
                    <a:lnTo>
                      <a:pt x="288" y="24"/>
                    </a:lnTo>
                    <a:lnTo>
                      <a:pt x="276" y="18"/>
                    </a:lnTo>
                    <a:lnTo>
                      <a:pt x="270" y="12"/>
                    </a:lnTo>
                    <a:lnTo>
                      <a:pt x="246" y="0"/>
                    </a:lnTo>
                    <a:lnTo>
                      <a:pt x="216" y="0"/>
                    </a:lnTo>
                    <a:lnTo>
                      <a:pt x="186" y="12"/>
                    </a:lnTo>
                    <a:lnTo>
                      <a:pt x="174" y="12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6" y="42"/>
                    </a:lnTo>
                    <a:lnTo>
                      <a:pt x="186" y="60"/>
                    </a:lnTo>
                    <a:lnTo>
                      <a:pt x="192" y="66"/>
                    </a:lnTo>
                    <a:lnTo>
                      <a:pt x="186" y="78"/>
                    </a:lnTo>
                    <a:lnTo>
                      <a:pt x="156" y="78"/>
                    </a:lnTo>
                    <a:lnTo>
                      <a:pt x="138" y="72"/>
                    </a:lnTo>
                    <a:lnTo>
                      <a:pt x="126" y="72"/>
                    </a:lnTo>
                    <a:lnTo>
                      <a:pt x="114" y="54"/>
                    </a:lnTo>
                    <a:lnTo>
                      <a:pt x="84" y="24"/>
                    </a:lnTo>
                    <a:lnTo>
                      <a:pt x="72" y="24"/>
                    </a:lnTo>
                    <a:lnTo>
                      <a:pt x="60" y="30"/>
                    </a:lnTo>
                    <a:lnTo>
                      <a:pt x="48" y="30"/>
                    </a:lnTo>
                    <a:lnTo>
                      <a:pt x="36" y="36"/>
                    </a:lnTo>
                    <a:lnTo>
                      <a:pt x="30" y="42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18" y="78"/>
                    </a:lnTo>
                    <a:lnTo>
                      <a:pt x="6" y="84"/>
                    </a:lnTo>
                    <a:lnTo>
                      <a:pt x="0" y="96"/>
                    </a:lnTo>
                    <a:lnTo>
                      <a:pt x="0" y="120"/>
                    </a:lnTo>
                    <a:lnTo>
                      <a:pt x="6" y="132"/>
                    </a:lnTo>
                    <a:lnTo>
                      <a:pt x="6" y="150"/>
                    </a:lnTo>
                    <a:lnTo>
                      <a:pt x="6" y="144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3" name="Ire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9825D18-D4C7-4157-86D1-3C89573157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13578" y="2535428"/>
                <a:ext cx="124049" cy="132857"/>
              </a:xfrm>
              <a:custGeom>
                <a:avLst/>
                <a:gdLst>
                  <a:gd name="T0" fmla="*/ 2147483647 w 282"/>
                  <a:gd name="T1" fmla="*/ 2147483647 h 300"/>
                  <a:gd name="T2" fmla="*/ 2147483647 w 282"/>
                  <a:gd name="T3" fmla="*/ 2147483647 h 300"/>
                  <a:gd name="T4" fmla="*/ 2147483647 w 282"/>
                  <a:gd name="T5" fmla="*/ 2147483647 h 300"/>
                  <a:gd name="T6" fmla="*/ 2147483647 w 282"/>
                  <a:gd name="T7" fmla="*/ 2147483647 h 300"/>
                  <a:gd name="T8" fmla="*/ 2147483647 w 282"/>
                  <a:gd name="T9" fmla="*/ 2147483647 h 300"/>
                  <a:gd name="T10" fmla="*/ 2147483647 w 282"/>
                  <a:gd name="T11" fmla="*/ 2147483647 h 300"/>
                  <a:gd name="T12" fmla="*/ 2147483647 w 282"/>
                  <a:gd name="T13" fmla="*/ 2147483647 h 300"/>
                  <a:gd name="T14" fmla="*/ 2147483647 w 282"/>
                  <a:gd name="T15" fmla="*/ 2147483647 h 300"/>
                  <a:gd name="T16" fmla="*/ 2147483647 w 282"/>
                  <a:gd name="T17" fmla="*/ 2147483647 h 300"/>
                  <a:gd name="T18" fmla="*/ 2147483647 w 282"/>
                  <a:gd name="T19" fmla="*/ 2147483647 h 300"/>
                  <a:gd name="T20" fmla="*/ 2147483647 w 282"/>
                  <a:gd name="T21" fmla="*/ 2147483647 h 300"/>
                  <a:gd name="T22" fmla="*/ 2147483647 w 282"/>
                  <a:gd name="T23" fmla="*/ 2147483647 h 300"/>
                  <a:gd name="T24" fmla="*/ 2147483647 w 282"/>
                  <a:gd name="T25" fmla="*/ 0 h 300"/>
                  <a:gd name="T26" fmla="*/ 2147483647 w 282"/>
                  <a:gd name="T27" fmla="*/ 2147483647 h 300"/>
                  <a:gd name="T28" fmla="*/ 2147483647 w 282"/>
                  <a:gd name="T29" fmla="*/ 2147483647 h 300"/>
                  <a:gd name="T30" fmla="*/ 2147483647 w 282"/>
                  <a:gd name="T31" fmla="*/ 2147483647 h 300"/>
                  <a:gd name="T32" fmla="*/ 2147483647 w 282"/>
                  <a:gd name="T33" fmla="*/ 2147483647 h 300"/>
                  <a:gd name="T34" fmla="*/ 2147483647 w 282"/>
                  <a:gd name="T35" fmla="*/ 2147483647 h 300"/>
                  <a:gd name="T36" fmla="*/ 2147483647 w 282"/>
                  <a:gd name="T37" fmla="*/ 2147483647 h 300"/>
                  <a:gd name="T38" fmla="*/ 2147483647 w 282"/>
                  <a:gd name="T39" fmla="*/ 2147483647 h 300"/>
                  <a:gd name="T40" fmla="*/ 2147483647 w 282"/>
                  <a:gd name="T41" fmla="*/ 2147483647 h 300"/>
                  <a:gd name="T42" fmla="*/ 2147483647 w 282"/>
                  <a:gd name="T43" fmla="*/ 2147483647 h 300"/>
                  <a:gd name="T44" fmla="*/ 2147483647 w 282"/>
                  <a:gd name="T45" fmla="*/ 2147483647 h 300"/>
                  <a:gd name="T46" fmla="*/ 2147483647 w 282"/>
                  <a:gd name="T47" fmla="*/ 2147483647 h 300"/>
                  <a:gd name="T48" fmla="*/ 2147483647 w 282"/>
                  <a:gd name="T49" fmla="*/ 2147483647 h 300"/>
                  <a:gd name="T50" fmla="*/ 2147483647 w 282"/>
                  <a:gd name="T51" fmla="*/ 2147483647 h 300"/>
                  <a:gd name="T52" fmla="*/ 2147483647 w 282"/>
                  <a:gd name="T53" fmla="*/ 2147483647 h 300"/>
                  <a:gd name="T54" fmla="*/ 2147483647 w 282"/>
                  <a:gd name="T55" fmla="*/ 2147483647 h 300"/>
                  <a:gd name="T56" fmla="*/ 2147483647 w 282"/>
                  <a:gd name="T57" fmla="*/ 2147483647 h 300"/>
                  <a:gd name="T58" fmla="*/ 2147483647 w 282"/>
                  <a:gd name="T59" fmla="*/ 2147483647 h 300"/>
                  <a:gd name="T60" fmla="*/ 2147483647 w 282"/>
                  <a:gd name="T61" fmla="*/ 2147483647 h 300"/>
                  <a:gd name="T62" fmla="*/ 2147483647 w 282"/>
                  <a:gd name="T63" fmla="*/ 2147483647 h 300"/>
                  <a:gd name="T64" fmla="*/ 2147483647 w 282"/>
                  <a:gd name="T65" fmla="*/ 2147483647 h 300"/>
                  <a:gd name="T66" fmla="*/ 2147483647 w 282"/>
                  <a:gd name="T67" fmla="*/ 2147483647 h 300"/>
                  <a:gd name="T68" fmla="*/ 2147483647 w 282"/>
                  <a:gd name="T69" fmla="*/ 2147483647 h 300"/>
                  <a:gd name="T70" fmla="*/ 2147483647 w 282"/>
                  <a:gd name="T71" fmla="*/ 2147483647 h 300"/>
                  <a:gd name="T72" fmla="*/ 2147483647 w 282"/>
                  <a:gd name="T73" fmla="*/ 2147483647 h 300"/>
                  <a:gd name="T74" fmla="*/ 2147483647 w 282"/>
                  <a:gd name="T75" fmla="*/ 2147483647 h 300"/>
                  <a:gd name="T76" fmla="*/ 2147483647 w 282"/>
                  <a:gd name="T77" fmla="*/ 2147483647 h 300"/>
                  <a:gd name="T78" fmla="*/ 2147483647 w 282"/>
                  <a:gd name="T79" fmla="*/ 2147483647 h 300"/>
                  <a:gd name="T80" fmla="*/ 0 w 282"/>
                  <a:gd name="T81" fmla="*/ 2147483647 h 300"/>
                  <a:gd name="T82" fmla="*/ 2147483647 w 282"/>
                  <a:gd name="T83" fmla="*/ 2147483647 h 300"/>
                  <a:gd name="T84" fmla="*/ 2147483647 w 282"/>
                  <a:gd name="T85" fmla="*/ 2147483647 h 300"/>
                  <a:gd name="T86" fmla="*/ 2147483647 w 282"/>
                  <a:gd name="T87" fmla="*/ 2147483647 h 300"/>
                  <a:gd name="T88" fmla="*/ 2147483647 w 282"/>
                  <a:gd name="T89" fmla="*/ 2147483647 h 300"/>
                  <a:gd name="T90" fmla="*/ 2147483647 w 282"/>
                  <a:gd name="T91" fmla="*/ 2147483647 h 300"/>
                  <a:gd name="T92" fmla="*/ 2147483647 w 282"/>
                  <a:gd name="T93" fmla="*/ 2147483647 h 300"/>
                  <a:gd name="T94" fmla="*/ 2147483647 w 282"/>
                  <a:gd name="T95" fmla="*/ 2147483647 h 300"/>
                  <a:gd name="T96" fmla="*/ 2147483647 w 282"/>
                  <a:gd name="T97" fmla="*/ 2147483647 h 300"/>
                  <a:gd name="T98" fmla="*/ 2147483647 w 282"/>
                  <a:gd name="T99" fmla="*/ 2147483647 h 300"/>
                  <a:gd name="T100" fmla="*/ 2147483647 w 282"/>
                  <a:gd name="T101" fmla="*/ 2147483647 h 300"/>
                  <a:gd name="T102" fmla="*/ 2147483647 w 282"/>
                  <a:gd name="T103" fmla="*/ 2147483647 h 300"/>
                  <a:gd name="T104" fmla="*/ 2147483647 w 282"/>
                  <a:gd name="T105" fmla="*/ 2147483647 h 300"/>
                  <a:gd name="T106" fmla="*/ 2147483647 w 282"/>
                  <a:gd name="T107" fmla="*/ 2147483647 h 300"/>
                  <a:gd name="T108" fmla="*/ 2147483647 w 282"/>
                  <a:gd name="T109" fmla="*/ 2147483647 h 300"/>
                  <a:gd name="T110" fmla="*/ 2147483647 w 282"/>
                  <a:gd name="T111" fmla="*/ 2147483647 h 30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82"/>
                  <a:gd name="T169" fmla="*/ 0 h 300"/>
                  <a:gd name="T170" fmla="*/ 282 w 282"/>
                  <a:gd name="T171" fmla="*/ 300 h 30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82" h="300">
                    <a:moveTo>
                      <a:pt x="276" y="156"/>
                    </a:moveTo>
                    <a:lnTo>
                      <a:pt x="276" y="144"/>
                    </a:lnTo>
                    <a:lnTo>
                      <a:pt x="270" y="132"/>
                    </a:lnTo>
                    <a:lnTo>
                      <a:pt x="264" y="126"/>
                    </a:lnTo>
                    <a:lnTo>
                      <a:pt x="264" y="114"/>
                    </a:lnTo>
                    <a:lnTo>
                      <a:pt x="258" y="108"/>
                    </a:lnTo>
                    <a:lnTo>
                      <a:pt x="258" y="102"/>
                    </a:lnTo>
                    <a:lnTo>
                      <a:pt x="276" y="102"/>
                    </a:lnTo>
                    <a:lnTo>
                      <a:pt x="282" y="96"/>
                    </a:lnTo>
                    <a:lnTo>
                      <a:pt x="246" y="90"/>
                    </a:lnTo>
                    <a:lnTo>
                      <a:pt x="228" y="66"/>
                    </a:lnTo>
                    <a:lnTo>
                      <a:pt x="204" y="90"/>
                    </a:lnTo>
                    <a:lnTo>
                      <a:pt x="192" y="90"/>
                    </a:lnTo>
                    <a:lnTo>
                      <a:pt x="168" y="78"/>
                    </a:lnTo>
                    <a:lnTo>
                      <a:pt x="162" y="72"/>
                    </a:lnTo>
                    <a:lnTo>
                      <a:pt x="174" y="60"/>
                    </a:lnTo>
                    <a:lnTo>
                      <a:pt x="180" y="60"/>
                    </a:lnTo>
                    <a:lnTo>
                      <a:pt x="186" y="54"/>
                    </a:lnTo>
                    <a:lnTo>
                      <a:pt x="192" y="54"/>
                    </a:lnTo>
                    <a:lnTo>
                      <a:pt x="192" y="42"/>
                    </a:lnTo>
                    <a:lnTo>
                      <a:pt x="234" y="18"/>
                    </a:lnTo>
                    <a:lnTo>
                      <a:pt x="240" y="12"/>
                    </a:lnTo>
                    <a:lnTo>
                      <a:pt x="240" y="6"/>
                    </a:lnTo>
                    <a:lnTo>
                      <a:pt x="234" y="6"/>
                    </a:lnTo>
                    <a:lnTo>
                      <a:pt x="228" y="0"/>
                    </a:lnTo>
                    <a:lnTo>
                      <a:pt x="222" y="0"/>
                    </a:lnTo>
                    <a:lnTo>
                      <a:pt x="210" y="6"/>
                    </a:lnTo>
                    <a:lnTo>
                      <a:pt x="204" y="18"/>
                    </a:lnTo>
                    <a:lnTo>
                      <a:pt x="198" y="6"/>
                    </a:lnTo>
                    <a:lnTo>
                      <a:pt x="174" y="6"/>
                    </a:lnTo>
                    <a:lnTo>
                      <a:pt x="162" y="12"/>
                    </a:lnTo>
                    <a:lnTo>
                      <a:pt x="156" y="12"/>
                    </a:lnTo>
                    <a:lnTo>
                      <a:pt x="150" y="18"/>
                    </a:lnTo>
                    <a:lnTo>
                      <a:pt x="150" y="30"/>
                    </a:lnTo>
                    <a:lnTo>
                      <a:pt x="144" y="36"/>
                    </a:lnTo>
                    <a:lnTo>
                      <a:pt x="144" y="42"/>
                    </a:lnTo>
                    <a:lnTo>
                      <a:pt x="126" y="42"/>
                    </a:lnTo>
                    <a:lnTo>
                      <a:pt x="120" y="48"/>
                    </a:lnTo>
                    <a:lnTo>
                      <a:pt x="120" y="54"/>
                    </a:lnTo>
                    <a:lnTo>
                      <a:pt x="138" y="54"/>
                    </a:lnTo>
                    <a:lnTo>
                      <a:pt x="144" y="60"/>
                    </a:lnTo>
                    <a:lnTo>
                      <a:pt x="150" y="60"/>
                    </a:lnTo>
                    <a:lnTo>
                      <a:pt x="150" y="66"/>
                    </a:lnTo>
                    <a:lnTo>
                      <a:pt x="144" y="72"/>
                    </a:lnTo>
                    <a:lnTo>
                      <a:pt x="132" y="72"/>
                    </a:lnTo>
                    <a:lnTo>
                      <a:pt x="132" y="78"/>
                    </a:lnTo>
                    <a:lnTo>
                      <a:pt x="126" y="84"/>
                    </a:lnTo>
                    <a:lnTo>
                      <a:pt x="102" y="84"/>
                    </a:lnTo>
                    <a:lnTo>
                      <a:pt x="102" y="90"/>
                    </a:lnTo>
                    <a:lnTo>
                      <a:pt x="90" y="78"/>
                    </a:lnTo>
                    <a:lnTo>
                      <a:pt x="42" y="78"/>
                    </a:lnTo>
                    <a:lnTo>
                      <a:pt x="42" y="102"/>
                    </a:lnTo>
                    <a:lnTo>
                      <a:pt x="54" y="102"/>
                    </a:lnTo>
                    <a:lnTo>
                      <a:pt x="54" y="108"/>
                    </a:lnTo>
                    <a:lnTo>
                      <a:pt x="60" y="114"/>
                    </a:lnTo>
                    <a:lnTo>
                      <a:pt x="42" y="126"/>
                    </a:lnTo>
                    <a:lnTo>
                      <a:pt x="36" y="126"/>
                    </a:lnTo>
                    <a:lnTo>
                      <a:pt x="30" y="132"/>
                    </a:lnTo>
                    <a:lnTo>
                      <a:pt x="30" y="138"/>
                    </a:lnTo>
                    <a:lnTo>
                      <a:pt x="42" y="150"/>
                    </a:lnTo>
                    <a:lnTo>
                      <a:pt x="54" y="156"/>
                    </a:lnTo>
                    <a:lnTo>
                      <a:pt x="60" y="162"/>
                    </a:lnTo>
                    <a:lnTo>
                      <a:pt x="72" y="162"/>
                    </a:lnTo>
                    <a:lnTo>
                      <a:pt x="78" y="156"/>
                    </a:lnTo>
                    <a:lnTo>
                      <a:pt x="96" y="156"/>
                    </a:lnTo>
                    <a:lnTo>
                      <a:pt x="96" y="168"/>
                    </a:lnTo>
                    <a:lnTo>
                      <a:pt x="90" y="174"/>
                    </a:lnTo>
                    <a:lnTo>
                      <a:pt x="72" y="174"/>
                    </a:lnTo>
                    <a:lnTo>
                      <a:pt x="72" y="192"/>
                    </a:lnTo>
                    <a:lnTo>
                      <a:pt x="54" y="192"/>
                    </a:lnTo>
                    <a:lnTo>
                      <a:pt x="48" y="198"/>
                    </a:lnTo>
                    <a:lnTo>
                      <a:pt x="48" y="210"/>
                    </a:lnTo>
                    <a:lnTo>
                      <a:pt x="42" y="222"/>
                    </a:lnTo>
                    <a:lnTo>
                      <a:pt x="42" y="234"/>
                    </a:lnTo>
                    <a:lnTo>
                      <a:pt x="18" y="234"/>
                    </a:lnTo>
                    <a:lnTo>
                      <a:pt x="12" y="240"/>
                    </a:lnTo>
                    <a:lnTo>
                      <a:pt x="6" y="240"/>
                    </a:lnTo>
                    <a:lnTo>
                      <a:pt x="6" y="246"/>
                    </a:lnTo>
                    <a:lnTo>
                      <a:pt x="12" y="246"/>
                    </a:lnTo>
                    <a:lnTo>
                      <a:pt x="18" y="252"/>
                    </a:lnTo>
                    <a:lnTo>
                      <a:pt x="6" y="252"/>
                    </a:lnTo>
                    <a:lnTo>
                      <a:pt x="0" y="258"/>
                    </a:lnTo>
                    <a:lnTo>
                      <a:pt x="0" y="270"/>
                    </a:lnTo>
                    <a:lnTo>
                      <a:pt x="42" y="270"/>
                    </a:lnTo>
                    <a:lnTo>
                      <a:pt x="24" y="288"/>
                    </a:lnTo>
                    <a:lnTo>
                      <a:pt x="30" y="282"/>
                    </a:lnTo>
                    <a:lnTo>
                      <a:pt x="48" y="282"/>
                    </a:lnTo>
                    <a:lnTo>
                      <a:pt x="48" y="288"/>
                    </a:lnTo>
                    <a:lnTo>
                      <a:pt x="42" y="288"/>
                    </a:lnTo>
                    <a:lnTo>
                      <a:pt x="36" y="294"/>
                    </a:lnTo>
                    <a:lnTo>
                      <a:pt x="30" y="294"/>
                    </a:lnTo>
                    <a:lnTo>
                      <a:pt x="36" y="300"/>
                    </a:lnTo>
                    <a:lnTo>
                      <a:pt x="60" y="300"/>
                    </a:lnTo>
                    <a:lnTo>
                      <a:pt x="96" y="288"/>
                    </a:lnTo>
                    <a:lnTo>
                      <a:pt x="108" y="282"/>
                    </a:lnTo>
                    <a:lnTo>
                      <a:pt x="120" y="270"/>
                    </a:lnTo>
                    <a:lnTo>
                      <a:pt x="120" y="264"/>
                    </a:lnTo>
                    <a:lnTo>
                      <a:pt x="132" y="270"/>
                    </a:lnTo>
                    <a:lnTo>
                      <a:pt x="138" y="270"/>
                    </a:lnTo>
                    <a:lnTo>
                      <a:pt x="150" y="264"/>
                    </a:lnTo>
                    <a:lnTo>
                      <a:pt x="162" y="252"/>
                    </a:lnTo>
                    <a:lnTo>
                      <a:pt x="180" y="246"/>
                    </a:lnTo>
                    <a:lnTo>
                      <a:pt x="204" y="246"/>
                    </a:lnTo>
                    <a:lnTo>
                      <a:pt x="210" y="240"/>
                    </a:lnTo>
                    <a:lnTo>
                      <a:pt x="252" y="240"/>
                    </a:lnTo>
                    <a:lnTo>
                      <a:pt x="246" y="222"/>
                    </a:lnTo>
                    <a:lnTo>
                      <a:pt x="264" y="222"/>
                    </a:lnTo>
                    <a:lnTo>
                      <a:pt x="264" y="198"/>
                    </a:lnTo>
                    <a:lnTo>
                      <a:pt x="270" y="192"/>
                    </a:lnTo>
                    <a:lnTo>
                      <a:pt x="270" y="180"/>
                    </a:lnTo>
                    <a:lnTo>
                      <a:pt x="276" y="168"/>
                    </a:lnTo>
                    <a:lnTo>
                      <a:pt x="276" y="156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4" name="Ice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FB618A3-B040-484E-8A93-71DD091A8A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46257" y="2165202"/>
                <a:ext cx="253339" cy="99198"/>
              </a:xfrm>
              <a:custGeom>
                <a:avLst/>
                <a:gdLst>
                  <a:gd name="T0" fmla="*/ 2147483647 w 570"/>
                  <a:gd name="T1" fmla="*/ 2147483647 h 222"/>
                  <a:gd name="T2" fmla="*/ 2147483647 w 570"/>
                  <a:gd name="T3" fmla="*/ 2147483647 h 222"/>
                  <a:gd name="T4" fmla="*/ 2147483647 w 570"/>
                  <a:gd name="T5" fmla="*/ 2147483647 h 222"/>
                  <a:gd name="T6" fmla="*/ 2147483647 w 570"/>
                  <a:gd name="T7" fmla="*/ 2147483647 h 222"/>
                  <a:gd name="T8" fmla="*/ 2147483647 w 570"/>
                  <a:gd name="T9" fmla="*/ 2147483647 h 222"/>
                  <a:gd name="T10" fmla="*/ 2147483647 w 570"/>
                  <a:gd name="T11" fmla="*/ 2147483647 h 222"/>
                  <a:gd name="T12" fmla="*/ 2147483647 w 570"/>
                  <a:gd name="T13" fmla="*/ 2147483647 h 222"/>
                  <a:gd name="T14" fmla="*/ 2147483647 w 570"/>
                  <a:gd name="T15" fmla="*/ 2147483647 h 222"/>
                  <a:gd name="T16" fmla="*/ 2147483647 w 570"/>
                  <a:gd name="T17" fmla="*/ 2147483647 h 222"/>
                  <a:gd name="T18" fmla="*/ 2147483647 w 570"/>
                  <a:gd name="T19" fmla="*/ 2147483647 h 222"/>
                  <a:gd name="T20" fmla="*/ 2147483647 w 570"/>
                  <a:gd name="T21" fmla="*/ 2147483647 h 222"/>
                  <a:gd name="T22" fmla="*/ 2147483647 w 570"/>
                  <a:gd name="T23" fmla="*/ 2147483647 h 222"/>
                  <a:gd name="T24" fmla="*/ 2147483647 w 570"/>
                  <a:gd name="T25" fmla="*/ 2147483647 h 222"/>
                  <a:gd name="T26" fmla="*/ 2147483647 w 570"/>
                  <a:gd name="T27" fmla="*/ 2147483647 h 222"/>
                  <a:gd name="T28" fmla="*/ 2147483647 w 570"/>
                  <a:gd name="T29" fmla="*/ 2147483647 h 222"/>
                  <a:gd name="T30" fmla="*/ 2147483647 w 570"/>
                  <a:gd name="T31" fmla="*/ 2147483647 h 222"/>
                  <a:gd name="T32" fmla="*/ 2147483647 w 570"/>
                  <a:gd name="T33" fmla="*/ 2147483647 h 222"/>
                  <a:gd name="T34" fmla="*/ 2147483647 w 570"/>
                  <a:gd name="T35" fmla="*/ 2147483647 h 222"/>
                  <a:gd name="T36" fmla="*/ 2147483647 w 570"/>
                  <a:gd name="T37" fmla="*/ 2147483647 h 222"/>
                  <a:gd name="T38" fmla="*/ 2147483647 w 570"/>
                  <a:gd name="T39" fmla="*/ 2147483647 h 222"/>
                  <a:gd name="T40" fmla="*/ 2147483647 w 570"/>
                  <a:gd name="T41" fmla="*/ 2147483647 h 222"/>
                  <a:gd name="T42" fmla="*/ 2147483647 w 570"/>
                  <a:gd name="T43" fmla="*/ 2147483647 h 222"/>
                  <a:gd name="T44" fmla="*/ 2147483647 w 570"/>
                  <a:gd name="T45" fmla="*/ 2147483647 h 222"/>
                  <a:gd name="T46" fmla="*/ 2147483647 w 570"/>
                  <a:gd name="T47" fmla="*/ 2147483647 h 222"/>
                  <a:gd name="T48" fmla="*/ 2147483647 w 570"/>
                  <a:gd name="T49" fmla="*/ 2147483647 h 222"/>
                  <a:gd name="T50" fmla="*/ 2147483647 w 570"/>
                  <a:gd name="T51" fmla="*/ 2147483647 h 222"/>
                  <a:gd name="T52" fmla="*/ 2147483647 w 570"/>
                  <a:gd name="T53" fmla="*/ 2147483647 h 222"/>
                  <a:gd name="T54" fmla="*/ 2147483647 w 570"/>
                  <a:gd name="T55" fmla="*/ 2147483647 h 222"/>
                  <a:gd name="T56" fmla="*/ 2147483647 w 570"/>
                  <a:gd name="T57" fmla="*/ 2147483647 h 222"/>
                  <a:gd name="T58" fmla="*/ 2147483647 w 570"/>
                  <a:gd name="T59" fmla="*/ 2147483647 h 222"/>
                  <a:gd name="T60" fmla="*/ 2147483647 w 570"/>
                  <a:gd name="T61" fmla="*/ 2147483647 h 222"/>
                  <a:gd name="T62" fmla="*/ 2147483647 w 570"/>
                  <a:gd name="T63" fmla="*/ 2147483647 h 222"/>
                  <a:gd name="T64" fmla="*/ 2147483647 w 570"/>
                  <a:gd name="T65" fmla="*/ 2147483647 h 222"/>
                  <a:gd name="T66" fmla="*/ 0 w 570"/>
                  <a:gd name="T67" fmla="*/ 2147483647 h 222"/>
                  <a:gd name="T68" fmla="*/ 2147483647 w 570"/>
                  <a:gd name="T69" fmla="*/ 2147483647 h 222"/>
                  <a:gd name="T70" fmla="*/ 2147483647 w 570"/>
                  <a:gd name="T71" fmla="*/ 2147483647 h 222"/>
                  <a:gd name="T72" fmla="*/ 2147483647 w 570"/>
                  <a:gd name="T73" fmla="*/ 2147483647 h 222"/>
                  <a:gd name="T74" fmla="*/ 2147483647 w 570"/>
                  <a:gd name="T75" fmla="*/ 2147483647 h 222"/>
                  <a:gd name="T76" fmla="*/ 2147483647 w 570"/>
                  <a:gd name="T77" fmla="*/ 2147483647 h 222"/>
                  <a:gd name="T78" fmla="*/ 2147483647 w 570"/>
                  <a:gd name="T79" fmla="*/ 2147483647 h 222"/>
                  <a:gd name="T80" fmla="*/ 2147483647 w 570"/>
                  <a:gd name="T81" fmla="*/ 2147483647 h 222"/>
                  <a:gd name="T82" fmla="*/ 2147483647 w 570"/>
                  <a:gd name="T83" fmla="*/ 2147483647 h 222"/>
                  <a:gd name="T84" fmla="*/ 2147483647 w 570"/>
                  <a:gd name="T85" fmla="*/ 2147483647 h 222"/>
                  <a:gd name="T86" fmla="*/ 2147483647 w 570"/>
                  <a:gd name="T87" fmla="*/ 2147483647 h 222"/>
                  <a:gd name="T88" fmla="*/ 2147483647 w 570"/>
                  <a:gd name="T89" fmla="*/ 2147483647 h 222"/>
                  <a:gd name="T90" fmla="*/ 2147483647 w 570"/>
                  <a:gd name="T91" fmla="*/ 2147483647 h 222"/>
                  <a:gd name="T92" fmla="*/ 2147483647 w 570"/>
                  <a:gd name="T93" fmla="*/ 2147483647 h 22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570"/>
                  <a:gd name="T142" fmla="*/ 0 h 222"/>
                  <a:gd name="T143" fmla="*/ 570 w 570"/>
                  <a:gd name="T144" fmla="*/ 222 h 22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570" h="222">
                    <a:moveTo>
                      <a:pt x="252" y="222"/>
                    </a:moveTo>
                    <a:lnTo>
                      <a:pt x="270" y="216"/>
                    </a:lnTo>
                    <a:lnTo>
                      <a:pt x="306" y="216"/>
                    </a:lnTo>
                    <a:lnTo>
                      <a:pt x="312" y="204"/>
                    </a:lnTo>
                    <a:lnTo>
                      <a:pt x="312" y="192"/>
                    </a:lnTo>
                    <a:lnTo>
                      <a:pt x="324" y="198"/>
                    </a:lnTo>
                    <a:lnTo>
                      <a:pt x="330" y="198"/>
                    </a:lnTo>
                    <a:lnTo>
                      <a:pt x="342" y="204"/>
                    </a:lnTo>
                    <a:lnTo>
                      <a:pt x="348" y="204"/>
                    </a:lnTo>
                    <a:lnTo>
                      <a:pt x="360" y="192"/>
                    </a:lnTo>
                    <a:lnTo>
                      <a:pt x="360" y="186"/>
                    </a:lnTo>
                    <a:lnTo>
                      <a:pt x="372" y="186"/>
                    </a:lnTo>
                    <a:lnTo>
                      <a:pt x="378" y="192"/>
                    </a:lnTo>
                    <a:lnTo>
                      <a:pt x="390" y="192"/>
                    </a:lnTo>
                    <a:lnTo>
                      <a:pt x="414" y="180"/>
                    </a:lnTo>
                    <a:lnTo>
                      <a:pt x="432" y="168"/>
                    </a:lnTo>
                    <a:lnTo>
                      <a:pt x="456" y="156"/>
                    </a:lnTo>
                    <a:lnTo>
                      <a:pt x="474" y="156"/>
                    </a:lnTo>
                    <a:lnTo>
                      <a:pt x="480" y="162"/>
                    </a:lnTo>
                    <a:lnTo>
                      <a:pt x="492" y="162"/>
                    </a:lnTo>
                    <a:lnTo>
                      <a:pt x="504" y="156"/>
                    </a:lnTo>
                    <a:lnTo>
                      <a:pt x="510" y="144"/>
                    </a:lnTo>
                    <a:lnTo>
                      <a:pt x="510" y="138"/>
                    </a:lnTo>
                    <a:lnTo>
                      <a:pt x="516" y="126"/>
                    </a:lnTo>
                    <a:lnTo>
                      <a:pt x="528" y="126"/>
                    </a:lnTo>
                    <a:lnTo>
                      <a:pt x="552" y="114"/>
                    </a:lnTo>
                    <a:lnTo>
                      <a:pt x="564" y="102"/>
                    </a:lnTo>
                    <a:lnTo>
                      <a:pt x="570" y="102"/>
                    </a:lnTo>
                    <a:lnTo>
                      <a:pt x="552" y="102"/>
                    </a:lnTo>
                    <a:lnTo>
                      <a:pt x="570" y="84"/>
                    </a:lnTo>
                    <a:lnTo>
                      <a:pt x="570" y="78"/>
                    </a:lnTo>
                    <a:lnTo>
                      <a:pt x="564" y="72"/>
                    </a:lnTo>
                    <a:lnTo>
                      <a:pt x="552" y="66"/>
                    </a:lnTo>
                    <a:lnTo>
                      <a:pt x="540" y="66"/>
                    </a:lnTo>
                    <a:lnTo>
                      <a:pt x="534" y="72"/>
                    </a:lnTo>
                    <a:lnTo>
                      <a:pt x="528" y="72"/>
                    </a:lnTo>
                    <a:lnTo>
                      <a:pt x="534" y="60"/>
                    </a:lnTo>
                    <a:lnTo>
                      <a:pt x="504" y="60"/>
                    </a:lnTo>
                    <a:lnTo>
                      <a:pt x="522" y="36"/>
                    </a:lnTo>
                    <a:lnTo>
                      <a:pt x="504" y="36"/>
                    </a:lnTo>
                    <a:lnTo>
                      <a:pt x="510" y="18"/>
                    </a:lnTo>
                    <a:lnTo>
                      <a:pt x="480" y="24"/>
                    </a:lnTo>
                    <a:lnTo>
                      <a:pt x="474" y="18"/>
                    </a:lnTo>
                    <a:lnTo>
                      <a:pt x="462" y="12"/>
                    </a:lnTo>
                    <a:lnTo>
                      <a:pt x="456" y="6"/>
                    </a:lnTo>
                    <a:lnTo>
                      <a:pt x="444" y="0"/>
                    </a:lnTo>
                    <a:lnTo>
                      <a:pt x="432" y="0"/>
                    </a:lnTo>
                    <a:lnTo>
                      <a:pt x="432" y="24"/>
                    </a:lnTo>
                    <a:lnTo>
                      <a:pt x="414" y="30"/>
                    </a:lnTo>
                    <a:lnTo>
                      <a:pt x="408" y="30"/>
                    </a:lnTo>
                    <a:lnTo>
                      <a:pt x="402" y="24"/>
                    </a:lnTo>
                    <a:lnTo>
                      <a:pt x="378" y="24"/>
                    </a:lnTo>
                    <a:lnTo>
                      <a:pt x="372" y="30"/>
                    </a:lnTo>
                    <a:lnTo>
                      <a:pt x="366" y="42"/>
                    </a:lnTo>
                    <a:lnTo>
                      <a:pt x="360" y="36"/>
                    </a:lnTo>
                    <a:lnTo>
                      <a:pt x="348" y="30"/>
                    </a:lnTo>
                    <a:lnTo>
                      <a:pt x="342" y="24"/>
                    </a:lnTo>
                    <a:lnTo>
                      <a:pt x="336" y="24"/>
                    </a:lnTo>
                    <a:lnTo>
                      <a:pt x="330" y="30"/>
                    </a:lnTo>
                    <a:lnTo>
                      <a:pt x="330" y="60"/>
                    </a:lnTo>
                    <a:lnTo>
                      <a:pt x="324" y="48"/>
                    </a:lnTo>
                    <a:lnTo>
                      <a:pt x="318" y="42"/>
                    </a:lnTo>
                    <a:lnTo>
                      <a:pt x="306" y="36"/>
                    </a:lnTo>
                    <a:lnTo>
                      <a:pt x="300" y="24"/>
                    </a:lnTo>
                    <a:lnTo>
                      <a:pt x="288" y="24"/>
                    </a:lnTo>
                    <a:lnTo>
                      <a:pt x="288" y="30"/>
                    </a:lnTo>
                    <a:lnTo>
                      <a:pt x="270" y="30"/>
                    </a:lnTo>
                    <a:lnTo>
                      <a:pt x="264" y="36"/>
                    </a:lnTo>
                    <a:lnTo>
                      <a:pt x="264" y="54"/>
                    </a:lnTo>
                    <a:lnTo>
                      <a:pt x="252" y="54"/>
                    </a:lnTo>
                    <a:lnTo>
                      <a:pt x="240" y="42"/>
                    </a:lnTo>
                    <a:lnTo>
                      <a:pt x="228" y="36"/>
                    </a:lnTo>
                    <a:lnTo>
                      <a:pt x="222" y="30"/>
                    </a:lnTo>
                    <a:lnTo>
                      <a:pt x="216" y="30"/>
                    </a:lnTo>
                    <a:lnTo>
                      <a:pt x="216" y="48"/>
                    </a:lnTo>
                    <a:lnTo>
                      <a:pt x="210" y="60"/>
                    </a:lnTo>
                    <a:lnTo>
                      <a:pt x="210" y="72"/>
                    </a:lnTo>
                    <a:lnTo>
                      <a:pt x="204" y="72"/>
                    </a:lnTo>
                    <a:lnTo>
                      <a:pt x="192" y="60"/>
                    </a:lnTo>
                    <a:lnTo>
                      <a:pt x="186" y="60"/>
                    </a:lnTo>
                    <a:lnTo>
                      <a:pt x="162" y="84"/>
                    </a:lnTo>
                    <a:lnTo>
                      <a:pt x="162" y="90"/>
                    </a:lnTo>
                    <a:lnTo>
                      <a:pt x="156" y="84"/>
                    </a:lnTo>
                    <a:lnTo>
                      <a:pt x="144" y="60"/>
                    </a:lnTo>
                    <a:lnTo>
                      <a:pt x="162" y="42"/>
                    </a:lnTo>
                    <a:lnTo>
                      <a:pt x="162" y="36"/>
                    </a:lnTo>
                    <a:lnTo>
                      <a:pt x="156" y="30"/>
                    </a:lnTo>
                    <a:lnTo>
                      <a:pt x="108" y="6"/>
                    </a:lnTo>
                    <a:lnTo>
                      <a:pt x="96" y="6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84" y="30"/>
                    </a:lnTo>
                    <a:lnTo>
                      <a:pt x="78" y="30"/>
                    </a:lnTo>
                    <a:lnTo>
                      <a:pt x="66" y="24"/>
                    </a:lnTo>
                    <a:lnTo>
                      <a:pt x="54" y="24"/>
                    </a:lnTo>
                    <a:lnTo>
                      <a:pt x="42" y="30"/>
                    </a:lnTo>
                    <a:lnTo>
                      <a:pt x="30" y="42"/>
                    </a:lnTo>
                    <a:lnTo>
                      <a:pt x="48" y="54"/>
                    </a:lnTo>
                    <a:lnTo>
                      <a:pt x="30" y="54"/>
                    </a:lnTo>
                    <a:lnTo>
                      <a:pt x="18" y="60"/>
                    </a:lnTo>
                    <a:lnTo>
                      <a:pt x="12" y="66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8" y="78"/>
                    </a:lnTo>
                    <a:lnTo>
                      <a:pt x="30" y="78"/>
                    </a:lnTo>
                    <a:lnTo>
                      <a:pt x="54" y="66"/>
                    </a:lnTo>
                    <a:lnTo>
                      <a:pt x="66" y="66"/>
                    </a:lnTo>
                    <a:lnTo>
                      <a:pt x="72" y="60"/>
                    </a:lnTo>
                    <a:lnTo>
                      <a:pt x="78" y="60"/>
                    </a:lnTo>
                    <a:lnTo>
                      <a:pt x="126" y="72"/>
                    </a:lnTo>
                    <a:lnTo>
                      <a:pt x="90" y="90"/>
                    </a:lnTo>
                    <a:lnTo>
                      <a:pt x="102" y="90"/>
                    </a:lnTo>
                    <a:lnTo>
                      <a:pt x="108" y="96"/>
                    </a:lnTo>
                    <a:lnTo>
                      <a:pt x="114" y="96"/>
                    </a:lnTo>
                    <a:lnTo>
                      <a:pt x="120" y="102"/>
                    </a:lnTo>
                    <a:lnTo>
                      <a:pt x="114" y="102"/>
                    </a:lnTo>
                    <a:lnTo>
                      <a:pt x="108" y="108"/>
                    </a:lnTo>
                    <a:lnTo>
                      <a:pt x="6" y="108"/>
                    </a:lnTo>
                    <a:lnTo>
                      <a:pt x="0" y="114"/>
                    </a:lnTo>
                    <a:lnTo>
                      <a:pt x="12" y="120"/>
                    </a:lnTo>
                    <a:lnTo>
                      <a:pt x="60" y="120"/>
                    </a:lnTo>
                    <a:lnTo>
                      <a:pt x="84" y="132"/>
                    </a:lnTo>
                    <a:lnTo>
                      <a:pt x="90" y="138"/>
                    </a:lnTo>
                    <a:lnTo>
                      <a:pt x="126" y="132"/>
                    </a:lnTo>
                    <a:lnTo>
                      <a:pt x="108" y="150"/>
                    </a:lnTo>
                    <a:lnTo>
                      <a:pt x="120" y="156"/>
                    </a:lnTo>
                    <a:lnTo>
                      <a:pt x="114" y="162"/>
                    </a:lnTo>
                    <a:lnTo>
                      <a:pt x="114" y="168"/>
                    </a:lnTo>
                    <a:lnTo>
                      <a:pt x="108" y="174"/>
                    </a:lnTo>
                    <a:lnTo>
                      <a:pt x="90" y="174"/>
                    </a:lnTo>
                    <a:lnTo>
                      <a:pt x="78" y="180"/>
                    </a:lnTo>
                    <a:lnTo>
                      <a:pt x="54" y="180"/>
                    </a:lnTo>
                    <a:lnTo>
                      <a:pt x="54" y="186"/>
                    </a:lnTo>
                    <a:lnTo>
                      <a:pt x="66" y="192"/>
                    </a:lnTo>
                    <a:lnTo>
                      <a:pt x="120" y="192"/>
                    </a:lnTo>
                    <a:lnTo>
                      <a:pt x="132" y="186"/>
                    </a:lnTo>
                    <a:lnTo>
                      <a:pt x="138" y="180"/>
                    </a:lnTo>
                    <a:lnTo>
                      <a:pt x="168" y="198"/>
                    </a:lnTo>
                    <a:lnTo>
                      <a:pt x="180" y="186"/>
                    </a:lnTo>
                    <a:lnTo>
                      <a:pt x="180" y="198"/>
                    </a:lnTo>
                    <a:lnTo>
                      <a:pt x="228" y="222"/>
                    </a:lnTo>
                    <a:lnTo>
                      <a:pt x="252" y="222"/>
                    </a:lnTo>
                    <a:close/>
                  </a:path>
                </a:pathLst>
              </a:custGeom>
              <a:grpFill/>
              <a:ln w="0">
                <a:solidFill>
                  <a:srgbClr val="B4D2AC">
                    <a:lumMod val="60000"/>
                    <a:lumOff val="40000"/>
                  </a:srgb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45" name="Fin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55BC302-6DB9-4235-B444-CFC9BBCF64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10289" y="2057147"/>
                <a:ext cx="279548" cy="322396"/>
              </a:xfrm>
              <a:custGeom>
                <a:avLst/>
                <a:gdLst>
                  <a:gd name="T0" fmla="*/ 2147483647 w 630"/>
                  <a:gd name="T1" fmla="*/ 2147483647 h 714"/>
                  <a:gd name="T2" fmla="*/ 2147483647 w 630"/>
                  <a:gd name="T3" fmla="*/ 2147483647 h 714"/>
                  <a:gd name="T4" fmla="*/ 2147483647 w 630"/>
                  <a:gd name="T5" fmla="*/ 2147483647 h 714"/>
                  <a:gd name="T6" fmla="*/ 2147483647 w 630"/>
                  <a:gd name="T7" fmla="*/ 2147483647 h 714"/>
                  <a:gd name="T8" fmla="*/ 2147483647 w 630"/>
                  <a:gd name="T9" fmla="*/ 2147483647 h 714"/>
                  <a:gd name="T10" fmla="*/ 2147483647 w 630"/>
                  <a:gd name="T11" fmla="*/ 2147483647 h 714"/>
                  <a:gd name="T12" fmla="*/ 2147483647 w 630"/>
                  <a:gd name="T13" fmla="*/ 2147483647 h 714"/>
                  <a:gd name="T14" fmla="*/ 2147483647 w 630"/>
                  <a:gd name="T15" fmla="*/ 2147483647 h 714"/>
                  <a:gd name="T16" fmla="*/ 2147483647 w 630"/>
                  <a:gd name="T17" fmla="*/ 2147483647 h 714"/>
                  <a:gd name="T18" fmla="*/ 2147483647 w 630"/>
                  <a:gd name="T19" fmla="*/ 2147483647 h 714"/>
                  <a:gd name="T20" fmla="*/ 2147483647 w 630"/>
                  <a:gd name="T21" fmla="*/ 2147483647 h 714"/>
                  <a:gd name="T22" fmla="*/ 2147483647 w 630"/>
                  <a:gd name="T23" fmla="*/ 2147483647 h 714"/>
                  <a:gd name="T24" fmla="*/ 2147483647 w 630"/>
                  <a:gd name="T25" fmla="*/ 2147483647 h 714"/>
                  <a:gd name="T26" fmla="*/ 2147483647 w 630"/>
                  <a:gd name="T27" fmla="*/ 2147483647 h 714"/>
                  <a:gd name="T28" fmla="*/ 2147483647 w 630"/>
                  <a:gd name="T29" fmla="*/ 2147483647 h 714"/>
                  <a:gd name="T30" fmla="*/ 2147483647 w 630"/>
                  <a:gd name="T31" fmla="*/ 2147483647 h 714"/>
                  <a:gd name="T32" fmla="*/ 2147483647 w 630"/>
                  <a:gd name="T33" fmla="*/ 2147483647 h 714"/>
                  <a:gd name="T34" fmla="*/ 2147483647 w 630"/>
                  <a:gd name="T35" fmla="*/ 2147483647 h 714"/>
                  <a:gd name="T36" fmla="*/ 2147483647 w 630"/>
                  <a:gd name="T37" fmla="*/ 2147483647 h 714"/>
                  <a:gd name="T38" fmla="*/ 2147483647 w 630"/>
                  <a:gd name="T39" fmla="*/ 2147483647 h 714"/>
                  <a:gd name="T40" fmla="*/ 2147483647 w 630"/>
                  <a:gd name="T41" fmla="*/ 2147483647 h 714"/>
                  <a:gd name="T42" fmla="*/ 2147483647 w 630"/>
                  <a:gd name="T43" fmla="*/ 2147483647 h 714"/>
                  <a:gd name="T44" fmla="*/ 2147483647 w 630"/>
                  <a:gd name="T45" fmla="*/ 2147483647 h 714"/>
                  <a:gd name="T46" fmla="*/ 2147483647 w 630"/>
                  <a:gd name="T47" fmla="*/ 2147483647 h 714"/>
                  <a:gd name="T48" fmla="*/ 2147483647 w 630"/>
                  <a:gd name="T49" fmla="*/ 2147483647 h 714"/>
                  <a:gd name="T50" fmla="*/ 2147483647 w 630"/>
                  <a:gd name="T51" fmla="*/ 2147483647 h 714"/>
                  <a:gd name="T52" fmla="*/ 2147483647 w 630"/>
                  <a:gd name="T53" fmla="*/ 2147483647 h 714"/>
                  <a:gd name="T54" fmla="*/ 2147483647 w 630"/>
                  <a:gd name="T55" fmla="*/ 2147483647 h 714"/>
                  <a:gd name="T56" fmla="*/ 2147483647 w 630"/>
                  <a:gd name="T57" fmla="*/ 2147483647 h 714"/>
                  <a:gd name="T58" fmla="*/ 2147483647 w 630"/>
                  <a:gd name="T59" fmla="*/ 2147483647 h 714"/>
                  <a:gd name="T60" fmla="*/ 2147483647 w 630"/>
                  <a:gd name="T61" fmla="*/ 2147483647 h 714"/>
                  <a:gd name="T62" fmla="*/ 2147483647 w 630"/>
                  <a:gd name="T63" fmla="*/ 2147483647 h 714"/>
                  <a:gd name="T64" fmla="*/ 2147483647 w 630"/>
                  <a:gd name="T65" fmla="*/ 2147483647 h 714"/>
                  <a:gd name="T66" fmla="*/ 2147483647 w 630"/>
                  <a:gd name="T67" fmla="*/ 2147483647 h 714"/>
                  <a:gd name="T68" fmla="*/ 2147483647 w 630"/>
                  <a:gd name="T69" fmla="*/ 2147483647 h 714"/>
                  <a:gd name="T70" fmla="*/ 2147483647 w 630"/>
                  <a:gd name="T71" fmla="*/ 2147483647 h 714"/>
                  <a:gd name="T72" fmla="*/ 2147483647 w 630"/>
                  <a:gd name="T73" fmla="*/ 2147483647 h 714"/>
                  <a:gd name="T74" fmla="*/ 2147483647 w 630"/>
                  <a:gd name="T75" fmla="*/ 2147483647 h 714"/>
                  <a:gd name="T76" fmla="*/ 2147483647 w 630"/>
                  <a:gd name="T77" fmla="*/ 2147483647 h 714"/>
                  <a:gd name="T78" fmla="*/ 2147483647 w 630"/>
                  <a:gd name="T79" fmla="*/ 2147483647 h 714"/>
                  <a:gd name="T80" fmla="*/ 2147483647 w 630"/>
                  <a:gd name="T81" fmla="*/ 2147483647 h 714"/>
                  <a:gd name="T82" fmla="*/ 2147483647 w 630"/>
                  <a:gd name="T83" fmla="*/ 2147483647 h 714"/>
                  <a:gd name="T84" fmla="*/ 2147483647 w 630"/>
                  <a:gd name="T85" fmla="*/ 2147483647 h 714"/>
                  <a:gd name="T86" fmla="*/ 2147483647 w 630"/>
                  <a:gd name="T87" fmla="*/ 2147483647 h 714"/>
                  <a:gd name="T88" fmla="*/ 2147483647 w 630"/>
                  <a:gd name="T89" fmla="*/ 2147483647 h 714"/>
                  <a:gd name="T90" fmla="*/ 2147483647 w 630"/>
                  <a:gd name="T91" fmla="*/ 2147483647 h 714"/>
                  <a:gd name="T92" fmla="*/ 2147483647 w 630"/>
                  <a:gd name="T93" fmla="*/ 2147483647 h 714"/>
                  <a:gd name="T94" fmla="*/ 2147483647 w 630"/>
                  <a:gd name="T95" fmla="*/ 2147483647 h 714"/>
                  <a:gd name="T96" fmla="*/ 2147483647 w 630"/>
                  <a:gd name="T97" fmla="*/ 2147483647 h 714"/>
                  <a:gd name="T98" fmla="*/ 2147483647 w 630"/>
                  <a:gd name="T99" fmla="*/ 2147483647 h 714"/>
                  <a:gd name="T100" fmla="*/ 2147483647 w 630"/>
                  <a:gd name="T101" fmla="*/ 2147483647 h 714"/>
                  <a:gd name="T102" fmla="*/ 2147483647 w 630"/>
                  <a:gd name="T103" fmla="*/ 2147483647 h 714"/>
                  <a:gd name="T104" fmla="*/ 2147483647 w 630"/>
                  <a:gd name="T105" fmla="*/ 2147483647 h 714"/>
                  <a:gd name="T106" fmla="*/ 2147483647 w 630"/>
                  <a:gd name="T107" fmla="*/ 0 h 714"/>
                  <a:gd name="T108" fmla="*/ 2147483647 w 630"/>
                  <a:gd name="T109" fmla="*/ 2147483647 h 714"/>
                  <a:gd name="T110" fmla="*/ 2147483647 w 630"/>
                  <a:gd name="T111" fmla="*/ 2147483647 h 714"/>
                  <a:gd name="T112" fmla="*/ 2147483647 w 630"/>
                  <a:gd name="T113" fmla="*/ 2147483647 h 714"/>
                  <a:gd name="T114" fmla="*/ 2147483647 w 630"/>
                  <a:gd name="T115" fmla="*/ 2147483647 h 714"/>
                  <a:gd name="T116" fmla="*/ 2147483647 w 630"/>
                  <a:gd name="T117" fmla="*/ 2147483647 h 71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30"/>
                  <a:gd name="T178" fmla="*/ 0 h 714"/>
                  <a:gd name="T179" fmla="*/ 630 w 630"/>
                  <a:gd name="T180" fmla="*/ 714 h 71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30" h="714">
                    <a:moveTo>
                      <a:pt x="162" y="84"/>
                    </a:moveTo>
                    <a:lnTo>
                      <a:pt x="156" y="90"/>
                    </a:lnTo>
                    <a:lnTo>
                      <a:pt x="144" y="96"/>
                    </a:lnTo>
                    <a:lnTo>
                      <a:pt x="132" y="96"/>
                    </a:lnTo>
                    <a:lnTo>
                      <a:pt x="126" y="90"/>
                    </a:lnTo>
                    <a:lnTo>
                      <a:pt x="108" y="90"/>
                    </a:lnTo>
                    <a:lnTo>
                      <a:pt x="96" y="84"/>
                    </a:lnTo>
                    <a:lnTo>
                      <a:pt x="84" y="84"/>
                    </a:lnTo>
                    <a:lnTo>
                      <a:pt x="72" y="72"/>
                    </a:lnTo>
                    <a:lnTo>
                      <a:pt x="60" y="66"/>
                    </a:lnTo>
                    <a:lnTo>
                      <a:pt x="54" y="54"/>
                    </a:lnTo>
                    <a:lnTo>
                      <a:pt x="48" y="48"/>
                    </a:lnTo>
                    <a:lnTo>
                      <a:pt x="30" y="48"/>
                    </a:lnTo>
                    <a:lnTo>
                      <a:pt x="24" y="54"/>
                    </a:lnTo>
                    <a:lnTo>
                      <a:pt x="24" y="66"/>
                    </a:lnTo>
                    <a:lnTo>
                      <a:pt x="6" y="60"/>
                    </a:lnTo>
                    <a:lnTo>
                      <a:pt x="0" y="66"/>
                    </a:lnTo>
                    <a:lnTo>
                      <a:pt x="6" y="72"/>
                    </a:lnTo>
                    <a:lnTo>
                      <a:pt x="18" y="78"/>
                    </a:lnTo>
                    <a:lnTo>
                      <a:pt x="24" y="84"/>
                    </a:lnTo>
                    <a:lnTo>
                      <a:pt x="36" y="90"/>
                    </a:lnTo>
                    <a:lnTo>
                      <a:pt x="48" y="90"/>
                    </a:lnTo>
                    <a:lnTo>
                      <a:pt x="54" y="96"/>
                    </a:lnTo>
                    <a:lnTo>
                      <a:pt x="60" y="96"/>
                    </a:lnTo>
                    <a:lnTo>
                      <a:pt x="72" y="108"/>
                    </a:lnTo>
                    <a:lnTo>
                      <a:pt x="108" y="108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56" y="132"/>
                    </a:lnTo>
                    <a:lnTo>
                      <a:pt x="162" y="132"/>
                    </a:lnTo>
                    <a:lnTo>
                      <a:pt x="162" y="156"/>
                    </a:lnTo>
                    <a:lnTo>
                      <a:pt x="156" y="162"/>
                    </a:lnTo>
                    <a:lnTo>
                      <a:pt x="156" y="168"/>
                    </a:lnTo>
                    <a:lnTo>
                      <a:pt x="168" y="174"/>
                    </a:lnTo>
                    <a:lnTo>
                      <a:pt x="162" y="198"/>
                    </a:lnTo>
                    <a:lnTo>
                      <a:pt x="186" y="210"/>
                    </a:lnTo>
                    <a:lnTo>
                      <a:pt x="180" y="222"/>
                    </a:lnTo>
                    <a:lnTo>
                      <a:pt x="174" y="228"/>
                    </a:lnTo>
                    <a:lnTo>
                      <a:pt x="168" y="240"/>
                    </a:lnTo>
                    <a:lnTo>
                      <a:pt x="168" y="246"/>
                    </a:lnTo>
                    <a:lnTo>
                      <a:pt x="180" y="258"/>
                    </a:lnTo>
                    <a:lnTo>
                      <a:pt x="192" y="264"/>
                    </a:lnTo>
                    <a:lnTo>
                      <a:pt x="198" y="270"/>
                    </a:lnTo>
                    <a:lnTo>
                      <a:pt x="210" y="306"/>
                    </a:lnTo>
                    <a:lnTo>
                      <a:pt x="222" y="294"/>
                    </a:lnTo>
                    <a:lnTo>
                      <a:pt x="228" y="294"/>
                    </a:lnTo>
                    <a:lnTo>
                      <a:pt x="234" y="300"/>
                    </a:lnTo>
                    <a:lnTo>
                      <a:pt x="246" y="300"/>
                    </a:lnTo>
                    <a:lnTo>
                      <a:pt x="270" y="324"/>
                    </a:lnTo>
                    <a:lnTo>
                      <a:pt x="270" y="336"/>
                    </a:lnTo>
                    <a:lnTo>
                      <a:pt x="276" y="348"/>
                    </a:lnTo>
                    <a:lnTo>
                      <a:pt x="276" y="354"/>
                    </a:lnTo>
                    <a:lnTo>
                      <a:pt x="264" y="348"/>
                    </a:lnTo>
                    <a:lnTo>
                      <a:pt x="246" y="348"/>
                    </a:lnTo>
                    <a:lnTo>
                      <a:pt x="240" y="354"/>
                    </a:lnTo>
                    <a:lnTo>
                      <a:pt x="234" y="366"/>
                    </a:lnTo>
                    <a:lnTo>
                      <a:pt x="228" y="372"/>
                    </a:lnTo>
                    <a:lnTo>
                      <a:pt x="222" y="384"/>
                    </a:lnTo>
                    <a:lnTo>
                      <a:pt x="216" y="390"/>
                    </a:lnTo>
                    <a:lnTo>
                      <a:pt x="180" y="420"/>
                    </a:lnTo>
                    <a:lnTo>
                      <a:pt x="144" y="432"/>
                    </a:lnTo>
                    <a:lnTo>
                      <a:pt x="138" y="438"/>
                    </a:lnTo>
                    <a:lnTo>
                      <a:pt x="126" y="444"/>
                    </a:lnTo>
                    <a:lnTo>
                      <a:pt x="120" y="456"/>
                    </a:lnTo>
                    <a:lnTo>
                      <a:pt x="120" y="462"/>
                    </a:lnTo>
                    <a:lnTo>
                      <a:pt x="108" y="474"/>
                    </a:lnTo>
                    <a:lnTo>
                      <a:pt x="90" y="474"/>
                    </a:lnTo>
                    <a:lnTo>
                      <a:pt x="66" y="504"/>
                    </a:lnTo>
                    <a:lnTo>
                      <a:pt x="66" y="534"/>
                    </a:lnTo>
                    <a:lnTo>
                      <a:pt x="72" y="540"/>
                    </a:lnTo>
                    <a:lnTo>
                      <a:pt x="72" y="570"/>
                    </a:lnTo>
                    <a:lnTo>
                      <a:pt x="96" y="588"/>
                    </a:lnTo>
                    <a:lnTo>
                      <a:pt x="96" y="594"/>
                    </a:lnTo>
                    <a:lnTo>
                      <a:pt x="90" y="600"/>
                    </a:lnTo>
                    <a:lnTo>
                      <a:pt x="90" y="612"/>
                    </a:lnTo>
                    <a:lnTo>
                      <a:pt x="84" y="630"/>
                    </a:lnTo>
                    <a:lnTo>
                      <a:pt x="84" y="648"/>
                    </a:lnTo>
                    <a:lnTo>
                      <a:pt x="90" y="654"/>
                    </a:lnTo>
                    <a:lnTo>
                      <a:pt x="96" y="666"/>
                    </a:lnTo>
                    <a:lnTo>
                      <a:pt x="108" y="678"/>
                    </a:lnTo>
                    <a:lnTo>
                      <a:pt x="132" y="690"/>
                    </a:lnTo>
                    <a:lnTo>
                      <a:pt x="174" y="690"/>
                    </a:lnTo>
                    <a:lnTo>
                      <a:pt x="174" y="696"/>
                    </a:lnTo>
                    <a:lnTo>
                      <a:pt x="168" y="702"/>
                    </a:lnTo>
                    <a:lnTo>
                      <a:pt x="168" y="708"/>
                    </a:lnTo>
                    <a:lnTo>
                      <a:pt x="174" y="714"/>
                    </a:lnTo>
                    <a:lnTo>
                      <a:pt x="240" y="714"/>
                    </a:lnTo>
                    <a:lnTo>
                      <a:pt x="252" y="708"/>
                    </a:lnTo>
                    <a:lnTo>
                      <a:pt x="270" y="708"/>
                    </a:lnTo>
                    <a:lnTo>
                      <a:pt x="300" y="696"/>
                    </a:lnTo>
                    <a:lnTo>
                      <a:pt x="336" y="696"/>
                    </a:lnTo>
                    <a:lnTo>
                      <a:pt x="384" y="672"/>
                    </a:lnTo>
                    <a:lnTo>
                      <a:pt x="462" y="672"/>
                    </a:lnTo>
                    <a:lnTo>
                      <a:pt x="456" y="660"/>
                    </a:lnTo>
                    <a:lnTo>
                      <a:pt x="516" y="630"/>
                    </a:lnTo>
                    <a:lnTo>
                      <a:pt x="576" y="570"/>
                    </a:lnTo>
                    <a:lnTo>
                      <a:pt x="582" y="570"/>
                    </a:lnTo>
                    <a:lnTo>
                      <a:pt x="618" y="534"/>
                    </a:lnTo>
                    <a:lnTo>
                      <a:pt x="624" y="522"/>
                    </a:lnTo>
                    <a:lnTo>
                      <a:pt x="630" y="516"/>
                    </a:lnTo>
                    <a:lnTo>
                      <a:pt x="630" y="504"/>
                    </a:lnTo>
                    <a:lnTo>
                      <a:pt x="624" y="492"/>
                    </a:lnTo>
                    <a:lnTo>
                      <a:pt x="618" y="486"/>
                    </a:lnTo>
                    <a:lnTo>
                      <a:pt x="612" y="474"/>
                    </a:lnTo>
                    <a:lnTo>
                      <a:pt x="540" y="438"/>
                    </a:lnTo>
                    <a:lnTo>
                      <a:pt x="546" y="438"/>
                    </a:lnTo>
                    <a:lnTo>
                      <a:pt x="570" y="414"/>
                    </a:lnTo>
                    <a:lnTo>
                      <a:pt x="570" y="408"/>
                    </a:lnTo>
                    <a:lnTo>
                      <a:pt x="564" y="402"/>
                    </a:lnTo>
                    <a:lnTo>
                      <a:pt x="552" y="396"/>
                    </a:lnTo>
                    <a:lnTo>
                      <a:pt x="528" y="390"/>
                    </a:lnTo>
                    <a:lnTo>
                      <a:pt x="534" y="378"/>
                    </a:lnTo>
                    <a:lnTo>
                      <a:pt x="540" y="372"/>
                    </a:lnTo>
                    <a:lnTo>
                      <a:pt x="540" y="366"/>
                    </a:lnTo>
                    <a:lnTo>
                      <a:pt x="534" y="360"/>
                    </a:lnTo>
                    <a:lnTo>
                      <a:pt x="528" y="360"/>
                    </a:lnTo>
                    <a:lnTo>
                      <a:pt x="522" y="354"/>
                    </a:lnTo>
                    <a:lnTo>
                      <a:pt x="510" y="354"/>
                    </a:lnTo>
                    <a:lnTo>
                      <a:pt x="510" y="342"/>
                    </a:lnTo>
                    <a:lnTo>
                      <a:pt x="498" y="330"/>
                    </a:lnTo>
                    <a:lnTo>
                      <a:pt x="504" y="300"/>
                    </a:lnTo>
                    <a:lnTo>
                      <a:pt x="510" y="300"/>
                    </a:lnTo>
                    <a:lnTo>
                      <a:pt x="522" y="306"/>
                    </a:lnTo>
                    <a:lnTo>
                      <a:pt x="534" y="306"/>
                    </a:lnTo>
                    <a:lnTo>
                      <a:pt x="540" y="300"/>
                    </a:lnTo>
                    <a:lnTo>
                      <a:pt x="540" y="294"/>
                    </a:lnTo>
                    <a:lnTo>
                      <a:pt x="534" y="288"/>
                    </a:lnTo>
                    <a:lnTo>
                      <a:pt x="522" y="282"/>
                    </a:lnTo>
                    <a:lnTo>
                      <a:pt x="498" y="258"/>
                    </a:lnTo>
                    <a:lnTo>
                      <a:pt x="486" y="252"/>
                    </a:lnTo>
                    <a:lnTo>
                      <a:pt x="480" y="240"/>
                    </a:lnTo>
                    <a:lnTo>
                      <a:pt x="468" y="234"/>
                    </a:lnTo>
                    <a:lnTo>
                      <a:pt x="450" y="216"/>
                    </a:lnTo>
                    <a:lnTo>
                      <a:pt x="456" y="210"/>
                    </a:lnTo>
                    <a:lnTo>
                      <a:pt x="468" y="204"/>
                    </a:lnTo>
                    <a:lnTo>
                      <a:pt x="474" y="204"/>
                    </a:lnTo>
                    <a:lnTo>
                      <a:pt x="474" y="192"/>
                    </a:lnTo>
                    <a:lnTo>
                      <a:pt x="480" y="192"/>
                    </a:lnTo>
                    <a:lnTo>
                      <a:pt x="492" y="186"/>
                    </a:lnTo>
                    <a:lnTo>
                      <a:pt x="498" y="186"/>
                    </a:lnTo>
                    <a:lnTo>
                      <a:pt x="498" y="174"/>
                    </a:lnTo>
                    <a:lnTo>
                      <a:pt x="450" y="126"/>
                    </a:lnTo>
                    <a:lnTo>
                      <a:pt x="432" y="126"/>
                    </a:lnTo>
                    <a:lnTo>
                      <a:pt x="426" y="132"/>
                    </a:lnTo>
                    <a:lnTo>
                      <a:pt x="420" y="132"/>
                    </a:lnTo>
                    <a:lnTo>
                      <a:pt x="414" y="126"/>
                    </a:lnTo>
                    <a:lnTo>
                      <a:pt x="414" y="120"/>
                    </a:lnTo>
                    <a:lnTo>
                      <a:pt x="408" y="108"/>
                    </a:lnTo>
                    <a:lnTo>
                      <a:pt x="408" y="96"/>
                    </a:lnTo>
                    <a:lnTo>
                      <a:pt x="426" y="96"/>
                    </a:lnTo>
                    <a:lnTo>
                      <a:pt x="426" y="90"/>
                    </a:lnTo>
                    <a:lnTo>
                      <a:pt x="414" y="78"/>
                    </a:lnTo>
                    <a:lnTo>
                      <a:pt x="420" y="54"/>
                    </a:lnTo>
                    <a:lnTo>
                      <a:pt x="426" y="54"/>
                    </a:lnTo>
                    <a:lnTo>
                      <a:pt x="426" y="60"/>
                    </a:lnTo>
                    <a:lnTo>
                      <a:pt x="432" y="60"/>
                    </a:lnTo>
                    <a:lnTo>
                      <a:pt x="432" y="42"/>
                    </a:lnTo>
                    <a:lnTo>
                      <a:pt x="426" y="30"/>
                    </a:lnTo>
                    <a:lnTo>
                      <a:pt x="414" y="18"/>
                    </a:lnTo>
                    <a:lnTo>
                      <a:pt x="408" y="18"/>
                    </a:lnTo>
                    <a:lnTo>
                      <a:pt x="372" y="12"/>
                    </a:lnTo>
                    <a:lnTo>
                      <a:pt x="372" y="0"/>
                    </a:lnTo>
                    <a:lnTo>
                      <a:pt x="336" y="0"/>
                    </a:lnTo>
                    <a:lnTo>
                      <a:pt x="324" y="6"/>
                    </a:lnTo>
                    <a:lnTo>
                      <a:pt x="294" y="6"/>
                    </a:lnTo>
                    <a:lnTo>
                      <a:pt x="282" y="12"/>
                    </a:lnTo>
                    <a:lnTo>
                      <a:pt x="276" y="12"/>
                    </a:lnTo>
                    <a:lnTo>
                      <a:pt x="264" y="18"/>
                    </a:lnTo>
                    <a:lnTo>
                      <a:pt x="264" y="30"/>
                    </a:lnTo>
                    <a:lnTo>
                      <a:pt x="258" y="36"/>
                    </a:lnTo>
                    <a:lnTo>
                      <a:pt x="258" y="72"/>
                    </a:lnTo>
                    <a:lnTo>
                      <a:pt x="234" y="72"/>
                    </a:lnTo>
                    <a:lnTo>
                      <a:pt x="234" y="78"/>
                    </a:lnTo>
                    <a:lnTo>
                      <a:pt x="228" y="84"/>
                    </a:lnTo>
                    <a:lnTo>
                      <a:pt x="228" y="96"/>
                    </a:lnTo>
                    <a:lnTo>
                      <a:pt x="210" y="96"/>
                    </a:lnTo>
                    <a:lnTo>
                      <a:pt x="204" y="90"/>
                    </a:lnTo>
                    <a:lnTo>
                      <a:pt x="192" y="84"/>
                    </a:lnTo>
                    <a:lnTo>
                      <a:pt x="162" y="84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6" name="Eston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4200FC7-1B6A-4607-901F-24F828F2A9E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166197" y="2390173"/>
                <a:ext cx="153752" cy="69086"/>
              </a:xfrm>
              <a:custGeom>
                <a:avLst/>
                <a:gdLst>
                  <a:gd name="T0" fmla="*/ 2147483647 w 348"/>
                  <a:gd name="T1" fmla="*/ 2147483647 h 156"/>
                  <a:gd name="T2" fmla="*/ 2147483647 w 348"/>
                  <a:gd name="T3" fmla="*/ 2147483647 h 156"/>
                  <a:gd name="T4" fmla="*/ 2147483647 w 348"/>
                  <a:gd name="T5" fmla="*/ 2147483647 h 156"/>
                  <a:gd name="T6" fmla="*/ 2147483647 w 348"/>
                  <a:gd name="T7" fmla="*/ 2147483647 h 156"/>
                  <a:gd name="T8" fmla="*/ 2147483647 w 348"/>
                  <a:gd name="T9" fmla="*/ 2147483647 h 156"/>
                  <a:gd name="T10" fmla="*/ 2147483647 w 348"/>
                  <a:gd name="T11" fmla="*/ 2147483647 h 156"/>
                  <a:gd name="T12" fmla="*/ 2147483647 w 348"/>
                  <a:gd name="T13" fmla="*/ 2147483647 h 156"/>
                  <a:gd name="T14" fmla="*/ 2147483647 w 348"/>
                  <a:gd name="T15" fmla="*/ 0 h 156"/>
                  <a:gd name="T16" fmla="*/ 2147483647 w 348"/>
                  <a:gd name="T17" fmla="*/ 2147483647 h 156"/>
                  <a:gd name="T18" fmla="*/ 2147483647 w 348"/>
                  <a:gd name="T19" fmla="*/ 2147483647 h 156"/>
                  <a:gd name="T20" fmla="*/ 2147483647 w 348"/>
                  <a:gd name="T21" fmla="*/ 2147483647 h 156"/>
                  <a:gd name="T22" fmla="*/ 2147483647 w 348"/>
                  <a:gd name="T23" fmla="*/ 2147483647 h 156"/>
                  <a:gd name="T24" fmla="*/ 2147483647 w 348"/>
                  <a:gd name="T25" fmla="*/ 2147483647 h 156"/>
                  <a:gd name="T26" fmla="*/ 2147483647 w 348"/>
                  <a:gd name="T27" fmla="*/ 2147483647 h 156"/>
                  <a:gd name="T28" fmla="*/ 2147483647 w 348"/>
                  <a:gd name="T29" fmla="*/ 2147483647 h 156"/>
                  <a:gd name="T30" fmla="*/ 2147483647 w 348"/>
                  <a:gd name="T31" fmla="*/ 2147483647 h 156"/>
                  <a:gd name="T32" fmla="*/ 2147483647 w 348"/>
                  <a:gd name="T33" fmla="*/ 2147483647 h 156"/>
                  <a:gd name="T34" fmla="*/ 2147483647 w 348"/>
                  <a:gd name="T35" fmla="*/ 2147483647 h 156"/>
                  <a:gd name="T36" fmla="*/ 2147483647 w 348"/>
                  <a:gd name="T37" fmla="*/ 2147483647 h 156"/>
                  <a:gd name="T38" fmla="*/ 2147483647 w 348"/>
                  <a:gd name="T39" fmla="*/ 2147483647 h 156"/>
                  <a:gd name="T40" fmla="*/ 2147483647 w 348"/>
                  <a:gd name="T41" fmla="*/ 2147483647 h 156"/>
                  <a:gd name="T42" fmla="*/ 2147483647 w 348"/>
                  <a:gd name="T43" fmla="*/ 2147483647 h 156"/>
                  <a:gd name="T44" fmla="*/ 2147483647 w 348"/>
                  <a:gd name="T45" fmla="*/ 2147483647 h 156"/>
                  <a:gd name="T46" fmla="*/ 2147483647 w 348"/>
                  <a:gd name="T47" fmla="*/ 2147483647 h 156"/>
                  <a:gd name="T48" fmla="*/ 0 w 348"/>
                  <a:gd name="T49" fmla="*/ 2147483647 h 156"/>
                  <a:gd name="T50" fmla="*/ 2147483647 w 348"/>
                  <a:gd name="T51" fmla="*/ 2147483647 h 156"/>
                  <a:gd name="T52" fmla="*/ 2147483647 w 348"/>
                  <a:gd name="T53" fmla="*/ 2147483647 h 156"/>
                  <a:gd name="T54" fmla="*/ 2147483647 w 348"/>
                  <a:gd name="T55" fmla="*/ 2147483647 h 156"/>
                  <a:gd name="T56" fmla="*/ 2147483647 w 348"/>
                  <a:gd name="T57" fmla="*/ 2147483647 h 156"/>
                  <a:gd name="T58" fmla="*/ 2147483647 w 348"/>
                  <a:gd name="T59" fmla="*/ 2147483647 h 156"/>
                  <a:gd name="T60" fmla="*/ 2147483647 w 348"/>
                  <a:gd name="T61" fmla="*/ 2147483647 h 156"/>
                  <a:gd name="T62" fmla="*/ 2147483647 w 348"/>
                  <a:gd name="T63" fmla="*/ 2147483647 h 156"/>
                  <a:gd name="T64" fmla="*/ 2147483647 w 348"/>
                  <a:gd name="T65" fmla="*/ 2147483647 h 156"/>
                  <a:gd name="T66" fmla="*/ 2147483647 w 348"/>
                  <a:gd name="T67" fmla="*/ 2147483647 h 156"/>
                  <a:gd name="T68" fmla="*/ 2147483647 w 348"/>
                  <a:gd name="T69" fmla="*/ 2147483647 h 156"/>
                  <a:gd name="T70" fmla="*/ 2147483647 w 348"/>
                  <a:gd name="T71" fmla="*/ 2147483647 h 15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8"/>
                  <a:gd name="T109" fmla="*/ 0 h 156"/>
                  <a:gd name="T110" fmla="*/ 348 w 348"/>
                  <a:gd name="T111" fmla="*/ 156 h 15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8" h="156">
                    <a:moveTo>
                      <a:pt x="336" y="114"/>
                    </a:moveTo>
                    <a:lnTo>
                      <a:pt x="324" y="108"/>
                    </a:lnTo>
                    <a:lnTo>
                      <a:pt x="336" y="84"/>
                    </a:lnTo>
                    <a:lnTo>
                      <a:pt x="318" y="78"/>
                    </a:lnTo>
                    <a:lnTo>
                      <a:pt x="318" y="60"/>
                    </a:lnTo>
                    <a:lnTo>
                      <a:pt x="330" y="48"/>
                    </a:lnTo>
                    <a:lnTo>
                      <a:pt x="336" y="48"/>
                    </a:lnTo>
                    <a:lnTo>
                      <a:pt x="342" y="42"/>
                    </a:lnTo>
                    <a:lnTo>
                      <a:pt x="336" y="30"/>
                    </a:lnTo>
                    <a:lnTo>
                      <a:pt x="342" y="18"/>
                    </a:lnTo>
                    <a:lnTo>
                      <a:pt x="330" y="12"/>
                    </a:lnTo>
                    <a:lnTo>
                      <a:pt x="312" y="12"/>
                    </a:lnTo>
                    <a:lnTo>
                      <a:pt x="294" y="6"/>
                    </a:lnTo>
                    <a:lnTo>
                      <a:pt x="276" y="6"/>
                    </a:lnTo>
                    <a:lnTo>
                      <a:pt x="264" y="0"/>
                    </a:lnTo>
                    <a:lnTo>
                      <a:pt x="204" y="0"/>
                    </a:lnTo>
                    <a:lnTo>
                      <a:pt x="192" y="6"/>
                    </a:lnTo>
                    <a:lnTo>
                      <a:pt x="156" y="6"/>
                    </a:lnTo>
                    <a:lnTo>
                      <a:pt x="150" y="12"/>
                    </a:lnTo>
                    <a:lnTo>
                      <a:pt x="126" y="24"/>
                    </a:lnTo>
                    <a:lnTo>
                      <a:pt x="108" y="30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84" y="42"/>
                    </a:lnTo>
                    <a:lnTo>
                      <a:pt x="84" y="48"/>
                    </a:lnTo>
                    <a:lnTo>
                      <a:pt x="90" y="60"/>
                    </a:lnTo>
                    <a:lnTo>
                      <a:pt x="90" y="72"/>
                    </a:lnTo>
                    <a:lnTo>
                      <a:pt x="96" y="78"/>
                    </a:lnTo>
                    <a:lnTo>
                      <a:pt x="96" y="84"/>
                    </a:lnTo>
                    <a:lnTo>
                      <a:pt x="150" y="90"/>
                    </a:lnTo>
                    <a:lnTo>
                      <a:pt x="138" y="126"/>
                    </a:lnTo>
                    <a:lnTo>
                      <a:pt x="150" y="126"/>
                    </a:lnTo>
                    <a:lnTo>
                      <a:pt x="180" y="114"/>
                    </a:lnTo>
                    <a:lnTo>
                      <a:pt x="210" y="114"/>
                    </a:lnTo>
                    <a:lnTo>
                      <a:pt x="234" y="126"/>
                    </a:lnTo>
                    <a:lnTo>
                      <a:pt x="240" y="132"/>
                    </a:lnTo>
                    <a:lnTo>
                      <a:pt x="252" y="138"/>
                    </a:lnTo>
                    <a:lnTo>
                      <a:pt x="270" y="156"/>
                    </a:lnTo>
                    <a:lnTo>
                      <a:pt x="288" y="156"/>
                    </a:lnTo>
                    <a:lnTo>
                      <a:pt x="294" y="150"/>
                    </a:lnTo>
                    <a:lnTo>
                      <a:pt x="312" y="150"/>
                    </a:lnTo>
                    <a:lnTo>
                      <a:pt x="318" y="156"/>
                    </a:lnTo>
                    <a:lnTo>
                      <a:pt x="330" y="156"/>
                    </a:lnTo>
                    <a:lnTo>
                      <a:pt x="330" y="144"/>
                    </a:lnTo>
                    <a:lnTo>
                      <a:pt x="348" y="132"/>
                    </a:lnTo>
                    <a:lnTo>
                      <a:pt x="336" y="114"/>
                    </a:lnTo>
                    <a:close/>
                    <a:moveTo>
                      <a:pt x="36" y="78"/>
                    </a:moveTo>
                    <a:lnTo>
                      <a:pt x="6" y="78"/>
                    </a:lnTo>
                    <a:lnTo>
                      <a:pt x="0" y="84"/>
                    </a:lnTo>
                    <a:lnTo>
                      <a:pt x="0" y="102"/>
                    </a:lnTo>
                    <a:lnTo>
                      <a:pt x="6" y="108"/>
                    </a:lnTo>
                    <a:lnTo>
                      <a:pt x="18" y="132"/>
                    </a:lnTo>
                    <a:lnTo>
                      <a:pt x="24" y="126"/>
                    </a:lnTo>
                    <a:lnTo>
                      <a:pt x="30" y="114"/>
                    </a:lnTo>
                    <a:lnTo>
                      <a:pt x="42" y="108"/>
                    </a:lnTo>
                    <a:lnTo>
                      <a:pt x="54" y="108"/>
                    </a:lnTo>
                    <a:lnTo>
                      <a:pt x="60" y="102"/>
                    </a:lnTo>
                    <a:lnTo>
                      <a:pt x="72" y="96"/>
                    </a:lnTo>
                    <a:lnTo>
                      <a:pt x="78" y="90"/>
                    </a:lnTo>
                    <a:lnTo>
                      <a:pt x="72" y="72"/>
                    </a:lnTo>
                    <a:lnTo>
                      <a:pt x="36" y="78"/>
                    </a:lnTo>
                    <a:close/>
                    <a:moveTo>
                      <a:pt x="36" y="66"/>
                    </a:moveTo>
                    <a:lnTo>
                      <a:pt x="48" y="66"/>
                    </a:lnTo>
                    <a:lnTo>
                      <a:pt x="54" y="54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54" y="36"/>
                    </a:lnTo>
                    <a:lnTo>
                      <a:pt x="48" y="36"/>
                    </a:lnTo>
                    <a:lnTo>
                      <a:pt x="36" y="42"/>
                    </a:lnTo>
                    <a:lnTo>
                      <a:pt x="30" y="48"/>
                    </a:lnTo>
                    <a:lnTo>
                      <a:pt x="24" y="60"/>
                    </a:lnTo>
                    <a:lnTo>
                      <a:pt x="30" y="66"/>
                    </a:lnTo>
                    <a:lnTo>
                      <a:pt x="36" y="66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7" name="Denmark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09F82CC-AA03-4CC1-A123-31F4B85F12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813269" y="2455714"/>
                <a:ext cx="122302" cy="106285"/>
              </a:xfrm>
              <a:custGeom>
                <a:avLst/>
                <a:gdLst>
                  <a:gd name="T0" fmla="*/ 2147483647 w 71"/>
                  <a:gd name="T1" fmla="*/ 2147483647 h 60"/>
                  <a:gd name="T2" fmla="*/ 2147483647 w 71"/>
                  <a:gd name="T3" fmla="*/ 2147483647 h 60"/>
                  <a:gd name="T4" fmla="*/ 2147483647 w 71"/>
                  <a:gd name="T5" fmla="*/ 2147483647 h 60"/>
                  <a:gd name="T6" fmla="*/ 2147483647 w 71"/>
                  <a:gd name="T7" fmla="*/ 2147483647 h 60"/>
                  <a:gd name="T8" fmla="*/ 2147483647 w 71"/>
                  <a:gd name="T9" fmla="*/ 2147483647 h 60"/>
                  <a:gd name="T10" fmla="*/ 2147483647 w 71"/>
                  <a:gd name="T11" fmla="*/ 2147483647 h 60"/>
                  <a:gd name="T12" fmla="*/ 2147483647 w 71"/>
                  <a:gd name="T13" fmla="*/ 2147483647 h 60"/>
                  <a:gd name="T14" fmla="*/ 2147483647 w 71"/>
                  <a:gd name="T15" fmla="*/ 2147483647 h 60"/>
                  <a:gd name="T16" fmla="*/ 2147483647 w 71"/>
                  <a:gd name="T17" fmla="*/ 2147483647 h 60"/>
                  <a:gd name="T18" fmla="*/ 2147483647 w 71"/>
                  <a:gd name="T19" fmla="*/ 2147483647 h 60"/>
                  <a:gd name="T20" fmla="*/ 2147483647 w 71"/>
                  <a:gd name="T21" fmla="*/ 2147483647 h 60"/>
                  <a:gd name="T22" fmla="*/ 2147483647 w 71"/>
                  <a:gd name="T23" fmla="*/ 2147483647 h 60"/>
                  <a:gd name="T24" fmla="*/ 2147483647 w 71"/>
                  <a:gd name="T25" fmla="*/ 2147483647 h 60"/>
                  <a:gd name="T26" fmla="*/ 2147483647 w 71"/>
                  <a:gd name="T27" fmla="*/ 2147483647 h 60"/>
                  <a:gd name="T28" fmla="*/ 2147483647 w 71"/>
                  <a:gd name="T29" fmla="*/ 2147483647 h 60"/>
                  <a:gd name="T30" fmla="*/ 2147483647 w 71"/>
                  <a:gd name="T31" fmla="*/ 2147483647 h 60"/>
                  <a:gd name="T32" fmla="*/ 2147483647 w 71"/>
                  <a:gd name="T33" fmla="*/ 2147483647 h 60"/>
                  <a:gd name="T34" fmla="*/ 2147483647 w 71"/>
                  <a:gd name="T35" fmla="*/ 2147483647 h 60"/>
                  <a:gd name="T36" fmla="*/ 2147483647 w 71"/>
                  <a:gd name="T37" fmla="*/ 2147483647 h 60"/>
                  <a:gd name="T38" fmla="*/ 2147483647 w 71"/>
                  <a:gd name="T39" fmla="*/ 2147483647 h 60"/>
                  <a:gd name="T40" fmla="*/ 2147483647 w 71"/>
                  <a:gd name="T41" fmla="*/ 2147483647 h 60"/>
                  <a:gd name="T42" fmla="*/ 2147483647 w 71"/>
                  <a:gd name="T43" fmla="*/ 2147483647 h 60"/>
                  <a:gd name="T44" fmla="*/ 2147483647 w 71"/>
                  <a:gd name="T45" fmla="*/ 2147483647 h 60"/>
                  <a:gd name="T46" fmla="*/ 2147483647 w 71"/>
                  <a:gd name="T47" fmla="*/ 2147483647 h 60"/>
                  <a:gd name="T48" fmla="*/ 2147483647 w 71"/>
                  <a:gd name="T49" fmla="*/ 2147483647 h 60"/>
                  <a:gd name="T50" fmla="*/ 2147483647 w 71"/>
                  <a:gd name="T51" fmla="*/ 2147483647 h 60"/>
                  <a:gd name="T52" fmla="*/ 2147483647 w 71"/>
                  <a:gd name="T53" fmla="*/ 2147483647 h 60"/>
                  <a:gd name="T54" fmla="*/ 2147483647 w 71"/>
                  <a:gd name="T55" fmla="*/ 2147483647 h 60"/>
                  <a:gd name="T56" fmla="*/ 2147483647 w 71"/>
                  <a:gd name="T57" fmla="*/ 2147483647 h 60"/>
                  <a:gd name="T58" fmla="*/ 2147483647 w 71"/>
                  <a:gd name="T59" fmla="*/ 2147483647 h 60"/>
                  <a:gd name="T60" fmla="*/ 2147483647 w 71"/>
                  <a:gd name="T61" fmla="*/ 2147483647 h 60"/>
                  <a:gd name="T62" fmla="*/ 2147483647 w 71"/>
                  <a:gd name="T63" fmla="*/ 0 h 60"/>
                  <a:gd name="T64" fmla="*/ 2147483647 w 71"/>
                  <a:gd name="T65" fmla="*/ 2147483647 h 60"/>
                  <a:gd name="T66" fmla="*/ 2147483647 w 71"/>
                  <a:gd name="T67" fmla="*/ 2147483647 h 60"/>
                  <a:gd name="T68" fmla="*/ 2147483647 w 71"/>
                  <a:gd name="T69" fmla="*/ 2147483647 h 60"/>
                  <a:gd name="T70" fmla="*/ 2147483647 w 71"/>
                  <a:gd name="T71" fmla="*/ 2147483647 h 60"/>
                  <a:gd name="T72" fmla="*/ 2147483647 w 71"/>
                  <a:gd name="T73" fmla="*/ 2147483647 h 60"/>
                  <a:gd name="T74" fmla="*/ 2147483647 w 71"/>
                  <a:gd name="T75" fmla="*/ 2147483647 h 60"/>
                  <a:gd name="T76" fmla="*/ 2147483647 w 71"/>
                  <a:gd name="T77" fmla="*/ 2147483647 h 60"/>
                  <a:gd name="T78" fmla="*/ 2147483647 w 71"/>
                  <a:gd name="T79" fmla="*/ 2147483647 h 60"/>
                  <a:gd name="T80" fmla="*/ 2147483647 w 71"/>
                  <a:gd name="T81" fmla="*/ 2147483647 h 60"/>
                  <a:gd name="T82" fmla="*/ 0 w 71"/>
                  <a:gd name="T83" fmla="*/ 2147483647 h 60"/>
                  <a:gd name="T84" fmla="*/ 0 w 71"/>
                  <a:gd name="T85" fmla="*/ 2147483647 h 60"/>
                  <a:gd name="T86" fmla="*/ 2147483647 w 71"/>
                  <a:gd name="T87" fmla="*/ 2147483647 h 60"/>
                  <a:gd name="T88" fmla="*/ 2147483647 w 71"/>
                  <a:gd name="T89" fmla="*/ 2147483647 h 60"/>
                  <a:gd name="T90" fmla="*/ 2147483647 w 71"/>
                  <a:gd name="T91" fmla="*/ 2147483647 h 60"/>
                  <a:gd name="T92" fmla="*/ 2147483647 w 71"/>
                  <a:gd name="T93" fmla="*/ 2147483647 h 60"/>
                  <a:gd name="T94" fmla="*/ 2147483647 w 71"/>
                  <a:gd name="T95" fmla="*/ 2147483647 h 60"/>
                  <a:gd name="T96" fmla="*/ 2147483647 w 71"/>
                  <a:gd name="T97" fmla="*/ 2147483647 h 60"/>
                  <a:gd name="T98" fmla="*/ 2147483647 w 71"/>
                  <a:gd name="T99" fmla="*/ 2147483647 h 60"/>
                  <a:gd name="T100" fmla="*/ 2147483647 w 71"/>
                  <a:gd name="T101" fmla="*/ 2147483647 h 60"/>
                  <a:gd name="T102" fmla="*/ 2147483647 w 71"/>
                  <a:gd name="T103" fmla="*/ 2147483647 h 60"/>
                  <a:gd name="T104" fmla="*/ 2147483647 w 71"/>
                  <a:gd name="T105" fmla="*/ 2147483647 h 60"/>
                  <a:gd name="T106" fmla="*/ 2147483647 w 71"/>
                  <a:gd name="T107" fmla="*/ 2147483647 h 60"/>
                  <a:gd name="T108" fmla="*/ 2147483647 w 71"/>
                  <a:gd name="T109" fmla="*/ 2147483647 h 60"/>
                  <a:gd name="T110" fmla="*/ 2147483647 w 71"/>
                  <a:gd name="T111" fmla="*/ 2147483647 h 60"/>
                  <a:gd name="T112" fmla="*/ 2147483647 w 71"/>
                  <a:gd name="T113" fmla="*/ 2147483647 h 60"/>
                  <a:gd name="T114" fmla="*/ 2147483647 w 71"/>
                  <a:gd name="T115" fmla="*/ 2147483647 h 60"/>
                  <a:gd name="T116" fmla="*/ 2147483647 w 71"/>
                  <a:gd name="T117" fmla="*/ 2147483647 h 60"/>
                  <a:gd name="T118" fmla="*/ 2147483647 w 71"/>
                  <a:gd name="T119" fmla="*/ 2147483647 h 60"/>
                  <a:gd name="T120" fmla="*/ 2147483647 w 71"/>
                  <a:gd name="T121" fmla="*/ 2147483647 h 6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1"/>
                  <a:gd name="T184" fmla="*/ 0 h 60"/>
                  <a:gd name="T185" fmla="*/ 71 w 71"/>
                  <a:gd name="T186" fmla="*/ 60 h 6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1" h="60">
                    <a:moveTo>
                      <a:pt x="62" y="48"/>
                    </a:moveTo>
                    <a:lnTo>
                      <a:pt x="67" y="46"/>
                    </a:lnTo>
                    <a:lnTo>
                      <a:pt x="69" y="46"/>
                    </a:lnTo>
                    <a:lnTo>
                      <a:pt x="69" y="43"/>
                    </a:lnTo>
                    <a:lnTo>
                      <a:pt x="67" y="43"/>
                    </a:lnTo>
                    <a:lnTo>
                      <a:pt x="62" y="41"/>
                    </a:lnTo>
                    <a:lnTo>
                      <a:pt x="62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7" y="34"/>
                    </a:lnTo>
                    <a:lnTo>
                      <a:pt x="67" y="29"/>
                    </a:lnTo>
                    <a:lnTo>
                      <a:pt x="64" y="29"/>
                    </a:lnTo>
                    <a:lnTo>
                      <a:pt x="62" y="29"/>
                    </a:lnTo>
                    <a:lnTo>
                      <a:pt x="60" y="31"/>
                    </a:lnTo>
                    <a:lnTo>
                      <a:pt x="60" y="34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5" y="31"/>
                    </a:lnTo>
                    <a:lnTo>
                      <a:pt x="52" y="34"/>
                    </a:lnTo>
                    <a:lnTo>
                      <a:pt x="45" y="38"/>
                    </a:lnTo>
                    <a:lnTo>
                      <a:pt x="48" y="38"/>
                    </a:lnTo>
                    <a:lnTo>
                      <a:pt x="50" y="41"/>
                    </a:lnTo>
                    <a:lnTo>
                      <a:pt x="50" y="43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48" y="48"/>
                    </a:lnTo>
                    <a:lnTo>
                      <a:pt x="50" y="48"/>
                    </a:lnTo>
                    <a:lnTo>
                      <a:pt x="50" y="50"/>
                    </a:lnTo>
                    <a:lnTo>
                      <a:pt x="55" y="50"/>
                    </a:lnTo>
                    <a:lnTo>
                      <a:pt x="55" y="48"/>
                    </a:lnTo>
                    <a:lnTo>
                      <a:pt x="57" y="48"/>
                    </a:lnTo>
                    <a:lnTo>
                      <a:pt x="57" y="50"/>
                    </a:lnTo>
                    <a:lnTo>
                      <a:pt x="60" y="53"/>
                    </a:lnTo>
                    <a:lnTo>
                      <a:pt x="60" y="55"/>
                    </a:lnTo>
                    <a:lnTo>
                      <a:pt x="62" y="55"/>
                    </a:lnTo>
                    <a:lnTo>
                      <a:pt x="62" y="53"/>
                    </a:lnTo>
                    <a:lnTo>
                      <a:pt x="62" y="48"/>
                    </a:lnTo>
                    <a:close/>
                    <a:moveTo>
                      <a:pt x="71" y="53"/>
                    </a:moveTo>
                    <a:lnTo>
                      <a:pt x="62" y="55"/>
                    </a:lnTo>
                    <a:lnTo>
                      <a:pt x="60" y="58"/>
                    </a:lnTo>
                    <a:lnTo>
                      <a:pt x="57" y="58"/>
                    </a:lnTo>
                    <a:lnTo>
                      <a:pt x="57" y="55"/>
                    </a:lnTo>
                    <a:lnTo>
                      <a:pt x="55" y="55"/>
                    </a:lnTo>
                    <a:lnTo>
                      <a:pt x="50" y="53"/>
                    </a:lnTo>
                    <a:lnTo>
                      <a:pt x="45" y="53"/>
                    </a:lnTo>
                    <a:lnTo>
                      <a:pt x="45" y="58"/>
                    </a:lnTo>
                    <a:lnTo>
                      <a:pt x="50" y="58"/>
                    </a:lnTo>
                    <a:lnTo>
                      <a:pt x="52" y="58"/>
                    </a:lnTo>
                    <a:lnTo>
                      <a:pt x="55" y="60"/>
                    </a:lnTo>
                    <a:lnTo>
                      <a:pt x="57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9" y="58"/>
                    </a:lnTo>
                    <a:lnTo>
                      <a:pt x="71" y="58"/>
                    </a:lnTo>
                    <a:lnTo>
                      <a:pt x="71" y="53"/>
                    </a:lnTo>
                    <a:close/>
                    <a:moveTo>
                      <a:pt x="31" y="12"/>
                    </a:moveTo>
                    <a:lnTo>
                      <a:pt x="36" y="7"/>
                    </a:lnTo>
                    <a:lnTo>
                      <a:pt x="36" y="3"/>
                    </a:lnTo>
                    <a:lnTo>
                      <a:pt x="36" y="0"/>
                    </a:lnTo>
                    <a:lnTo>
                      <a:pt x="26" y="0"/>
                    </a:lnTo>
                    <a:lnTo>
                      <a:pt x="26" y="3"/>
                    </a:lnTo>
                    <a:lnTo>
                      <a:pt x="21" y="7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19"/>
                    </a:lnTo>
                    <a:lnTo>
                      <a:pt x="14" y="14"/>
                    </a:lnTo>
                    <a:lnTo>
                      <a:pt x="12" y="7"/>
                    </a:lnTo>
                    <a:lnTo>
                      <a:pt x="7" y="10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12" y="19"/>
                    </a:lnTo>
                    <a:lnTo>
                      <a:pt x="12" y="22"/>
                    </a:lnTo>
                    <a:lnTo>
                      <a:pt x="5" y="19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5" y="43"/>
                    </a:lnTo>
                    <a:lnTo>
                      <a:pt x="7" y="43"/>
                    </a:lnTo>
                    <a:lnTo>
                      <a:pt x="7" y="48"/>
                    </a:lnTo>
                    <a:lnTo>
                      <a:pt x="5" y="53"/>
                    </a:lnTo>
                    <a:lnTo>
                      <a:pt x="7" y="53"/>
                    </a:lnTo>
                    <a:lnTo>
                      <a:pt x="17" y="53"/>
                    </a:lnTo>
                    <a:lnTo>
                      <a:pt x="17" y="55"/>
                    </a:lnTo>
                    <a:lnTo>
                      <a:pt x="24" y="55"/>
                    </a:lnTo>
                    <a:lnTo>
                      <a:pt x="26" y="58"/>
                    </a:lnTo>
                    <a:lnTo>
                      <a:pt x="26" y="55"/>
                    </a:lnTo>
                    <a:lnTo>
                      <a:pt x="24" y="53"/>
                    </a:lnTo>
                    <a:lnTo>
                      <a:pt x="24" y="48"/>
                    </a:lnTo>
                    <a:lnTo>
                      <a:pt x="26" y="43"/>
                    </a:lnTo>
                    <a:lnTo>
                      <a:pt x="24" y="41"/>
                    </a:lnTo>
                    <a:lnTo>
                      <a:pt x="24" y="38"/>
                    </a:lnTo>
                    <a:lnTo>
                      <a:pt x="21" y="38"/>
                    </a:lnTo>
                    <a:lnTo>
                      <a:pt x="24" y="38"/>
                    </a:lnTo>
                    <a:lnTo>
                      <a:pt x="31" y="34"/>
                    </a:lnTo>
                    <a:lnTo>
                      <a:pt x="33" y="26"/>
                    </a:lnTo>
                    <a:lnTo>
                      <a:pt x="38" y="26"/>
                    </a:lnTo>
                    <a:lnTo>
                      <a:pt x="41" y="19"/>
                    </a:lnTo>
                    <a:lnTo>
                      <a:pt x="31" y="19"/>
                    </a:lnTo>
                    <a:lnTo>
                      <a:pt x="31" y="12"/>
                    </a:lnTo>
                    <a:close/>
                    <a:moveTo>
                      <a:pt x="29" y="38"/>
                    </a:moveTo>
                    <a:lnTo>
                      <a:pt x="31" y="48"/>
                    </a:lnTo>
                    <a:lnTo>
                      <a:pt x="36" y="53"/>
                    </a:lnTo>
                    <a:lnTo>
                      <a:pt x="38" y="46"/>
                    </a:lnTo>
                    <a:lnTo>
                      <a:pt x="33" y="41"/>
                    </a:lnTo>
                    <a:lnTo>
                      <a:pt x="29" y="38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8" name="Netherland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B0F3439-F88F-45DC-865D-9C44E21B1DF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71750" y="2599197"/>
                <a:ext cx="120554" cy="93885"/>
              </a:xfrm>
              <a:custGeom>
                <a:avLst/>
                <a:gdLst>
                  <a:gd name="T0" fmla="*/ 0 w 270"/>
                  <a:gd name="T1" fmla="*/ 2147483647 h 210"/>
                  <a:gd name="T2" fmla="*/ 2147483647 w 270"/>
                  <a:gd name="T3" fmla="*/ 2147483647 h 210"/>
                  <a:gd name="T4" fmla="*/ 2147483647 w 270"/>
                  <a:gd name="T5" fmla="*/ 2147483647 h 210"/>
                  <a:gd name="T6" fmla="*/ 2147483647 w 270"/>
                  <a:gd name="T7" fmla="*/ 2147483647 h 210"/>
                  <a:gd name="T8" fmla="*/ 2147483647 w 270"/>
                  <a:gd name="T9" fmla="*/ 2147483647 h 210"/>
                  <a:gd name="T10" fmla="*/ 2147483647 w 270"/>
                  <a:gd name="T11" fmla="*/ 2147483647 h 210"/>
                  <a:gd name="T12" fmla="*/ 2147483647 w 270"/>
                  <a:gd name="T13" fmla="*/ 2147483647 h 210"/>
                  <a:gd name="T14" fmla="*/ 2147483647 w 270"/>
                  <a:gd name="T15" fmla="*/ 2147483647 h 210"/>
                  <a:gd name="T16" fmla="*/ 2147483647 w 270"/>
                  <a:gd name="T17" fmla="*/ 2147483647 h 210"/>
                  <a:gd name="T18" fmla="*/ 2147483647 w 270"/>
                  <a:gd name="T19" fmla="*/ 2147483647 h 210"/>
                  <a:gd name="T20" fmla="*/ 2147483647 w 270"/>
                  <a:gd name="T21" fmla="*/ 2147483647 h 210"/>
                  <a:gd name="T22" fmla="*/ 2147483647 w 270"/>
                  <a:gd name="T23" fmla="*/ 2147483647 h 210"/>
                  <a:gd name="T24" fmla="*/ 2147483647 w 270"/>
                  <a:gd name="T25" fmla="*/ 2147483647 h 210"/>
                  <a:gd name="T26" fmla="*/ 2147483647 w 270"/>
                  <a:gd name="T27" fmla="*/ 2147483647 h 210"/>
                  <a:gd name="T28" fmla="*/ 2147483647 w 270"/>
                  <a:gd name="T29" fmla="*/ 2147483647 h 210"/>
                  <a:gd name="T30" fmla="*/ 2147483647 w 270"/>
                  <a:gd name="T31" fmla="*/ 2147483647 h 210"/>
                  <a:gd name="T32" fmla="*/ 2147483647 w 270"/>
                  <a:gd name="T33" fmla="*/ 2147483647 h 210"/>
                  <a:gd name="T34" fmla="*/ 2147483647 w 270"/>
                  <a:gd name="T35" fmla="*/ 2147483647 h 210"/>
                  <a:gd name="T36" fmla="*/ 2147483647 w 270"/>
                  <a:gd name="T37" fmla="*/ 2147483647 h 210"/>
                  <a:gd name="T38" fmla="*/ 2147483647 w 270"/>
                  <a:gd name="T39" fmla="*/ 2147483647 h 210"/>
                  <a:gd name="T40" fmla="*/ 2147483647 w 270"/>
                  <a:gd name="T41" fmla="*/ 2147483647 h 210"/>
                  <a:gd name="T42" fmla="*/ 2147483647 w 270"/>
                  <a:gd name="T43" fmla="*/ 2147483647 h 210"/>
                  <a:gd name="T44" fmla="*/ 2147483647 w 270"/>
                  <a:gd name="T45" fmla="*/ 2147483647 h 210"/>
                  <a:gd name="T46" fmla="*/ 2147483647 w 270"/>
                  <a:gd name="T47" fmla="*/ 2147483647 h 210"/>
                  <a:gd name="T48" fmla="*/ 2147483647 w 270"/>
                  <a:gd name="T49" fmla="*/ 2147483647 h 210"/>
                  <a:gd name="T50" fmla="*/ 2147483647 w 270"/>
                  <a:gd name="T51" fmla="*/ 2147483647 h 210"/>
                  <a:gd name="T52" fmla="*/ 2147483647 w 270"/>
                  <a:gd name="T53" fmla="*/ 2147483647 h 210"/>
                  <a:gd name="T54" fmla="*/ 2147483647 w 270"/>
                  <a:gd name="T55" fmla="*/ 2147483647 h 210"/>
                  <a:gd name="T56" fmla="*/ 2147483647 w 270"/>
                  <a:gd name="T57" fmla="*/ 2147483647 h 210"/>
                  <a:gd name="T58" fmla="*/ 2147483647 w 270"/>
                  <a:gd name="T59" fmla="*/ 0 h 210"/>
                  <a:gd name="T60" fmla="*/ 2147483647 w 270"/>
                  <a:gd name="T61" fmla="*/ 2147483647 h 210"/>
                  <a:gd name="T62" fmla="*/ 2147483647 w 270"/>
                  <a:gd name="T63" fmla="*/ 2147483647 h 210"/>
                  <a:gd name="T64" fmla="*/ 2147483647 w 270"/>
                  <a:gd name="T65" fmla="*/ 2147483647 h 210"/>
                  <a:gd name="T66" fmla="*/ 2147483647 w 270"/>
                  <a:gd name="T67" fmla="*/ 2147483647 h 210"/>
                  <a:gd name="T68" fmla="*/ 2147483647 w 270"/>
                  <a:gd name="T69" fmla="*/ 2147483647 h 210"/>
                  <a:gd name="T70" fmla="*/ 2147483647 w 270"/>
                  <a:gd name="T71" fmla="*/ 2147483647 h 210"/>
                  <a:gd name="T72" fmla="*/ 2147483647 w 270"/>
                  <a:gd name="T73" fmla="*/ 2147483647 h 210"/>
                  <a:gd name="T74" fmla="*/ 2147483647 w 270"/>
                  <a:gd name="T75" fmla="*/ 2147483647 h 210"/>
                  <a:gd name="T76" fmla="*/ 2147483647 w 270"/>
                  <a:gd name="T77" fmla="*/ 2147483647 h 210"/>
                  <a:gd name="T78" fmla="*/ 2147483647 w 270"/>
                  <a:gd name="T79" fmla="*/ 2147483647 h 210"/>
                  <a:gd name="T80" fmla="*/ 2147483647 w 270"/>
                  <a:gd name="T81" fmla="*/ 2147483647 h 210"/>
                  <a:gd name="T82" fmla="*/ 2147483647 w 270"/>
                  <a:gd name="T83" fmla="*/ 2147483647 h 210"/>
                  <a:gd name="T84" fmla="*/ 2147483647 w 270"/>
                  <a:gd name="T85" fmla="*/ 2147483647 h 210"/>
                  <a:gd name="T86" fmla="*/ 2147483647 w 270"/>
                  <a:gd name="T87" fmla="*/ 2147483647 h 210"/>
                  <a:gd name="T88" fmla="*/ 2147483647 w 270"/>
                  <a:gd name="T89" fmla="*/ 2147483647 h 21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70"/>
                  <a:gd name="T136" fmla="*/ 0 h 210"/>
                  <a:gd name="T137" fmla="*/ 270 w 270"/>
                  <a:gd name="T138" fmla="*/ 210 h 21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70" h="210">
                    <a:moveTo>
                      <a:pt x="18" y="156"/>
                    </a:moveTo>
                    <a:lnTo>
                      <a:pt x="0" y="174"/>
                    </a:lnTo>
                    <a:lnTo>
                      <a:pt x="12" y="162"/>
                    </a:lnTo>
                    <a:lnTo>
                      <a:pt x="24" y="162"/>
                    </a:lnTo>
                    <a:lnTo>
                      <a:pt x="30" y="168"/>
                    </a:lnTo>
                    <a:lnTo>
                      <a:pt x="54" y="168"/>
                    </a:lnTo>
                    <a:lnTo>
                      <a:pt x="60" y="174"/>
                    </a:lnTo>
                    <a:lnTo>
                      <a:pt x="66" y="162"/>
                    </a:lnTo>
                    <a:lnTo>
                      <a:pt x="84" y="168"/>
                    </a:lnTo>
                    <a:lnTo>
                      <a:pt x="84" y="156"/>
                    </a:lnTo>
                    <a:lnTo>
                      <a:pt x="96" y="162"/>
                    </a:lnTo>
                    <a:lnTo>
                      <a:pt x="96" y="156"/>
                    </a:lnTo>
                    <a:lnTo>
                      <a:pt x="132" y="156"/>
                    </a:lnTo>
                    <a:lnTo>
                      <a:pt x="132" y="168"/>
                    </a:lnTo>
                    <a:lnTo>
                      <a:pt x="138" y="174"/>
                    </a:lnTo>
                    <a:lnTo>
                      <a:pt x="150" y="174"/>
                    </a:lnTo>
                    <a:lnTo>
                      <a:pt x="162" y="168"/>
                    </a:lnTo>
                    <a:lnTo>
                      <a:pt x="168" y="168"/>
                    </a:lnTo>
                    <a:lnTo>
                      <a:pt x="174" y="174"/>
                    </a:lnTo>
                    <a:lnTo>
                      <a:pt x="174" y="192"/>
                    </a:lnTo>
                    <a:lnTo>
                      <a:pt x="168" y="198"/>
                    </a:lnTo>
                    <a:lnTo>
                      <a:pt x="168" y="210"/>
                    </a:lnTo>
                    <a:lnTo>
                      <a:pt x="180" y="210"/>
                    </a:lnTo>
                    <a:lnTo>
                      <a:pt x="180" y="198"/>
                    </a:lnTo>
                    <a:lnTo>
                      <a:pt x="186" y="192"/>
                    </a:lnTo>
                    <a:lnTo>
                      <a:pt x="186" y="180"/>
                    </a:lnTo>
                    <a:lnTo>
                      <a:pt x="180" y="174"/>
                    </a:lnTo>
                    <a:lnTo>
                      <a:pt x="186" y="168"/>
                    </a:lnTo>
                    <a:lnTo>
                      <a:pt x="198" y="162"/>
                    </a:lnTo>
                    <a:lnTo>
                      <a:pt x="198" y="156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20"/>
                    </a:lnTo>
                    <a:lnTo>
                      <a:pt x="192" y="120"/>
                    </a:lnTo>
                    <a:lnTo>
                      <a:pt x="198" y="126"/>
                    </a:lnTo>
                    <a:lnTo>
                      <a:pt x="222" y="126"/>
                    </a:lnTo>
                    <a:lnTo>
                      <a:pt x="222" y="120"/>
                    </a:lnTo>
                    <a:lnTo>
                      <a:pt x="228" y="114"/>
                    </a:lnTo>
                    <a:lnTo>
                      <a:pt x="234" y="114"/>
                    </a:lnTo>
                    <a:lnTo>
                      <a:pt x="240" y="102"/>
                    </a:lnTo>
                    <a:lnTo>
                      <a:pt x="246" y="96"/>
                    </a:lnTo>
                    <a:lnTo>
                      <a:pt x="252" y="96"/>
                    </a:lnTo>
                    <a:lnTo>
                      <a:pt x="252" y="90"/>
                    </a:lnTo>
                    <a:lnTo>
                      <a:pt x="240" y="78"/>
                    </a:lnTo>
                    <a:lnTo>
                      <a:pt x="234" y="78"/>
                    </a:lnTo>
                    <a:lnTo>
                      <a:pt x="228" y="72"/>
                    </a:lnTo>
                    <a:lnTo>
                      <a:pt x="228" y="66"/>
                    </a:lnTo>
                    <a:lnTo>
                      <a:pt x="234" y="66"/>
                    </a:lnTo>
                    <a:lnTo>
                      <a:pt x="246" y="60"/>
                    </a:lnTo>
                    <a:lnTo>
                      <a:pt x="258" y="60"/>
                    </a:lnTo>
                    <a:lnTo>
                      <a:pt x="252" y="54"/>
                    </a:lnTo>
                    <a:lnTo>
                      <a:pt x="252" y="36"/>
                    </a:lnTo>
                    <a:lnTo>
                      <a:pt x="258" y="36"/>
                    </a:lnTo>
                    <a:lnTo>
                      <a:pt x="270" y="30"/>
                    </a:lnTo>
                    <a:lnTo>
                      <a:pt x="264" y="18"/>
                    </a:lnTo>
                    <a:lnTo>
                      <a:pt x="270" y="12"/>
                    </a:lnTo>
                    <a:lnTo>
                      <a:pt x="264" y="12"/>
                    </a:lnTo>
                    <a:lnTo>
                      <a:pt x="252" y="6"/>
                    </a:lnTo>
                    <a:lnTo>
                      <a:pt x="246" y="6"/>
                    </a:lnTo>
                    <a:lnTo>
                      <a:pt x="234" y="0"/>
                    </a:lnTo>
                    <a:lnTo>
                      <a:pt x="180" y="0"/>
                    </a:lnTo>
                    <a:lnTo>
                      <a:pt x="168" y="12"/>
                    </a:lnTo>
                    <a:lnTo>
                      <a:pt x="156" y="18"/>
                    </a:lnTo>
                    <a:lnTo>
                      <a:pt x="156" y="30"/>
                    </a:lnTo>
                    <a:lnTo>
                      <a:pt x="162" y="36"/>
                    </a:lnTo>
                    <a:lnTo>
                      <a:pt x="162" y="54"/>
                    </a:lnTo>
                    <a:lnTo>
                      <a:pt x="168" y="60"/>
                    </a:lnTo>
                    <a:lnTo>
                      <a:pt x="174" y="60"/>
                    </a:lnTo>
                    <a:lnTo>
                      <a:pt x="180" y="66"/>
                    </a:lnTo>
                    <a:lnTo>
                      <a:pt x="180" y="78"/>
                    </a:lnTo>
                    <a:lnTo>
                      <a:pt x="168" y="84"/>
                    </a:lnTo>
                    <a:lnTo>
                      <a:pt x="162" y="90"/>
                    </a:lnTo>
                    <a:lnTo>
                      <a:pt x="144" y="90"/>
                    </a:lnTo>
                    <a:lnTo>
                      <a:pt x="138" y="84"/>
                    </a:lnTo>
                    <a:lnTo>
                      <a:pt x="138" y="66"/>
                    </a:lnTo>
                    <a:lnTo>
                      <a:pt x="150" y="54"/>
                    </a:lnTo>
                    <a:lnTo>
                      <a:pt x="150" y="36"/>
                    </a:lnTo>
                    <a:lnTo>
                      <a:pt x="144" y="30"/>
                    </a:lnTo>
                    <a:lnTo>
                      <a:pt x="144" y="24"/>
                    </a:lnTo>
                    <a:lnTo>
                      <a:pt x="132" y="36"/>
                    </a:lnTo>
                    <a:lnTo>
                      <a:pt x="120" y="42"/>
                    </a:lnTo>
                    <a:lnTo>
                      <a:pt x="114" y="48"/>
                    </a:lnTo>
                    <a:lnTo>
                      <a:pt x="102" y="54"/>
                    </a:lnTo>
                    <a:lnTo>
                      <a:pt x="96" y="66"/>
                    </a:lnTo>
                    <a:lnTo>
                      <a:pt x="96" y="84"/>
                    </a:lnTo>
                    <a:lnTo>
                      <a:pt x="90" y="90"/>
                    </a:lnTo>
                    <a:lnTo>
                      <a:pt x="90" y="102"/>
                    </a:lnTo>
                    <a:lnTo>
                      <a:pt x="60" y="132"/>
                    </a:lnTo>
                    <a:lnTo>
                      <a:pt x="72" y="144"/>
                    </a:lnTo>
                    <a:lnTo>
                      <a:pt x="42" y="144"/>
                    </a:lnTo>
                    <a:lnTo>
                      <a:pt x="18" y="156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249" name="Belgium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C2754BD-B929-461A-8C04-BB938FCB7CF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66505" y="2668278"/>
                <a:ext cx="99589" cy="69086"/>
              </a:xfrm>
              <a:custGeom>
                <a:avLst/>
                <a:gdLst>
                  <a:gd name="T0" fmla="*/ 0 w 222"/>
                  <a:gd name="T1" fmla="*/ 2147483647 h 150"/>
                  <a:gd name="T2" fmla="*/ 2147483647 w 222"/>
                  <a:gd name="T3" fmla="*/ 2147483647 h 150"/>
                  <a:gd name="T4" fmla="*/ 2147483647 w 222"/>
                  <a:gd name="T5" fmla="*/ 2147483647 h 150"/>
                  <a:gd name="T6" fmla="*/ 2147483647 w 222"/>
                  <a:gd name="T7" fmla="*/ 2147483647 h 150"/>
                  <a:gd name="T8" fmla="*/ 2147483647 w 222"/>
                  <a:gd name="T9" fmla="*/ 2147483647 h 150"/>
                  <a:gd name="T10" fmla="*/ 2147483647 w 222"/>
                  <a:gd name="T11" fmla="*/ 2147483647 h 150"/>
                  <a:gd name="T12" fmla="*/ 2147483647 w 222"/>
                  <a:gd name="T13" fmla="*/ 2147483647 h 150"/>
                  <a:gd name="T14" fmla="*/ 2147483647 w 222"/>
                  <a:gd name="T15" fmla="*/ 2147483647 h 150"/>
                  <a:gd name="T16" fmla="*/ 2147483647 w 222"/>
                  <a:gd name="T17" fmla="*/ 2147483647 h 150"/>
                  <a:gd name="T18" fmla="*/ 2147483647 w 222"/>
                  <a:gd name="T19" fmla="*/ 2147483647 h 150"/>
                  <a:gd name="T20" fmla="*/ 2147483647 w 222"/>
                  <a:gd name="T21" fmla="*/ 2147483647 h 150"/>
                  <a:gd name="T22" fmla="*/ 2147483647 w 222"/>
                  <a:gd name="T23" fmla="*/ 2147483647 h 150"/>
                  <a:gd name="T24" fmla="*/ 2147483647 w 222"/>
                  <a:gd name="T25" fmla="*/ 2147483647 h 150"/>
                  <a:gd name="T26" fmla="*/ 2147483647 w 222"/>
                  <a:gd name="T27" fmla="*/ 2147483647 h 150"/>
                  <a:gd name="T28" fmla="*/ 2147483647 w 222"/>
                  <a:gd name="T29" fmla="*/ 2147483647 h 150"/>
                  <a:gd name="T30" fmla="*/ 2147483647 w 222"/>
                  <a:gd name="T31" fmla="*/ 2147483647 h 150"/>
                  <a:gd name="T32" fmla="*/ 2147483647 w 222"/>
                  <a:gd name="T33" fmla="*/ 2147483647 h 150"/>
                  <a:gd name="T34" fmla="*/ 2147483647 w 222"/>
                  <a:gd name="T35" fmla="*/ 2147483647 h 150"/>
                  <a:gd name="T36" fmla="*/ 2147483647 w 222"/>
                  <a:gd name="T37" fmla="*/ 2147483647 h 150"/>
                  <a:gd name="T38" fmla="*/ 2147483647 w 222"/>
                  <a:gd name="T39" fmla="*/ 2147483647 h 150"/>
                  <a:gd name="T40" fmla="*/ 2147483647 w 222"/>
                  <a:gd name="T41" fmla="*/ 2147483647 h 150"/>
                  <a:gd name="T42" fmla="*/ 2147483647 w 222"/>
                  <a:gd name="T43" fmla="*/ 2147483647 h 150"/>
                  <a:gd name="T44" fmla="*/ 2147483647 w 222"/>
                  <a:gd name="T45" fmla="*/ 2147483647 h 150"/>
                  <a:gd name="T46" fmla="*/ 2147483647 w 222"/>
                  <a:gd name="T47" fmla="*/ 2147483647 h 150"/>
                  <a:gd name="T48" fmla="*/ 2147483647 w 222"/>
                  <a:gd name="T49" fmla="*/ 2147483647 h 150"/>
                  <a:gd name="T50" fmla="*/ 2147483647 w 222"/>
                  <a:gd name="T51" fmla="*/ 2147483647 h 150"/>
                  <a:gd name="T52" fmla="*/ 2147483647 w 222"/>
                  <a:gd name="T53" fmla="*/ 2147483647 h 150"/>
                  <a:gd name="T54" fmla="*/ 2147483647 w 222"/>
                  <a:gd name="T55" fmla="*/ 2147483647 h 150"/>
                  <a:gd name="T56" fmla="*/ 2147483647 w 222"/>
                  <a:gd name="T57" fmla="*/ 2147483647 h 150"/>
                  <a:gd name="T58" fmla="*/ 2147483647 w 222"/>
                  <a:gd name="T59" fmla="*/ 2147483647 h 150"/>
                  <a:gd name="T60" fmla="*/ 2147483647 w 222"/>
                  <a:gd name="T61" fmla="*/ 2147483647 h 150"/>
                  <a:gd name="T62" fmla="*/ 2147483647 w 222"/>
                  <a:gd name="T63" fmla="*/ 2147483647 h 150"/>
                  <a:gd name="T64" fmla="*/ 2147483647 w 222"/>
                  <a:gd name="T65" fmla="*/ 2147483647 h 150"/>
                  <a:gd name="T66" fmla="*/ 2147483647 w 222"/>
                  <a:gd name="T67" fmla="*/ 2147483647 h 150"/>
                  <a:gd name="T68" fmla="*/ 2147483647 w 222"/>
                  <a:gd name="T69" fmla="*/ 2147483647 h 150"/>
                  <a:gd name="T70" fmla="*/ 2147483647 w 222"/>
                  <a:gd name="T71" fmla="*/ 2147483647 h 150"/>
                  <a:gd name="T72" fmla="*/ 2147483647 w 222"/>
                  <a:gd name="T73" fmla="*/ 2147483647 h 150"/>
                  <a:gd name="T74" fmla="*/ 2147483647 w 222"/>
                  <a:gd name="T75" fmla="*/ 2147483647 h 150"/>
                  <a:gd name="T76" fmla="*/ 2147483647 w 222"/>
                  <a:gd name="T77" fmla="*/ 2147483647 h 150"/>
                  <a:gd name="T78" fmla="*/ 2147483647 w 222"/>
                  <a:gd name="T79" fmla="*/ 2147483647 h 150"/>
                  <a:gd name="T80" fmla="*/ 2147483647 w 222"/>
                  <a:gd name="T81" fmla="*/ 0 h 150"/>
                  <a:gd name="T82" fmla="*/ 2147483647 w 222"/>
                  <a:gd name="T83" fmla="*/ 0 h 150"/>
                  <a:gd name="T84" fmla="*/ 2147483647 w 222"/>
                  <a:gd name="T85" fmla="*/ 2147483647 h 150"/>
                  <a:gd name="T86" fmla="*/ 2147483647 w 222"/>
                  <a:gd name="T87" fmla="*/ 0 h 150"/>
                  <a:gd name="T88" fmla="*/ 2147483647 w 222"/>
                  <a:gd name="T89" fmla="*/ 2147483647 h 150"/>
                  <a:gd name="T90" fmla="*/ 2147483647 w 222"/>
                  <a:gd name="T91" fmla="*/ 2147483647 h 150"/>
                  <a:gd name="T92" fmla="*/ 2147483647 w 222"/>
                  <a:gd name="T93" fmla="*/ 2147483647 h 150"/>
                  <a:gd name="T94" fmla="*/ 2147483647 w 222"/>
                  <a:gd name="T95" fmla="*/ 2147483647 h 150"/>
                  <a:gd name="T96" fmla="*/ 2147483647 w 222"/>
                  <a:gd name="T97" fmla="*/ 2147483647 h 150"/>
                  <a:gd name="T98" fmla="*/ 2147483647 w 222"/>
                  <a:gd name="T99" fmla="*/ 2147483647 h 150"/>
                  <a:gd name="T100" fmla="*/ 2147483647 w 222"/>
                  <a:gd name="T101" fmla="*/ 2147483647 h 150"/>
                  <a:gd name="T102" fmla="*/ 0 w 222"/>
                  <a:gd name="T103" fmla="*/ 2147483647 h 150"/>
                  <a:gd name="T104" fmla="*/ 0 w 222"/>
                  <a:gd name="T105" fmla="*/ 2147483647 h 15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22"/>
                  <a:gd name="T160" fmla="*/ 0 h 150"/>
                  <a:gd name="T161" fmla="*/ 222 w 222"/>
                  <a:gd name="T162" fmla="*/ 150 h 15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22" h="150">
                    <a:moveTo>
                      <a:pt x="0" y="42"/>
                    </a:moveTo>
                    <a:lnTo>
                      <a:pt x="6" y="60"/>
                    </a:lnTo>
                    <a:lnTo>
                      <a:pt x="30" y="66"/>
                    </a:lnTo>
                    <a:lnTo>
                      <a:pt x="42" y="78"/>
                    </a:lnTo>
                    <a:lnTo>
                      <a:pt x="66" y="78"/>
                    </a:lnTo>
                    <a:lnTo>
                      <a:pt x="78" y="84"/>
                    </a:lnTo>
                    <a:lnTo>
                      <a:pt x="84" y="90"/>
                    </a:lnTo>
                    <a:lnTo>
                      <a:pt x="84" y="114"/>
                    </a:lnTo>
                    <a:lnTo>
                      <a:pt x="108" y="114"/>
                    </a:lnTo>
                    <a:lnTo>
                      <a:pt x="120" y="102"/>
                    </a:lnTo>
                    <a:lnTo>
                      <a:pt x="120" y="126"/>
                    </a:lnTo>
                    <a:lnTo>
                      <a:pt x="132" y="126"/>
                    </a:lnTo>
                    <a:lnTo>
                      <a:pt x="144" y="132"/>
                    </a:lnTo>
                    <a:lnTo>
                      <a:pt x="150" y="132"/>
                    </a:lnTo>
                    <a:lnTo>
                      <a:pt x="162" y="144"/>
                    </a:lnTo>
                    <a:lnTo>
                      <a:pt x="180" y="144"/>
                    </a:lnTo>
                    <a:lnTo>
                      <a:pt x="192" y="150"/>
                    </a:lnTo>
                    <a:lnTo>
                      <a:pt x="192" y="144"/>
                    </a:lnTo>
                    <a:lnTo>
                      <a:pt x="186" y="132"/>
                    </a:lnTo>
                    <a:lnTo>
                      <a:pt x="174" y="120"/>
                    </a:lnTo>
                    <a:lnTo>
                      <a:pt x="174" y="114"/>
                    </a:lnTo>
                    <a:lnTo>
                      <a:pt x="180" y="114"/>
                    </a:lnTo>
                    <a:lnTo>
                      <a:pt x="192" y="108"/>
                    </a:lnTo>
                    <a:lnTo>
                      <a:pt x="198" y="102"/>
                    </a:lnTo>
                    <a:lnTo>
                      <a:pt x="204" y="102"/>
                    </a:lnTo>
                    <a:lnTo>
                      <a:pt x="204" y="96"/>
                    </a:lnTo>
                    <a:lnTo>
                      <a:pt x="210" y="90"/>
                    </a:lnTo>
                    <a:lnTo>
                      <a:pt x="222" y="90"/>
                    </a:lnTo>
                    <a:lnTo>
                      <a:pt x="216" y="84"/>
                    </a:lnTo>
                    <a:lnTo>
                      <a:pt x="216" y="66"/>
                    </a:lnTo>
                    <a:lnTo>
                      <a:pt x="204" y="54"/>
                    </a:lnTo>
                    <a:lnTo>
                      <a:pt x="180" y="54"/>
                    </a:lnTo>
                    <a:lnTo>
                      <a:pt x="180" y="42"/>
                    </a:lnTo>
                    <a:lnTo>
                      <a:pt x="186" y="36"/>
                    </a:lnTo>
                    <a:lnTo>
                      <a:pt x="186" y="18"/>
                    </a:lnTo>
                    <a:lnTo>
                      <a:pt x="180" y="12"/>
                    </a:lnTo>
                    <a:lnTo>
                      <a:pt x="174" y="12"/>
                    </a:lnTo>
                    <a:lnTo>
                      <a:pt x="162" y="18"/>
                    </a:lnTo>
                    <a:lnTo>
                      <a:pt x="150" y="18"/>
                    </a:lnTo>
                    <a:lnTo>
                      <a:pt x="144" y="12"/>
                    </a:lnTo>
                    <a:lnTo>
                      <a:pt x="144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96" y="0"/>
                    </a:lnTo>
                    <a:lnTo>
                      <a:pt x="96" y="12"/>
                    </a:lnTo>
                    <a:lnTo>
                      <a:pt x="78" y="6"/>
                    </a:lnTo>
                    <a:lnTo>
                      <a:pt x="72" y="18"/>
                    </a:lnTo>
                    <a:lnTo>
                      <a:pt x="66" y="12"/>
                    </a:lnTo>
                    <a:lnTo>
                      <a:pt x="42" y="12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0" y="24"/>
                    </a:lnTo>
                    <a:lnTo>
                      <a:pt x="0" y="42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spcBef>
                    <a:spcPct val="0"/>
                  </a:spcBef>
                  <a:defRPr/>
                </a:pPr>
                <a:endParaRPr lang="en-GB" sz="633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  <p:grpSp>
          <p:nvGrpSpPr>
            <p:cNvPr id="206" name="South_america">
              <a:extLst>
                <a:ext uri="{FF2B5EF4-FFF2-40B4-BE49-F238E27FC236}">
                  <a16:creationId xmlns:a16="http://schemas.microsoft.com/office/drawing/2014/main" id="{43A3C102-142A-4D87-A51C-5D35E3A17F62}"/>
                </a:ext>
              </a:extLst>
            </p:cNvPr>
            <p:cNvGrpSpPr/>
            <p:nvPr/>
          </p:nvGrpSpPr>
          <p:grpSpPr>
            <a:xfrm>
              <a:off x="2519972" y="3699367"/>
              <a:ext cx="1737116" cy="2899714"/>
              <a:chOff x="2986340" y="4069470"/>
              <a:chExt cx="1467625" cy="2449861"/>
            </a:xfrm>
            <a:solidFill>
              <a:srgbClr val="006B52"/>
            </a:solidFill>
          </p:grpSpPr>
          <p:sp>
            <p:nvSpPr>
              <p:cNvPr id="227" name="Uruguay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7975D69-8149-4C51-8D81-C191B92EB80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07512" y="5612369"/>
                <a:ext cx="164234" cy="171828"/>
              </a:xfrm>
              <a:custGeom>
                <a:avLst/>
                <a:gdLst>
                  <a:gd name="T0" fmla="*/ 2147483647 w 366"/>
                  <a:gd name="T1" fmla="*/ 2147483647 h 384"/>
                  <a:gd name="T2" fmla="*/ 2147483647 w 366"/>
                  <a:gd name="T3" fmla="*/ 2147483647 h 384"/>
                  <a:gd name="T4" fmla="*/ 2147483647 w 366"/>
                  <a:gd name="T5" fmla="*/ 2147483647 h 384"/>
                  <a:gd name="T6" fmla="*/ 2147483647 w 366"/>
                  <a:gd name="T7" fmla="*/ 2147483647 h 384"/>
                  <a:gd name="T8" fmla="*/ 2147483647 w 366"/>
                  <a:gd name="T9" fmla="*/ 2147483647 h 384"/>
                  <a:gd name="T10" fmla="*/ 2147483647 w 366"/>
                  <a:gd name="T11" fmla="*/ 2147483647 h 384"/>
                  <a:gd name="T12" fmla="*/ 2147483647 w 366"/>
                  <a:gd name="T13" fmla="*/ 2147483647 h 384"/>
                  <a:gd name="T14" fmla="*/ 2147483647 w 366"/>
                  <a:gd name="T15" fmla="*/ 2147483647 h 384"/>
                  <a:gd name="T16" fmla="*/ 2147483647 w 366"/>
                  <a:gd name="T17" fmla="*/ 2147483647 h 384"/>
                  <a:gd name="T18" fmla="*/ 2147483647 w 366"/>
                  <a:gd name="T19" fmla="*/ 2147483647 h 384"/>
                  <a:gd name="T20" fmla="*/ 2147483647 w 366"/>
                  <a:gd name="T21" fmla="*/ 2147483647 h 384"/>
                  <a:gd name="T22" fmla="*/ 2147483647 w 366"/>
                  <a:gd name="T23" fmla="*/ 2147483647 h 384"/>
                  <a:gd name="T24" fmla="*/ 2147483647 w 366"/>
                  <a:gd name="T25" fmla="*/ 2147483647 h 384"/>
                  <a:gd name="T26" fmla="*/ 2147483647 w 366"/>
                  <a:gd name="T27" fmla="*/ 2147483647 h 384"/>
                  <a:gd name="T28" fmla="*/ 2147483647 w 366"/>
                  <a:gd name="T29" fmla="*/ 2147483647 h 384"/>
                  <a:gd name="T30" fmla="*/ 2147483647 w 366"/>
                  <a:gd name="T31" fmla="*/ 2147483647 h 384"/>
                  <a:gd name="T32" fmla="*/ 2147483647 w 366"/>
                  <a:gd name="T33" fmla="*/ 2147483647 h 384"/>
                  <a:gd name="T34" fmla="*/ 2147483647 w 366"/>
                  <a:gd name="T35" fmla="*/ 2147483647 h 384"/>
                  <a:gd name="T36" fmla="*/ 2147483647 w 366"/>
                  <a:gd name="T37" fmla="*/ 2147483647 h 384"/>
                  <a:gd name="T38" fmla="*/ 2147483647 w 366"/>
                  <a:gd name="T39" fmla="*/ 2147483647 h 384"/>
                  <a:gd name="T40" fmla="*/ 2147483647 w 366"/>
                  <a:gd name="T41" fmla="*/ 2147483647 h 384"/>
                  <a:gd name="T42" fmla="*/ 2147483647 w 366"/>
                  <a:gd name="T43" fmla="*/ 2147483647 h 384"/>
                  <a:gd name="T44" fmla="*/ 2147483647 w 366"/>
                  <a:gd name="T45" fmla="*/ 0 h 384"/>
                  <a:gd name="T46" fmla="*/ 2147483647 w 366"/>
                  <a:gd name="T47" fmla="*/ 2147483647 h 384"/>
                  <a:gd name="T48" fmla="*/ 2147483647 w 366"/>
                  <a:gd name="T49" fmla="*/ 2147483647 h 384"/>
                  <a:gd name="T50" fmla="*/ 0 w 366"/>
                  <a:gd name="T51" fmla="*/ 2147483647 h 384"/>
                  <a:gd name="T52" fmla="*/ 2147483647 w 366"/>
                  <a:gd name="T53" fmla="*/ 2147483647 h 384"/>
                  <a:gd name="T54" fmla="*/ 2147483647 w 366"/>
                  <a:gd name="T55" fmla="*/ 2147483647 h 384"/>
                  <a:gd name="T56" fmla="*/ 2147483647 w 366"/>
                  <a:gd name="T57" fmla="*/ 2147483647 h 384"/>
                  <a:gd name="T58" fmla="*/ 2147483647 w 366"/>
                  <a:gd name="T59" fmla="*/ 2147483647 h 384"/>
                  <a:gd name="T60" fmla="*/ 2147483647 w 366"/>
                  <a:gd name="T61" fmla="*/ 2147483647 h 384"/>
                  <a:gd name="T62" fmla="*/ 2147483647 w 366"/>
                  <a:gd name="T63" fmla="*/ 2147483647 h 384"/>
                  <a:gd name="T64" fmla="*/ 2147483647 w 366"/>
                  <a:gd name="T65" fmla="*/ 2147483647 h 384"/>
                  <a:gd name="T66" fmla="*/ 2147483647 w 366"/>
                  <a:gd name="T67" fmla="*/ 2147483647 h 384"/>
                  <a:gd name="T68" fmla="*/ 2147483647 w 366"/>
                  <a:gd name="T69" fmla="*/ 2147483647 h 384"/>
                  <a:gd name="T70" fmla="*/ 2147483647 w 366"/>
                  <a:gd name="T71" fmla="*/ 2147483647 h 384"/>
                  <a:gd name="T72" fmla="*/ 2147483647 w 366"/>
                  <a:gd name="T73" fmla="*/ 2147483647 h 384"/>
                  <a:gd name="T74" fmla="*/ 2147483647 w 366"/>
                  <a:gd name="T75" fmla="*/ 2147483647 h 384"/>
                  <a:gd name="T76" fmla="*/ 2147483647 w 366"/>
                  <a:gd name="T77" fmla="*/ 2147483647 h 38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66"/>
                  <a:gd name="T118" fmla="*/ 0 h 384"/>
                  <a:gd name="T119" fmla="*/ 366 w 366"/>
                  <a:gd name="T120" fmla="*/ 384 h 38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66" h="384">
                    <a:moveTo>
                      <a:pt x="138" y="372"/>
                    </a:moveTo>
                    <a:lnTo>
                      <a:pt x="174" y="372"/>
                    </a:lnTo>
                    <a:lnTo>
                      <a:pt x="198" y="378"/>
                    </a:lnTo>
                    <a:lnTo>
                      <a:pt x="228" y="378"/>
                    </a:lnTo>
                    <a:lnTo>
                      <a:pt x="288" y="384"/>
                    </a:lnTo>
                    <a:lnTo>
                      <a:pt x="330" y="366"/>
                    </a:lnTo>
                    <a:lnTo>
                      <a:pt x="342" y="354"/>
                    </a:lnTo>
                    <a:lnTo>
                      <a:pt x="360" y="300"/>
                    </a:lnTo>
                    <a:lnTo>
                      <a:pt x="366" y="294"/>
                    </a:lnTo>
                    <a:lnTo>
                      <a:pt x="348" y="294"/>
                    </a:lnTo>
                    <a:lnTo>
                      <a:pt x="348" y="264"/>
                    </a:lnTo>
                    <a:lnTo>
                      <a:pt x="342" y="264"/>
                    </a:lnTo>
                    <a:lnTo>
                      <a:pt x="342" y="240"/>
                    </a:lnTo>
                    <a:lnTo>
                      <a:pt x="348" y="234"/>
                    </a:lnTo>
                    <a:lnTo>
                      <a:pt x="360" y="210"/>
                    </a:lnTo>
                    <a:lnTo>
                      <a:pt x="360" y="198"/>
                    </a:lnTo>
                    <a:lnTo>
                      <a:pt x="354" y="198"/>
                    </a:lnTo>
                    <a:lnTo>
                      <a:pt x="342" y="192"/>
                    </a:lnTo>
                    <a:lnTo>
                      <a:pt x="336" y="192"/>
                    </a:lnTo>
                    <a:lnTo>
                      <a:pt x="318" y="174"/>
                    </a:lnTo>
                    <a:lnTo>
                      <a:pt x="312" y="162"/>
                    </a:lnTo>
                    <a:lnTo>
                      <a:pt x="306" y="156"/>
                    </a:lnTo>
                    <a:lnTo>
                      <a:pt x="300" y="144"/>
                    </a:lnTo>
                    <a:lnTo>
                      <a:pt x="288" y="144"/>
                    </a:lnTo>
                    <a:lnTo>
                      <a:pt x="270" y="138"/>
                    </a:lnTo>
                    <a:lnTo>
                      <a:pt x="258" y="132"/>
                    </a:lnTo>
                    <a:lnTo>
                      <a:pt x="252" y="126"/>
                    </a:lnTo>
                    <a:lnTo>
                      <a:pt x="252" y="114"/>
                    </a:lnTo>
                    <a:lnTo>
                      <a:pt x="246" y="114"/>
                    </a:lnTo>
                    <a:lnTo>
                      <a:pt x="228" y="96"/>
                    </a:lnTo>
                    <a:lnTo>
                      <a:pt x="210" y="96"/>
                    </a:lnTo>
                    <a:lnTo>
                      <a:pt x="192" y="78"/>
                    </a:lnTo>
                    <a:lnTo>
                      <a:pt x="186" y="66"/>
                    </a:lnTo>
                    <a:lnTo>
                      <a:pt x="174" y="60"/>
                    </a:lnTo>
                    <a:lnTo>
                      <a:pt x="168" y="60"/>
                    </a:lnTo>
                    <a:lnTo>
                      <a:pt x="156" y="72"/>
                    </a:lnTo>
                    <a:lnTo>
                      <a:pt x="156" y="78"/>
                    </a:lnTo>
                    <a:lnTo>
                      <a:pt x="144" y="78"/>
                    </a:lnTo>
                    <a:lnTo>
                      <a:pt x="144" y="66"/>
                    </a:lnTo>
                    <a:lnTo>
                      <a:pt x="132" y="54"/>
                    </a:lnTo>
                    <a:lnTo>
                      <a:pt x="126" y="42"/>
                    </a:lnTo>
                    <a:lnTo>
                      <a:pt x="120" y="36"/>
                    </a:lnTo>
                    <a:lnTo>
                      <a:pt x="108" y="30"/>
                    </a:lnTo>
                    <a:lnTo>
                      <a:pt x="102" y="18"/>
                    </a:lnTo>
                    <a:lnTo>
                      <a:pt x="78" y="6"/>
                    </a:lnTo>
                    <a:lnTo>
                      <a:pt x="72" y="0"/>
                    </a:lnTo>
                    <a:lnTo>
                      <a:pt x="60" y="0"/>
                    </a:lnTo>
                    <a:lnTo>
                      <a:pt x="48" y="6"/>
                    </a:lnTo>
                    <a:lnTo>
                      <a:pt x="42" y="12"/>
                    </a:lnTo>
                    <a:lnTo>
                      <a:pt x="18" y="12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24" y="60"/>
                    </a:lnTo>
                    <a:lnTo>
                      <a:pt x="30" y="60"/>
                    </a:lnTo>
                    <a:lnTo>
                      <a:pt x="6" y="72"/>
                    </a:lnTo>
                    <a:lnTo>
                      <a:pt x="6" y="108"/>
                    </a:lnTo>
                    <a:lnTo>
                      <a:pt x="30" y="126"/>
                    </a:lnTo>
                    <a:lnTo>
                      <a:pt x="12" y="126"/>
                    </a:lnTo>
                    <a:lnTo>
                      <a:pt x="0" y="138"/>
                    </a:lnTo>
                    <a:lnTo>
                      <a:pt x="6" y="144"/>
                    </a:lnTo>
                    <a:lnTo>
                      <a:pt x="12" y="156"/>
                    </a:lnTo>
                    <a:lnTo>
                      <a:pt x="24" y="168"/>
                    </a:lnTo>
                    <a:lnTo>
                      <a:pt x="12" y="186"/>
                    </a:lnTo>
                    <a:lnTo>
                      <a:pt x="18" y="192"/>
                    </a:lnTo>
                    <a:lnTo>
                      <a:pt x="24" y="204"/>
                    </a:lnTo>
                    <a:lnTo>
                      <a:pt x="36" y="210"/>
                    </a:lnTo>
                    <a:lnTo>
                      <a:pt x="42" y="222"/>
                    </a:lnTo>
                    <a:lnTo>
                      <a:pt x="42" y="228"/>
                    </a:lnTo>
                    <a:lnTo>
                      <a:pt x="36" y="228"/>
                    </a:lnTo>
                    <a:lnTo>
                      <a:pt x="30" y="234"/>
                    </a:lnTo>
                    <a:lnTo>
                      <a:pt x="6" y="234"/>
                    </a:lnTo>
                    <a:lnTo>
                      <a:pt x="6" y="282"/>
                    </a:lnTo>
                    <a:lnTo>
                      <a:pt x="36" y="318"/>
                    </a:lnTo>
                    <a:lnTo>
                      <a:pt x="42" y="318"/>
                    </a:lnTo>
                    <a:lnTo>
                      <a:pt x="54" y="324"/>
                    </a:lnTo>
                    <a:lnTo>
                      <a:pt x="78" y="348"/>
                    </a:lnTo>
                    <a:lnTo>
                      <a:pt x="90" y="354"/>
                    </a:lnTo>
                    <a:lnTo>
                      <a:pt x="126" y="354"/>
                    </a:lnTo>
                    <a:lnTo>
                      <a:pt x="138" y="37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8" name="Surinam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7013A3E-8A36-4538-9DFE-8312863E3F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8404" y="4305067"/>
                <a:ext cx="129291" cy="150571"/>
              </a:xfrm>
              <a:custGeom>
                <a:avLst/>
                <a:gdLst>
                  <a:gd name="T0" fmla="*/ 2147483647 w 294"/>
                  <a:gd name="T1" fmla="*/ 2147483647 h 336"/>
                  <a:gd name="T2" fmla="*/ 2147483647 w 294"/>
                  <a:gd name="T3" fmla="*/ 2147483647 h 336"/>
                  <a:gd name="T4" fmla="*/ 2147483647 w 294"/>
                  <a:gd name="T5" fmla="*/ 2147483647 h 336"/>
                  <a:gd name="T6" fmla="*/ 0 w 294"/>
                  <a:gd name="T7" fmla="*/ 2147483647 h 336"/>
                  <a:gd name="T8" fmla="*/ 2147483647 w 294"/>
                  <a:gd name="T9" fmla="*/ 2147483647 h 336"/>
                  <a:gd name="T10" fmla="*/ 2147483647 w 294"/>
                  <a:gd name="T11" fmla="*/ 2147483647 h 336"/>
                  <a:gd name="T12" fmla="*/ 2147483647 w 294"/>
                  <a:gd name="T13" fmla="*/ 2147483647 h 336"/>
                  <a:gd name="T14" fmla="*/ 2147483647 w 294"/>
                  <a:gd name="T15" fmla="*/ 2147483647 h 336"/>
                  <a:gd name="T16" fmla="*/ 2147483647 w 294"/>
                  <a:gd name="T17" fmla="*/ 2147483647 h 336"/>
                  <a:gd name="T18" fmla="*/ 2147483647 w 294"/>
                  <a:gd name="T19" fmla="*/ 2147483647 h 336"/>
                  <a:gd name="T20" fmla="*/ 2147483647 w 294"/>
                  <a:gd name="T21" fmla="*/ 2147483647 h 336"/>
                  <a:gd name="T22" fmla="*/ 2147483647 w 294"/>
                  <a:gd name="T23" fmla="*/ 2147483647 h 336"/>
                  <a:gd name="T24" fmla="*/ 2147483647 w 294"/>
                  <a:gd name="T25" fmla="*/ 2147483647 h 336"/>
                  <a:gd name="T26" fmla="*/ 2147483647 w 294"/>
                  <a:gd name="T27" fmla="*/ 2147483647 h 336"/>
                  <a:gd name="T28" fmla="*/ 2147483647 w 294"/>
                  <a:gd name="T29" fmla="*/ 2147483647 h 336"/>
                  <a:gd name="T30" fmla="*/ 2147483647 w 294"/>
                  <a:gd name="T31" fmla="*/ 2147483647 h 336"/>
                  <a:gd name="T32" fmla="*/ 2147483647 w 294"/>
                  <a:gd name="T33" fmla="*/ 2147483647 h 336"/>
                  <a:gd name="T34" fmla="*/ 2147483647 w 294"/>
                  <a:gd name="T35" fmla="*/ 2147483647 h 336"/>
                  <a:gd name="T36" fmla="*/ 2147483647 w 294"/>
                  <a:gd name="T37" fmla="*/ 2147483647 h 336"/>
                  <a:gd name="T38" fmla="*/ 2147483647 w 294"/>
                  <a:gd name="T39" fmla="*/ 2147483647 h 336"/>
                  <a:gd name="T40" fmla="*/ 2147483647 w 294"/>
                  <a:gd name="T41" fmla="*/ 2147483647 h 336"/>
                  <a:gd name="T42" fmla="*/ 2147483647 w 294"/>
                  <a:gd name="T43" fmla="*/ 2147483647 h 336"/>
                  <a:gd name="T44" fmla="*/ 2147483647 w 294"/>
                  <a:gd name="T45" fmla="*/ 2147483647 h 336"/>
                  <a:gd name="T46" fmla="*/ 2147483647 w 294"/>
                  <a:gd name="T47" fmla="*/ 2147483647 h 336"/>
                  <a:gd name="T48" fmla="*/ 2147483647 w 294"/>
                  <a:gd name="T49" fmla="*/ 2147483647 h 336"/>
                  <a:gd name="T50" fmla="*/ 2147483647 w 294"/>
                  <a:gd name="T51" fmla="*/ 2147483647 h 336"/>
                  <a:gd name="T52" fmla="*/ 2147483647 w 294"/>
                  <a:gd name="T53" fmla="*/ 2147483647 h 336"/>
                  <a:gd name="T54" fmla="*/ 2147483647 w 294"/>
                  <a:gd name="T55" fmla="*/ 2147483647 h 336"/>
                  <a:gd name="T56" fmla="*/ 2147483647 w 294"/>
                  <a:gd name="T57" fmla="*/ 2147483647 h 336"/>
                  <a:gd name="T58" fmla="*/ 2147483647 w 294"/>
                  <a:gd name="T59" fmla="*/ 2147483647 h 336"/>
                  <a:gd name="T60" fmla="*/ 2147483647 w 294"/>
                  <a:gd name="T61" fmla="*/ 2147483647 h 336"/>
                  <a:gd name="T62" fmla="*/ 2147483647 w 294"/>
                  <a:gd name="T63" fmla="*/ 2147483647 h 336"/>
                  <a:gd name="T64" fmla="*/ 2147483647 w 294"/>
                  <a:gd name="T65" fmla="*/ 2147483647 h 336"/>
                  <a:gd name="T66" fmla="*/ 2147483647 w 294"/>
                  <a:gd name="T67" fmla="*/ 2147483647 h 336"/>
                  <a:gd name="T68" fmla="*/ 2147483647 w 294"/>
                  <a:gd name="T69" fmla="*/ 2147483647 h 336"/>
                  <a:gd name="T70" fmla="*/ 2147483647 w 294"/>
                  <a:gd name="T71" fmla="*/ 0 h 336"/>
                  <a:gd name="T72" fmla="*/ 2147483647 w 294"/>
                  <a:gd name="T73" fmla="*/ 2147483647 h 336"/>
                  <a:gd name="T74" fmla="*/ 2147483647 w 294"/>
                  <a:gd name="T75" fmla="*/ 2147483647 h 336"/>
                  <a:gd name="T76" fmla="*/ 2147483647 w 294"/>
                  <a:gd name="T77" fmla="*/ 2147483647 h 336"/>
                  <a:gd name="T78" fmla="*/ 2147483647 w 294"/>
                  <a:gd name="T79" fmla="*/ 2147483647 h 336"/>
                  <a:gd name="T80" fmla="*/ 2147483647 w 294"/>
                  <a:gd name="T81" fmla="*/ 2147483647 h 336"/>
                  <a:gd name="T82" fmla="*/ 2147483647 w 294"/>
                  <a:gd name="T83" fmla="*/ 2147483647 h 3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94"/>
                  <a:gd name="T127" fmla="*/ 0 h 336"/>
                  <a:gd name="T128" fmla="*/ 294 w 294"/>
                  <a:gd name="T129" fmla="*/ 336 h 3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94" h="336">
                    <a:moveTo>
                      <a:pt x="60" y="78"/>
                    </a:moveTo>
                    <a:lnTo>
                      <a:pt x="30" y="78"/>
                    </a:lnTo>
                    <a:lnTo>
                      <a:pt x="18" y="84"/>
                    </a:lnTo>
                    <a:lnTo>
                      <a:pt x="12" y="90"/>
                    </a:lnTo>
                    <a:lnTo>
                      <a:pt x="12" y="132"/>
                    </a:lnTo>
                    <a:lnTo>
                      <a:pt x="6" y="138"/>
                    </a:lnTo>
                    <a:lnTo>
                      <a:pt x="0" y="150"/>
                    </a:lnTo>
                    <a:lnTo>
                      <a:pt x="0" y="162"/>
                    </a:lnTo>
                    <a:lnTo>
                      <a:pt x="6" y="168"/>
                    </a:lnTo>
                    <a:lnTo>
                      <a:pt x="6" y="174"/>
                    </a:lnTo>
                    <a:lnTo>
                      <a:pt x="12" y="174"/>
                    </a:lnTo>
                    <a:lnTo>
                      <a:pt x="12" y="186"/>
                    </a:lnTo>
                    <a:lnTo>
                      <a:pt x="18" y="198"/>
                    </a:lnTo>
                    <a:lnTo>
                      <a:pt x="24" y="204"/>
                    </a:lnTo>
                    <a:lnTo>
                      <a:pt x="30" y="216"/>
                    </a:lnTo>
                    <a:lnTo>
                      <a:pt x="42" y="216"/>
                    </a:lnTo>
                    <a:lnTo>
                      <a:pt x="42" y="210"/>
                    </a:lnTo>
                    <a:lnTo>
                      <a:pt x="54" y="198"/>
                    </a:lnTo>
                    <a:lnTo>
                      <a:pt x="54" y="216"/>
                    </a:lnTo>
                    <a:lnTo>
                      <a:pt x="48" y="222"/>
                    </a:lnTo>
                    <a:lnTo>
                      <a:pt x="48" y="246"/>
                    </a:lnTo>
                    <a:lnTo>
                      <a:pt x="54" y="258"/>
                    </a:lnTo>
                    <a:lnTo>
                      <a:pt x="72" y="276"/>
                    </a:lnTo>
                    <a:lnTo>
                      <a:pt x="78" y="294"/>
                    </a:lnTo>
                    <a:lnTo>
                      <a:pt x="84" y="306"/>
                    </a:lnTo>
                    <a:lnTo>
                      <a:pt x="90" y="312"/>
                    </a:lnTo>
                    <a:lnTo>
                      <a:pt x="90" y="318"/>
                    </a:lnTo>
                    <a:lnTo>
                      <a:pt x="102" y="324"/>
                    </a:lnTo>
                    <a:lnTo>
                      <a:pt x="108" y="324"/>
                    </a:lnTo>
                    <a:lnTo>
                      <a:pt x="132" y="336"/>
                    </a:lnTo>
                    <a:lnTo>
                      <a:pt x="150" y="336"/>
                    </a:lnTo>
                    <a:lnTo>
                      <a:pt x="156" y="330"/>
                    </a:lnTo>
                    <a:lnTo>
                      <a:pt x="150" y="324"/>
                    </a:lnTo>
                    <a:lnTo>
                      <a:pt x="150" y="318"/>
                    </a:lnTo>
                    <a:lnTo>
                      <a:pt x="138" y="306"/>
                    </a:lnTo>
                    <a:lnTo>
                      <a:pt x="138" y="282"/>
                    </a:lnTo>
                    <a:lnTo>
                      <a:pt x="150" y="276"/>
                    </a:lnTo>
                    <a:lnTo>
                      <a:pt x="156" y="276"/>
                    </a:lnTo>
                    <a:lnTo>
                      <a:pt x="156" y="288"/>
                    </a:lnTo>
                    <a:lnTo>
                      <a:pt x="180" y="288"/>
                    </a:lnTo>
                    <a:lnTo>
                      <a:pt x="192" y="282"/>
                    </a:lnTo>
                    <a:lnTo>
                      <a:pt x="198" y="276"/>
                    </a:lnTo>
                    <a:lnTo>
                      <a:pt x="210" y="270"/>
                    </a:lnTo>
                    <a:lnTo>
                      <a:pt x="216" y="270"/>
                    </a:lnTo>
                    <a:lnTo>
                      <a:pt x="222" y="282"/>
                    </a:lnTo>
                    <a:lnTo>
                      <a:pt x="228" y="288"/>
                    </a:lnTo>
                    <a:lnTo>
                      <a:pt x="246" y="294"/>
                    </a:lnTo>
                    <a:lnTo>
                      <a:pt x="252" y="282"/>
                    </a:lnTo>
                    <a:lnTo>
                      <a:pt x="258" y="276"/>
                    </a:lnTo>
                    <a:lnTo>
                      <a:pt x="258" y="264"/>
                    </a:lnTo>
                    <a:lnTo>
                      <a:pt x="264" y="264"/>
                    </a:lnTo>
                    <a:lnTo>
                      <a:pt x="276" y="258"/>
                    </a:lnTo>
                    <a:lnTo>
                      <a:pt x="270" y="222"/>
                    </a:lnTo>
                    <a:lnTo>
                      <a:pt x="288" y="204"/>
                    </a:lnTo>
                    <a:lnTo>
                      <a:pt x="288" y="198"/>
                    </a:lnTo>
                    <a:lnTo>
                      <a:pt x="282" y="186"/>
                    </a:lnTo>
                    <a:lnTo>
                      <a:pt x="264" y="168"/>
                    </a:lnTo>
                    <a:lnTo>
                      <a:pt x="258" y="156"/>
                    </a:lnTo>
                    <a:lnTo>
                      <a:pt x="258" y="144"/>
                    </a:lnTo>
                    <a:lnTo>
                      <a:pt x="252" y="126"/>
                    </a:lnTo>
                    <a:lnTo>
                      <a:pt x="252" y="96"/>
                    </a:lnTo>
                    <a:lnTo>
                      <a:pt x="258" y="78"/>
                    </a:lnTo>
                    <a:lnTo>
                      <a:pt x="264" y="66"/>
                    </a:lnTo>
                    <a:lnTo>
                      <a:pt x="276" y="60"/>
                    </a:lnTo>
                    <a:lnTo>
                      <a:pt x="282" y="54"/>
                    </a:lnTo>
                    <a:lnTo>
                      <a:pt x="288" y="54"/>
                    </a:lnTo>
                    <a:lnTo>
                      <a:pt x="288" y="30"/>
                    </a:lnTo>
                    <a:lnTo>
                      <a:pt x="294" y="12"/>
                    </a:lnTo>
                    <a:lnTo>
                      <a:pt x="288" y="12"/>
                    </a:lnTo>
                    <a:lnTo>
                      <a:pt x="282" y="6"/>
                    </a:lnTo>
                    <a:lnTo>
                      <a:pt x="270" y="6"/>
                    </a:lnTo>
                    <a:lnTo>
                      <a:pt x="252" y="0"/>
                    </a:lnTo>
                    <a:lnTo>
                      <a:pt x="210" y="0"/>
                    </a:lnTo>
                    <a:lnTo>
                      <a:pt x="204" y="12"/>
                    </a:lnTo>
                    <a:lnTo>
                      <a:pt x="156" y="6"/>
                    </a:lnTo>
                    <a:lnTo>
                      <a:pt x="156" y="18"/>
                    </a:lnTo>
                    <a:lnTo>
                      <a:pt x="96" y="0"/>
                    </a:lnTo>
                    <a:lnTo>
                      <a:pt x="72" y="6"/>
                    </a:lnTo>
                    <a:lnTo>
                      <a:pt x="66" y="18"/>
                    </a:lnTo>
                    <a:lnTo>
                      <a:pt x="60" y="24"/>
                    </a:lnTo>
                    <a:lnTo>
                      <a:pt x="54" y="36"/>
                    </a:lnTo>
                    <a:lnTo>
                      <a:pt x="54" y="48"/>
                    </a:lnTo>
                    <a:lnTo>
                      <a:pt x="66" y="60"/>
                    </a:lnTo>
                    <a:lnTo>
                      <a:pt x="66" y="72"/>
                    </a:lnTo>
                    <a:lnTo>
                      <a:pt x="60" y="7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9" name="Peru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08C1270-60E7-401A-B8F6-ADCEEB1422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86340" y="4519404"/>
                <a:ext cx="415828" cy="669593"/>
              </a:xfrm>
              <a:custGeom>
                <a:avLst/>
                <a:gdLst>
                  <a:gd name="T0" fmla="*/ 2147483647 w 942"/>
                  <a:gd name="T1" fmla="*/ 2147483647 h 1488"/>
                  <a:gd name="T2" fmla="*/ 2147483647 w 942"/>
                  <a:gd name="T3" fmla="*/ 2147483647 h 1488"/>
                  <a:gd name="T4" fmla="*/ 2147483647 w 942"/>
                  <a:gd name="T5" fmla="*/ 2147483647 h 1488"/>
                  <a:gd name="T6" fmla="*/ 2147483647 w 942"/>
                  <a:gd name="T7" fmla="*/ 2147483647 h 1488"/>
                  <a:gd name="T8" fmla="*/ 2147483647 w 942"/>
                  <a:gd name="T9" fmla="*/ 2147483647 h 1488"/>
                  <a:gd name="T10" fmla="*/ 2147483647 w 942"/>
                  <a:gd name="T11" fmla="*/ 2147483647 h 1488"/>
                  <a:gd name="T12" fmla="*/ 2147483647 w 942"/>
                  <a:gd name="T13" fmla="*/ 2147483647 h 1488"/>
                  <a:gd name="T14" fmla="*/ 2147483647 w 942"/>
                  <a:gd name="T15" fmla="*/ 2147483647 h 1488"/>
                  <a:gd name="T16" fmla="*/ 2147483647 w 942"/>
                  <a:gd name="T17" fmla="*/ 2147483647 h 1488"/>
                  <a:gd name="T18" fmla="*/ 2147483647 w 942"/>
                  <a:gd name="T19" fmla="*/ 2147483647 h 1488"/>
                  <a:gd name="T20" fmla="*/ 2147483647 w 942"/>
                  <a:gd name="T21" fmla="*/ 2147483647 h 1488"/>
                  <a:gd name="T22" fmla="*/ 2147483647 w 942"/>
                  <a:gd name="T23" fmla="*/ 2147483647 h 1488"/>
                  <a:gd name="T24" fmla="*/ 2147483647 w 942"/>
                  <a:gd name="T25" fmla="*/ 2147483647 h 1488"/>
                  <a:gd name="T26" fmla="*/ 2147483647 w 942"/>
                  <a:gd name="T27" fmla="*/ 2147483647 h 1488"/>
                  <a:gd name="T28" fmla="*/ 2147483647 w 942"/>
                  <a:gd name="T29" fmla="*/ 2147483647 h 1488"/>
                  <a:gd name="T30" fmla="*/ 2147483647 w 942"/>
                  <a:gd name="T31" fmla="*/ 2147483647 h 1488"/>
                  <a:gd name="T32" fmla="*/ 2147483647 w 942"/>
                  <a:gd name="T33" fmla="*/ 2147483647 h 1488"/>
                  <a:gd name="T34" fmla="*/ 2147483647 w 942"/>
                  <a:gd name="T35" fmla="*/ 2147483647 h 1488"/>
                  <a:gd name="T36" fmla="*/ 2147483647 w 942"/>
                  <a:gd name="T37" fmla="*/ 2147483647 h 1488"/>
                  <a:gd name="T38" fmla="*/ 2147483647 w 942"/>
                  <a:gd name="T39" fmla="*/ 2147483647 h 1488"/>
                  <a:gd name="T40" fmla="*/ 2147483647 w 942"/>
                  <a:gd name="T41" fmla="*/ 2147483647 h 1488"/>
                  <a:gd name="T42" fmla="*/ 2147483647 w 942"/>
                  <a:gd name="T43" fmla="*/ 2147483647 h 1488"/>
                  <a:gd name="T44" fmla="*/ 2147483647 w 942"/>
                  <a:gd name="T45" fmla="*/ 2147483647 h 1488"/>
                  <a:gd name="T46" fmla="*/ 2147483647 w 942"/>
                  <a:gd name="T47" fmla="*/ 2147483647 h 1488"/>
                  <a:gd name="T48" fmla="*/ 2147483647 w 942"/>
                  <a:gd name="T49" fmla="*/ 2147483647 h 1488"/>
                  <a:gd name="T50" fmla="*/ 2147483647 w 942"/>
                  <a:gd name="T51" fmla="*/ 2147483647 h 1488"/>
                  <a:gd name="T52" fmla="*/ 2147483647 w 942"/>
                  <a:gd name="T53" fmla="*/ 2147483647 h 1488"/>
                  <a:gd name="T54" fmla="*/ 2147483647 w 942"/>
                  <a:gd name="T55" fmla="*/ 2147483647 h 1488"/>
                  <a:gd name="T56" fmla="*/ 2147483647 w 942"/>
                  <a:gd name="T57" fmla="*/ 2147483647 h 1488"/>
                  <a:gd name="T58" fmla="*/ 2147483647 w 942"/>
                  <a:gd name="T59" fmla="*/ 2147483647 h 1488"/>
                  <a:gd name="T60" fmla="*/ 2147483647 w 942"/>
                  <a:gd name="T61" fmla="*/ 2147483647 h 1488"/>
                  <a:gd name="T62" fmla="*/ 2147483647 w 942"/>
                  <a:gd name="T63" fmla="*/ 0 h 1488"/>
                  <a:gd name="T64" fmla="*/ 2147483647 w 942"/>
                  <a:gd name="T65" fmla="*/ 2147483647 h 1488"/>
                  <a:gd name="T66" fmla="*/ 2147483647 w 942"/>
                  <a:gd name="T67" fmla="*/ 2147483647 h 1488"/>
                  <a:gd name="T68" fmla="*/ 2147483647 w 942"/>
                  <a:gd name="T69" fmla="*/ 2147483647 h 1488"/>
                  <a:gd name="T70" fmla="*/ 2147483647 w 942"/>
                  <a:gd name="T71" fmla="*/ 2147483647 h 1488"/>
                  <a:gd name="T72" fmla="*/ 2147483647 w 942"/>
                  <a:gd name="T73" fmla="*/ 2147483647 h 1488"/>
                  <a:gd name="T74" fmla="*/ 2147483647 w 942"/>
                  <a:gd name="T75" fmla="*/ 2147483647 h 1488"/>
                  <a:gd name="T76" fmla="*/ 2147483647 w 942"/>
                  <a:gd name="T77" fmla="*/ 2147483647 h 1488"/>
                  <a:gd name="T78" fmla="*/ 2147483647 w 942"/>
                  <a:gd name="T79" fmla="*/ 2147483647 h 1488"/>
                  <a:gd name="T80" fmla="*/ 2147483647 w 942"/>
                  <a:gd name="T81" fmla="*/ 2147483647 h 1488"/>
                  <a:gd name="T82" fmla="*/ 2147483647 w 942"/>
                  <a:gd name="T83" fmla="*/ 2147483647 h 1488"/>
                  <a:gd name="T84" fmla="*/ 0 w 942"/>
                  <a:gd name="T85" fmla="*/ 2147483647 h 1488"/>
                  <a:gd name="T86" fmla="*/ 2147483647 w 942"/>
                  <a:gd name="T87" fmla="*/ 2147483647 h 1488"/>
                  <a:gd name="T88" fmla="*/ 2147483647 w 942"/>
                  <a:gd name="T89" fmla="*/ 2147483647 h 1488"/>
                  <a:gd name="T90" fmla="*/ 2147483647 w 942"/>
                  <a:gd name="T91" fmla="*/ 2147483647 h 1488"/>
                  <a:gd name="T92" fmla="*/ 2147483647 w 942"/>
                  <a:gd name="T93" fmla="*/ 2147483647 h 1488"/>
                  <a:gd name="T94" fmla="*/ 2147483647 w 942"/>
                  <a:gd name="T95" fmla="*/ 2147483647 h 1488"/>
                  <a:gd name="T96" fmla="*/ 2147483647 w 942"/>
                  <a:gd name="T97" fmla="*/ 2147483647 h 1488"/>
                  <a:gd name="T98" fmla="*/ 2147483647 w 942"/>
                  <a:gd name="T99" fmla="*/ 2147483647 h 1488"/>
                  <a:gd name="T100" fmla="*/ 2147483647 w 942"/>
                  <a:gd name="T101" fmla="*/ 2147483647 h 1488"/>
                  <a:gd name="T102" fmla="*/ 2147483647 w 942"/>
                  <a:gd name="T103" fmla="*/ 2147483647 h 1488"/>
                  <a:gd name="T104" fmla="*/ 2147483647 w 942"/>
                  <a:gd name="T105" fmla="*/ 2147483647 h 1488"/>
                  <a:gd name="T106" fmla="*/ 2147483647 w 942"/>
                  <a:gd name="T107" fmla="*/ 2147483647 h 1488"/>
                  <a:gd name="T108" fmla="*/ 2147483647 w 942"/>
                  <a:gd name="T109" fmla="*/ 2147483647 h 1488"/>
                  <a:gd name="T110" fmla="*/ 2147483647 w 942"/>
                  <a:gd name="T111" fmla="*/ 2147483647 h 1488"/>
                  <a:gd name="T112" fmla="*/ 2147483647 w 942"/>
                  <a:gd name="T113" fmla="*/ 2147483647 h 1488"/>
                  <a:gd name="T114" fmla="*/ 2147483647 w 942"/>
                  <a:gd name="T115" fmla="*/ 2147483647 h 1488"/>
                  <a:gd name="T116" fmla="*/ 2147483647 w 942"/>
                  <a:gd name="T117" fmla="*/ 2147483647 h 1488"/>
                  <a:gd name="T118" fmla="*/ 2147483647 w 942"/>
                  <a:gd name="T119" fmla="*/ 2147483647 h 1488"/>
                  <a:gd name="T120" fmla="*/ 2147483647 w 942"/>
                  <a:gd name="T121" fmla="*/ 2147483647 h 14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942"/>
                  <a:gd name="T184" fmla="*/ 0 h 1488"/>
                  <a:gd name="T185" fmla="*/ 942 w 942"/>
                  <a:gd name="T186" fmla="*/ 1488 h 148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942" h="1488">
                    <a:moveTo>
                      <a:pt x="930" y="1320"/>
                    </a:moveTo>
                    <a:lnTo>
                      <a:pt x="924" y="1314"/>
                    </a:lnTo>
                    <a:lnTo>
                      <a:pt x="912" y="1308"/>
                    </a:lnTo>
                    <a:lnTo>
                      <a:pt x="888" y="1284"/>
                    </a:lnTo>
                    <a:lnTo>
                      <a:pt x="864" y="1284"/>
                    </a:lnTo>
                    <a:lnTo>
                      <a:pt x="858" y="1278"/>
                    </a:lnTo>
                    <a:lnTo>
                      <a:pt x="870" y="1260"/>
                    </a:lnTo>
                    <a:lnTo>
                      <a:pt x="870" y="1230"/>
                    </a:lnTo>
                    <a:lnTo>
                      <a:pt x="882" y="1230"/>
                    </a:lnTo>
                    <a:lnTo>
                      <a:pt x="906" y="1254"/>
                    </a:lnTo>
                    <a:lnTo>
                      <a:pt x="918" y="1236"/>
                    </a:lnTo>
                    <a:lnTo>
                      <a:pt x="918" y="1230"/>
                    </a:lnTo>
                    <a:lnTo>
                      <a:pt x="912" y="1224"/>
                    </a:lnTo>
                    <a:lnTo>
                      <a:pt x="906" y="1212"/>
                    </a:lnTo>
                    <a:lnTo>
                      <a:pt x="900" y="1194"/>
                    </a:lnTo>
                    <a:lnTo>
                      <a:pt x="912" y="1170"/>
                    </a:lnTo>
                    <a:lnTo>
                      <a:pt x="924" y="1158"/>
                    </a:lnTo>
                    <a:lnTo>
                      <a:pt x="930" y="1146"/>
                    </a:lnTo>
                    <a:lnTo>
                      <a:pt x="930" y="1140"/>
                    </a:lnTo>
                    <a:lnTo>
                      <a:pt x="924" y="1128"/>
                    </a:lnTo>
                    <a:lnTo>
                      <a:pt x="912" y="1116"/>
                    </a:lnTo>
                    <a:lnTo>
                      <a:pt x="906" y="1116"/>
                    </a:lnTo>
                    <a:lnTo>
                      <a:pt x="924" y="1086"/>
                    </a:lnTo>
                    <a:lnTo>
                      <a:pt x="912" y="1038"/>
                    </a:lnTo>
                    <a:lnTo>
                      <a:pt x="918" y="1032"/>
                    </a:lnTo>
                    <a:lnTo>
                      <a:pt x="924" y="1020"/>
                    </a:lnTo>
                    <a:lnTo>
                      <a:pt x="930" y="1014"/>
                    </a:lnTo>
                    <a:lnTo>
                      <a:pt x="930" y="1002"/>
                    </a:lnTo>
                    <a:lnTo>
                      <a:pt x="918" y="978"/>
                    </a:lnTo>
                    <a:lnTo>
                      <a:pt x="906" y="960"/>
                    </a:lnTo>
                    <a:lnTo>
                      <a:pt x="894" y="948"/>
                    </a:lnTo>
                    <a:lnTo>
                      <a:pt x="882" y="930"/>
                    </a:lnTo>
                    <a:lnTo>
                      <a:pt x="870" y="918"/>
                    </a:lnTo>
                    <a:lnTo>
                      <a:pt x="864" y="900"/>
                    </a:lnTo>
                    <a:lnTo>
                      <a:pt x="864" y="882"/>
                    </a:lnTo>
                    <a:lnTo>
                      <a:pt x="828" y="882"/>
                    </a:lnTo>
                    <a:lnTo>
                      <a:pt x="822" y="888"/>
                    </a:lnTo>
                    <a:lnTo>
                      <a:pt x="816" y="888"/>
                    </a:lnTo>
                    <a:lnTo>
                      <a:pt x="816" y="894"/>
                    </a:lnTo>
                    <a:lnTo>
                      <a:pt x="804" y="894"/>
                    </a:lnTo>
                    <a:lnTo>
                      <a:pt x="798" y="888"/>
                    </a:lnTo>
                    <a:lnTo>
                      <a:pt x="798" y="882"/>
                    </a:lnTo>
                    <a:lnTo>
                      <a:pt x="786" y="888"/>
                    </a:lnTo>
                    <a:lnTo>
                      <a:pt x="786" y="858"/>
                    </a:lnTo>
                    <a:lnTo>
                      <a:pt x="780" y="840"/>
                    </a:lnTo>
                    <a:lnTo>
                      <a:pt x="780" y="828"/>
                    </a:lnTo>
                    <a:lnTo>
                      <a:pt x="786" y="816"/>
                    </a:lnTo>
                    <a:lnTo>
                      <a:pt x="786" y="804"/>
                    </a:lnTo>
                    <a:lnTo>
                      <a:pt x="792" y="798"/>
                    </a:lnTo>
                    <a:lnTo>
                      <a:pt x="792" y="780"/>
                    </a:lnTo>
                    <a:lnTo>
                      <a:pt x="786" y="768"/>
                    </a:lnTo>
                    <a:lnTo>
                      <a:pt x="786" y="756"/>
                    </a:lnTo>
                    <a:lnTo>
                      <a:pt x="732" y="804"/>
                    </a:lnTo>
                    <a:lnTo>
                      <a:pt x="672" y="810"/>
                    </a:lnTo>
                    <a:lnTo>
                      <a:pt x="672" y="804"/>
                    </a:lnTo>
                    <a:lnTo>
                      <a:pt x="666" y="798"/>
                    </a:lnTo>
                    <a:lnTo>
                      <a:pt x="660" y="786"/>
                    </a:lnTo>
                    <a:lnTo>
                      <a:pt x="660" y="774"/>
                    </a:lnTo>
                    <a:lnTo>
                      <a:pt x="654" y="768"/>
                    </a:lnTo>
                    <a:lnTo>
                      <a:pt x="648" y="768"/>
                    </a:lnTo>
                    <a:lnTo>
                      <a:pt x="636" y="762"/>
                    </a:lnTo>
                    <a:lnTo>
                      <a:pt x="594" y="762"/>
                    </a:lnTo>
                    <a:lnTo>
                      <a:pt x="600" y="756"/>
                    </a:lnTo>
                    <a:lnTo>
                      <a:pt x="612" y="750"/>
                    </a:lnTo>
                    <a:lnTo>
                      <a:pt x="618" y="738"/>
                    </a:lnTo>
                    <a:lnTo>
                      <a:pt x="624" y="732"/>
                    </a:lnTo>
                    <a:lnTo>
                      <a:pt x="600" y="708"/>
                    </a:lnTo>
                    <a:lnTo>
                      <a:pt x="588" y="702"/>
                    </a:lnTo>
                    <a:lnTo>
                      <a:pt x="576" y="690"/>
                    </a:lnTo>
                    <a:lnTo>
                      <a:pt x="564" y="666"/>
                    </a:lnTo>
                    <a:lnTo>
                      <a:pt x="558" y="660"/>
                    </a:lnTo>
                    <a:lnTo>
                      <a:pt x="558" y="654"/>
                    </a:lnTo>
                    <a:lnTo>
                      <a:pt x="552" y="630"/>
                    </a:lnTo>
                    <a:lnTo>
                      <a:pt x="540" y="624"/>
                    </a:lnTo>
                    <a:lnTo>
                      <a:pt x="534" y="618"/>
                    </a:lnTo>
                    <a:lnTo>
                      <a:pt x="534" y="606"/>
                    </a:lnTo>
                    <a:lnTo>
                      <a:pt x="540" y="600"/>
                    </a:lnTo>
                    <a:lnTo>
                      <a:pt x="552" y="594"/>
                    </a:lnTo>
                    <a:lnTo>
                      <a:pt x="546" y="588"/>
                    </a:lnTo>
                    <a:lnTo>
                      <a:pt x="546" y="564"/>
                    </a:lnTo>
                    <a:lnTo>
                      <a:pt x="552" y="552"/>
                    </a:lnTo>
                    <a:lnTo>
                      <a:pt x="582" y="522"/>
                    </a:lnTo>
                    <a:lnTo>
                      <a:pt x="588" y="528"/>
                    </a:lnTo>
                    <a:lnTo>
                      <a:pt x="594" y="528"/>
                    </a:lnTo>
                    <a:lnTo>
                      <a:pt x="588" y="522"/>
                    </a:lnTo>
                    <a:lnTo>
                      <a:pt x="588" y="504"/>
                    </a:lnTo>
                    <a:lnTo>
                      <a:pt x="582" y="498"/>
                    </a:lnTo>
                    <a:lnTo>
                      <a:pt x="582" y="486"/>
                    </a:lnTo>
                    <a:lnTo>
                      <a:pt x="600" y="468"/>
                    </a:lnTo>
                    <a:lnTo>
                      <a:pt x="600" y="414"/>
                    </a:lnTo>
                    <a:lnTo>
                      <a:pt x="624" y="414"/>
                    </a:lnTo>
                    <a:lnTo>
                      <a:pt x="624" y="408"/>
                    </a:lnTo>
                    <a:lnTo>
                      <a:pt x="630" y="402"/>
                    </a:lnTo>
                    <a:lnTo>
                      <a:pt x="630" y="396"/>
                    </a:lnTo>
                    <a:lnTo>
                      <a:pt x="642" y="384"/>
                    </a:lnTo>
                    <a:lnTo>
                      <a:pt x="654" y="378"/>
                    </a:lnTo>
                    <a:lnTo>
                      <a:pt x="660" y="372"/>
                    </a:lnTo>
                    <a:lnTo>
                      <a:pt x="672" y="366"/>
                    </a:lnTo>
                    <a:lnTo>
                      <a:pt x="702" y="366"/>
                    </a:lnTo>
                    <a:lnTo>
                      <a:pt x="708" y="354"/>
                    </a:lnTo>
                    <a:lnTo>
                      <a:pt x="738" y="360"/>
                    </a:lnTo>
                    <a:lnTo>
                      <a:pt x="744" y="354"/>
                    </a:lnTo>
                    <a:lnTo>
                      <a:pt x="750" y="342"/>
                    </a:lnTo>
                    <a:lnTo>
                      <a:pt x="756" y="336"/>
                    </a:lnTo>
                    <a:lnTo>
                      <a:pt x="774" y="336"/>
                    </a:lnTo>
                    <a:lnTo>
                      <a:pt x="786" y="348"/>
                    </a:lnTo>
                    <a:lnTo>
                      <a:pt x="786" y="354"/>
                    </a:lnTo>
                    <a:lnTo>
                      <a:pt x="804" y="354"/>
                    </a:lnTo>
                    <a:lnTo>
                      <a:pt x="816" y="342"/>
                    </a:lnTo>
                    <a:lnTo>
                      <a:pt x="798" y="330"/>
                    </a:lnTo>
                    <a:lnTo>
                      <a:pt x="786" y="312"/>
                    </a:lnTo>
                    <a:lnTo>
                      <a:pt x="768" y="312"/>
                    </a:lnTo>
                    <a:lnTo>
                      <a:pt x="762" y="306"/>
                    </a:lnTo>
                    <a:lnTo>
                      <a:pt x="762" y="288"/>
                    </a:lnTo>
                    <a:lnTo>
                      <a:pt x="774" y="264"/>
                    </a:lnTo>
                    <a:lnTo>
                      <a:pt x="774" y="258"/>
                    </a:lnTo>
                    <a:lnTo>
                      <a:pt x="780" y="252"/>
                    </a:lnTo>
                    <a:lnTo>
                      <a:pt x="786" y="252"/>
                    </a:lnTo>
                    <a:lnTo>
                      <a:pt x="792" y="246"/>
                    </a:lnTo>
                    <a:lnTo>
                      <a:pt x="798" y="234"/>
                    </a:lnTo>
                    <a:lnTo>
                      <a:pt x="798" y="216"/>
                    </a:lnTo>
                    <a:lnTo>
                      <a:pt x="792" y="210"/>
                    </a:lnTo>
                    <a:lnTo>
                      <a:pt x="780" y="204"/>
                    </a:lnTo>
                    <a:lnTo>
                      <a:pt x="756" y="204"/>
                    </a:lnTo>
                    <a:lnTo>
                      <a:pt x="750" y="198"/>
                    </a:lnTo>
                    <a:lnTo>
                      <a:pt x="744" y="186"/>
                    </a:lnTo>
                    <a:lnTo>
                      <a:pt x="744" y="180"/>
                    </a:lnTo>
                    <a:lnTo>
                      <a:pt x="732" y="180"/>
                    </a:lnTo>
                    <a:lnTo>
                      <a:pt x="726" y="186"/>
                    </a:lnTo>
                    <a:lnTo>
                      <a:pt x="714" y="192"/>
                    </a:lnTo>
                    <a:lnTo>
                      <a:pt x="702" y="192"/>
                    </a:lnTo>
                    <a:lnTo>
                      <a:pt x="696" y="186"/>
                    </a:lnTo>
                    <a:lnTo>
                      <a:pt x="690" y="186"/>
                    </a:lnTo>
                    <a:lnTo>
                      <a:pt x="684" y="180"/>
                    </a:lnTo>
                    <a:lnTo>
                      <a:pt x="660" y="180"/>
                    </a:lnTo>
                    <a:lnTo>
                      <a:pt x="648" y="192"/>
                    </a:lnTo>
                    <a:lnTo>
                      <a:pt x="648" y="204"/>
                    </a:lnTo>
                    <a:lnTo>
                      <a:pt x="612" y="204"/>
                    </a:lnTo>
                    <a:lnTo>
                      <a:pt x="588" y="198"/>
                    </a:lnTo>
                    <a:lnTo>
                      <a:pt x="576" y="192"/>
                    </a:lnTo>
                    <a:lnTo>
                      <a:pt x="576" y="168"/>
                    </a:lnTo>
                    <a:lnTo>
                      <a:pt x="582" y="162"/>
                    </a:lnTo>
                    <a:lnTo>
                      <a:pt x="582" y="156"/>
                    </a:lnTo>
                    <a:lnTo>
                      <a:pt x="576" y="150"/>
                    </a:lnTo>
                    <a:lnTo>
                      <a:pt x="564" y="144"/>
                    </a:lnTo>
                    <a:lnTo>
                      <a:pt x="552" y="144"/>
                    </a:lnTo>
                    <a:lnTo>
                      <a:pt x="552" y="138"/>
                    </a:lnTo>
                    <a:lnTo>
                      <a:pt x="546" y="132"/>
                    </a:lnTo>
                    <a:lnTo>
                      <a:pt x="546" y="108"/>
                    </a:lnTo>
                    <a:lnTo>
                      <a:pt x="540" y="102"/>
                    </a:lnTo>
                    <a:lnTo>
                      <a:pt x="528" y="102"/>
                    </a:lnTo>
                    <a:lnTo>
                      <a:pt x="516" y="84"/>
                    </a:lnTo>
                    <a:lnTo>
                      <a:pt x="498" y="84"/>
                    </a:lnTo>
                    <a:lnTo>
                      <a:pt x="486" y="48"/>
                    </a:lnTo>
                    <a:lnTo>
                      <a:pt x="480" y="42"/>
                    </a:lnTo>
                    <a:lnTo>
                      <a:pt x="468" y="36"/>
                    </a:lnTo>
                    <a:lnTo>
                      <a:pt x="450" y="18"/>
                    </a:lnTo>
                    <a:lnTo>
                      <a:pt x="438" y="12"/>
                    </a:lnTo>
                    <a:lnTo>
                      <a:pt x="426" y="0"/>
                    </a:lnTo>
                    <a:lnTo>
                      <a:pt x="396" y="0"/>
                    </a:lnTo>
                    <a:lnTo>
                      <a:pt x="414" y="0"/>
                    </a:lnTo>
                    <a:lnTo>
                      <a:pt x="414" y="24"/>
                    </a:lnTo>
                    <a:lnTo>
                      <a:pt x="408" y="24"/>
                    </a:lnTo>
                    <a:lnTo>
                      <a:pt x="408" y="30"/>
                    </a:lnTo>
                    <a:lnTo>
                      <a:pt x="402" y="30"/>
                    </a:lnTo>
                    <a:lnTo>
                      <a:pt x="426" y="48"/>
                    </a:lnTo>
                    <a:lnTo>
                      <a:pt x="426" y="78"/>
                    </a:lnTo>
                    <a:lnTo>
                      <a:pt x="414" y="84"/>
                    </a:lnTo>
                    <a:lnTo>
                      <a:pt x="402" y="126"/>
                    </a:lnTo>
                    <a:lnTo>
                      <a:pt x="396" y="138"/>
                    </a:lnTo>
                    <a:lnTo>
                      <a:pt x="384" y="150"/>
                    </a:lnTo>
                    <a:lnTo>
                      <a:pt x="378" y="162"/>
                    </a:lnTo>
                    <a:lnTo>
                      <a:pt x="366" y="174"/>
                    </a:lnTo>
                    <a:lnTo>
                      <a:pt x="354" y="192"/>
                    </a:lnTo>
                    <a:lnTo>
                      <a:pt x="336" y="204"/>
                    </a:lnTo>
                    <a:lnTo>
                      <a:pt x="276" y="234"/>
                    </a:lnTo>
                    <a:lnTo>
                      <a:pt x="258" y="240"/>
                    </a:lnTo>
                    <a:lnTo>
                      <a:pt x="240" y="252"/>
                    </a:lnTo>
                    <a:lnTo>
                      <a:pt x="222" y="270"/>
                    </a:lnTo>
                    <a:lnTo>
                      <a:pt x="222" y="276"/>
                    </a:lnTo>
                    <a:lnTo>
                      <a:pt x="210" y="282"/>
                    </a:lnTo>
                    <a:lnTo>
                      <a:pt x="210" y="300"/>
                    </a:lnTo>
                    <a:lnTo>
                      <a:pt x="198" y="312"/>
                    </a:lnTo>
                    <a:lnTo>
                      <a:pt x="198" y="336"/>
                    </a:lnTo>
                    <a:lnTo>
                      <a:pt x="192" y="348"/>
                    </a:lnTo>
                    <a:lnTo>
                      <a:pt x="192" y="378"/>
                    </a:lnTo>
                    <a:lnTo>
                      <a:pt x="174" y="378"/>
                    </a:lnTo>
                    <a:lnTo>
                      <a:pt x="168" y="384"/>
                    </a:lnTo>
                    <a:lnTo>
                      <a:pt x="168" y="390"/>
                    </a:lnTo>
                    <a:lnTo>
                      <a:pt x="162" y="396"/>
                    </a:lnTo>
                    <a:lnTo>
                      <a:pt x="162" y="402"/>
                    </a:lnTo>
                    <a:lnTo>
                      <a:pt x="144" y="402"/>
                    </a:lnTo>
                    <a:lnTo>
                      <a:pt x="138" y="390"/>
                    </a:lnTo>
                    <a:lnTo>
                      <a:pt x="138" y="372"/>
                    </a:lnTo>
                    <a:lnTo>
                      <a:pt x="132" y="366"/>
                    </a:lnTo>
                    <a:lnTo>
                      <a:pt x="132" y="360"/>
                    </a:lnTo>
                    <a:lnTo>
                      <a:pt x="102" y="360"/>
                    </a:lnTo>
                    <a:lnTo>
                      <a:pt x="90" y="348"/>
                    </a:lnTo>
                    <a:lnTo>
                      <a:pt x="78" y="360"/>
                    </a:lnTo>
                    <a:lnTo>
                      <a:pt x="66" y="366"/>
                    </a:lnTo>
                    <a:lnTo>
                      <a:pt x="60" y="366"/>
                    </a:lnTo>
                    <a:lnTo>
                      <a:pt x="54" y="360"/>
                    </a:lnTo>
                    <a:lnTo>
                      <a:pt x="66" y="348"/>
                    </a:lnTo>
                    <a:lnTo>
                      <a:pt x="54" y="336"/>
                    </a:lnTo>
                    <a:lnTo>
                      <a:pt x="60" y="330"/>
                    </a:lnTo>
                    <a:lnTo>
                      <a:pt x="66" y="318"/>
                    </a:lnTo>
                    <a:lnTo>
                      <a:pt x="78" y="312"/>
                    </a:lnTo>
                    <a:lnTo>
                      <a:pt x="84" y="300"/>
                    </a:lnTo>
                    <a:lnTo>
                      <a:pt x="90" y="294"/>
                    </a:lnTo>
                    <a:lnTo>
                      <a:pt x="90" y="288"/>
                    </a:lnTo>
                    <a:lnTo>
                      <a:pt x="84" y="288"/>
                    </a:lnTo>
                    <a:lnTo>
                      <a:pt x="72" y="282"/>
                    </a:lnTo>
                    <a:lnTo>
                      <a:pt x="66" y="282"/>
                    </a:lnTo>
                    <a:lnTo>
                      <a:pt x="6" y="342"/>
                    </a:lnTo>
                    <a:lnTo>
                      <a:pt x="0" y="354"/>
                    </a:lnTo>
                    <a:lnTo>
                      <a:pt x="0" y="390"/>
                    </a:lnTo>
                    <a:lnTo>
                      <a:pt x="6" y="396"/>
                    </a:lnTo>
                    <a:lnTo>
                      <a:pt x="18" y="396"/>
                    </a:lnTo>
                    <a:lnTo>
                      <a:pt x="12" y="420"/>
                    </a:lnTo>
                    <a:lnTo>
                      <a:pt x="36" y="444"/>
                    </a:lnTo>
                    <a:lnTo>
                      <a:pt x="36" y="462"/>
                    </a:lnTo>
                    <a:lnTo>
                      <a:pt x="12" y="486"/>
                    </a:lnTo>
                    <a:lnTo>
                      <a:pt x="12" y="492"/>
                    </a:lnTo>
                    <a:lnTo>
                      <a:pt x="18" y="504"/>
                    </a:lnTo>
                    <a:lnTo>
                      <a:pt x="24" y="510"/>
                    </a:lnTo>
                    <a:lnTo>
                      <a:pt x="36" y="516"/>
                    </a:lnTo>
                    <a:lnTo>
                      <a:pt x="54" y="522"/>
                    </a:lnTo>
                    <a:lnTo>
                      <a:pt x="66" y="522"/>
                    </a:lnTo>
                    <a:lnTo>
                      <a:pt x="108" y="564"/>
                    </a:lnTo>
                    <a:lnTo>
                      <a:pt x="114" y="576"/>
                    </a:lnTo>
                    <a:lnTo>
                      <a:pt x="132" y="594"/>
                    </a:lnTo>
                    <a:lnTo>
                      <a:pt x="138" y="612"/>
                    </a:lnTo>
                    <a:lnTo>
                      <a:pt x="144" y="624"/>
                    </a:lnTo>
                    <a:lnTo>
                      <a:pt x="144" y="642"/>
                    </a:lnTo>
                    <a:lnTo>
                      <a:pt x="150" y="648"/>
                    </a:lnTo>
                    <a:lnTo>
                      <a:pt x="156" y="660"/>
                    </a:lnTo>
                    <a:lnTo>
                      <a:pt x="168" y="666"/>
                    </a:lnTo>
                    <a:lnTo>
                      <a:pt x="174" y="678"/>
                    </a:lnTo>
                    <a:lnTo>
                      <a:pt x="192" y="696"/>
                    </a:lnTo>
                    <a:lnTo>
                      <a:pt x="204" y="720"/>
                    </a:lnTo>
                    <a:lnTo>
                      <a:pt x="216" y="732"/>
                    </a:lnTo>
                    <a:lnTo>
                      <a:pt x="222" y="744"/>
                    </a:lnTo>
                    <a:lnTo>
                      <a:pt x="234" y="762"/>
                    </a:lnTo>
                    <a:lnTo>
                      <a:pt x="240" y="768"/>
                    </a:lnTo>
                    <a:lnTo>
                      <a:pt x="246" y="780"/>
                    </a:lnTo>
                    <a:lnTo>
                      <a:pt x="252" y="822"/>
                    </a:lnTo>
                    <a:lnTo>
                      <a:pt x="252" y="828"/>
                    </a:lnTo>
                    <a:lnTo>
                      <a:pt x="258" y="834"/>
                    </a:lnTo>
                    <a:lnTo>
                      <a:pt x="264" y="846"/>
                    </a:lnTo>
                    <a:lnTo>
                      <a:pt x="270" y="864"/>
                    </a:lnTo>
                    <a:lnTo>
                      <a:pt x="282" y="876"/>
                    </a:lnTo>
                    <a:lnTo>
                      <a:pt x="288" y="894"/>
                    </a:lnTo>
                    <a:lnTo>
                      <a:pt x="294" y="906"/>
                    </a:lnTo>
                    <a:lnTo>
                      <a:pt x="294" y="918"/>
                    </a:lnTo>
                    <a:lnTo>
                      <a:pt x="300" y="924"/>
                    </a:lnTo>
                    <a:lnTo>
                      <a:pt x="312" y="924"/>
                    </a:lnTo>
                    <a:lnTo>
                      <a:pt x="324" y="936"/>
                    </a:lnTo>
                    <a:lnTo>
                      <a:pt x="324" y="948"/>
                    </a:lnTo>
                    <a:lnTo>
                      <a:pt x="330" y="954"/>
                    </a:lnTo>
                    <a:lnTo>
                      <a:pt x="330" y="966"/>
                    </a:lnTo>
                    <a:lnTo>
                      <a:pt x="336" y="984"/>
                    </a:lnTo>
                    <a:lnTo>
                      <a:pt x="360" y="1014"/>
                    </a:lnTo>
                    <a:lnTo>
                      <a:pt x="378" y="1050"/>
                    </a:lnTo>
                    <a:lnTo>
                      <a:pt x="396" y="1074"/>
                    </a:lnTo>
                    <a:lnTo>
                      <a:pt x="402" y="1086"/>
                    </a:lnTo>
                    <a:lnTo>
                      <a:pt x="408" y="1104"/>
                    </a:lnTo>
                    <a:lnTo>
                      <a:pt x="408" y="1116"/>
                    </a:lnTo>
                    <a:lnTo>
                      <a:pt x="402" y="1128"/>
                    </a:lnTo>
                    <a:lnTo>
                      <a:pt x="402" y="1146"/>
                    </a:lnTo>
                    <a:lnTo>
                      <a:pt x="414" y="1158"/>
                    </a:lnTo>
                    <a:lnTo>
                      <a:pt x="420" y="1170"/>
                    </a:lnTo>
                    <a:lnTo>
                      <a:pt x="444" y="1194"/>
                    </a:lnTo>
                    <a:lnTo>
                      <a:pt x="456" y="1200"/>
                    </a:lnTo>
                    <a:lnTo>
                      <a:pt x="468" y="1212"/>
                    </a:lnTo>
                    <a:lnTo>
                      <a:pt x="474" y="1224"/>
                    </a:lnTo>
                    <a:lnTo>
                      <a:pt x="498" y="1248"/>
                    </a:lnTo>
                    <a:lnTo>
                      <a:pt x="516" y="1260"/>
                    </a:lnTo>
                    <a:lnTo>
                      <a:pt x="546" y="1278"/>
                    </a:lnTo>
                    <a:lnTo>
                      <a:pt x="576" y="1290"/>
                    </a:lnTo>
                    <a:lnTo>
                      <a:pt x="600" y="1302"/>
                    </a:lnTo>
                    <a:lnTo>
                      <a:pt x="642" y="1320"/>
                    </a:lnTo>
                    <a:lnTo>
                      <a:pt x="696" y="1350"/>
                    </a:lnTo>
                    <a:lnTo>
                      <a:pt x="708" y="1362"/>
                    </a:lnTo>
                    <a:lnTo>
                      <a:pt x="726" y="1374"/>
                    </a:lnTo>
                    <a:lnTo>
                      <a:pt x="738" y="1380"/>
                    </a:lnTo>
                    <a:lnTo>
                      <a:pt x="750" y="1392"/>
                    </a:lnTo>
                    <a:lnTo>
                      <a:pt x="774" y="1404"/>
                    </a:lnTo>
                    <a:lnTo>
                      <a:pt x="780" y="1428"/>
                    </a:lnTo>
                    <a:lnTo>
                      <a:pt x="792" y="1434"/>
                    </a:lnTo>
                    <a:lnTo>
                      <a:pt x="798" y="1446"/>
                    </a:lnTo>
                    <a:lnTo>
                      <a:pt x="810" y="1452"/>
                    </a:lnTo>
                    <a:lnTo>
                      <a:pt x="816" y="1458"/>
                    </a:lnTo>
                    <a:lnTo>
                      <a:pt x="840" y="1470"/>
                    </a:lnTo>
                    <a:lnTo>
                      <a:pt x="846" y="1482"/>
                    </a:lnTo>
                    <a:lnTo>
                      <a:pt x="858" y="1488"/>
                    </a:lnTo>
                    <a:lnTo>
                      <a:pt x="894" y="1464"/>
                    </a:lnTo>
                    <a:lnTo>
                      <a:pt x="900" y="1458"/>
                    </a:lnTo>
                    <a:lnTo>
                      <a:pt x="900" y="1440"/>
                    </a:lnTo>
                    <a:lnTo>
                      <a:pt x="894" y="1428"/>
                    </a:lnTo>
                    <a:lnTo>
                      <a:pt x="912" y="1416"/>
                    </a:lnTo>
                    <a:lnTo>
                      <a:pt x="900" y="1392"/>
                    </a:lnTo>
                    <a:lnTo>
                      <a:pt x="918" y="1374"/>
                    </a:lnTo>
                    <a:lnTo>
                      <a:pt x="930" y="1368"/>
                    </a:lnTo>
                    <a:lnTo>
                      <a:pt x="942" y="1344"/>
                    </a:lnTo>
                    <a:lnTo>
                      <a:pt x="942" y="1332"/>
                    </a:lnTo>
                    <a:lnTo>
                      <a:pt x="930" y="132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30" name="Guyane (French Guiana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2C61C0B-0EE2-4511-8240-4499B57E0D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24983" y="4312151"/>
                <a:ext cx="90853" cy="132857"/>
              </a:xfrm>
              <a:custGeom>
                <a:avLst/>
                <a:gdLst>
                  <a:gd name="T0" fmla="*/ 2147483647 w 52"/>
                  <a:gd name="T1" fmla="*/ 2147483647 h 76"/>
                  <a:gd name="T2" fmla="*/ 2147483647 w 52"/>
                  <a:gd name="T3" fmla="*/ 2147483647 h 76"/>
                  <a:gd name="T4" fmla="*/ 2147483647 w 52"/>
                  <a:gd name="T5" fmla="*/ 2147483647 h 76"/>
                  <a:gd name="T6" fmla="*/ 2147483647 w 52"/>
                  <a:gd name="T7" fmla="*/ 2147483647 h 76"/>
                  <a:gd name="T8" fmla="*/ 2147483647 w 52"/>
                  <a:gd name="T9" fmla="*/ 2147483647 h 76"/>
                  <a:gd name="T10" fmla="*/ 2147483647 w 52"/>
                  <a:gd name="T11" fmla="*/ 2147483647 h 76"/>
                  <a:gd name="T12" fmla="*/ 2147483647 w 52"/>
                  <a:gd name="T13" fmla="*/ 2147483647 h 76"/>
                  <a:gd name="T14" fmla="*/ 2147483647 w 52"/>
                  <a:gd name="T15" fmla="*/ 2147483647 h 76"/>
                  <a:gd name="T16" fmla="*/ 2147483647 w 52"/>
                  <a:gd name="T17" fmla="*/ 2147483647 h 76"/>
                  <a:gd name="T18" fmla="*/ 2147483647 w 52"/>
                  <a:gd name="T19" fmla="*/ 2147483647 h 76"/>
                  <a:gd name="T20" fmla="*/ 2147483647 w 52"/>
                  <a:gd name="T21" fmla="*/ 2147483647 h 76"/>
                  <a:gd name="T22" fmla="*/ 2147483647 w 52"/>
                  <a:gd name="T23" fmla="*/ 0 h 76"/>
                  <a:gd name="T24" fmla="*/ 2147483647 w 52"/>
                  <a:gd name="T25" fmla="*/ 2147483647 h 76"/>
                  <a:gd name="T26" fmla="*/ 2147483647 w 52"/>
                  <a:gd name="T27" fmla="*/ 2147483647 h 76"/>
                  <a:gd name="T28" fmla="*/ 2147483647 w 52"/>
                  <a:gd name="T29" fmla="*/ 2147483647 h 76"/>
                  <a:gd name="T30" fmla="*/ 2147483647 w 52"/>
                  <a:gd name="T31" fmla="*/ 2147483647 h 76"/>
                  <a:gd name="T32" fmla="*/ 2147483647 w 52"/>
                  <a:gd name="T33" fmla="*/ 2147483647 h 76"/>
                  <a:gd name="T34" fmla="*/ 2147483647 w 52"/>
                  <a:gd name="T35" fmla="*/ 2147483647 h 76"/>
                  <a:gd name="T36" fmla="*/ 2147483647 w 52"/>
                  <a:gd name="T37" fmla="*/ 2147483647 h 76"/>
                  <a:gd name="T38" fmla="*/ 2147483647 w 52"/>
                  <a:gd name="T39" fmla="*/ 2147483647 h 76"/>
                  <a:gd name="T40" fmla="*/ 2147483647 w 52"/>
                  <a:gd name="T41" fmla="*/ 2147483647 h 76"/>
                  <a:gd name="T42" fmla="*/ 2147483647 w 52"/>
                  <a:gd name="T43" fmla="*/ 2147483647 h 76"/>
                  <a:gd name="T44" fmla="*/ 2147483647 w 52"/>
                  <a:gd name="T45" fmla="*/ 2147483647 h 76"/>
                  <a:gd name="T46" fmla="*/ 2147483647 w 52"/>
                  <a:gd name="T47" fmla="*/ 2147483647 h 76"/>
                  <a:gd name="T48" fmla="*/ 2147483647 w 52"/>
                  <a:gd name="T49" fmla="*/ 2147483647 h 76"/>
                  <a:gd name="T50" fmla="*/ 2147483647 w 52"/>
                  <a:gd name="T51" fmla="*/ 2147483647 h 76"/>
                  <a:gd name="T52" fmla="*/ 2147483647 w 52"/>
                  <a:gd name="T53" fmla="*/ 2147483647 h 76"/>
                  <a:gd name="T54" fmla="*/ 2147483647 w 52"/>
                  <a:gd name="T55" fmla="*/ 2147483647 h 76"/>
                  <a:gd name="T56" fmla="*/ 2147483647 w 52"/>
                  <a:gd name="T57" fmla="*/ 2147483647 h 76"/>
                  <a:gd name="T58" fmla="*/ 2147483647 w 52"/>
                  <a:gd name="T59" fmla="*/ 2147483647 h 76"/>
                  <a:gd name="T60" fmla="*/ 2147483647 w 52"/>
                  <a:gd name="T61" fmla="*/ 2147483647 h 76"/>
                  <a:gd name="T62" fmla="*/ 2147483647 w 52"/>
                  <a:gd name="T63" fmla="*/ 2147483647 h 76"/>
                  <a:gd name="T64" fmla="*/ 0 w 52"/>
                  <a:gd name="T65" fmla="*/ 2147483647 h 76"/>
                  <a:gd name="T66" fmla="*/ 0 w 52"/>
                  <a:gd name="T67" fmla="*/ 2147483647 h 76"/>
                  <a:gd name="T68" fmla="*/ 2147483647 w 52"/>
                  <a:gd name="T69" fmla="*/ 2147483647 h 76"/>
                  <a:gd name="T70" fmla="*/ 2147483647 w 52"/>
                  <a:gd name="T71" fmla="*/ 2147483647 h 76"/>
                  <a:gd name="T72" fmla="*/ 2147483647 w 52"/>
                  <a:gd name="T73" fmla="*/ 2147483647 h 76"/>
                  <a:gd name="T74" fmla="*/ 2147483647 w 52"/>
                  <a:gd name="T75" fmla="*/ 2147483647 h 76"/>
                  <a:gd name="T76" fmla="*/ 2147483647 w 52"/>
                  <a:gd name="T77" fmla="*/ 2147483647 h 76"/>
                  <a:gd name="T78" fmla="*/ 2147483647 w 52"/>
                  <a:gd name="T79" fmla="*/ 2147483647 h 76"/>
                  <a:gd name="T80" fmla="*/ 2147483647 w 52"/>
                  <a:gd name="T81" fmla="*/ 2147483647 h 76"/>
                  <a:gd name="T82" fmla="*/ 2147483647 w 52"/>
                  <a:gd name="T83" fmla="*/ 2147483647 h 76"/>
                  <a:gd name="T84" fmla="*/ 2147483647 w 52"/>
                  <a:gd name="T85" fmla="*/ 2147483647 h 76"/>
                  <a:gd name="T86" fmla="*/ 2147483647 w 52"/>
                  <a:gd name="T87" fmla="*/ 2147483647 h 76"/>
                  <a:gd name="T88" fmla="*/ 2147483647 w 52"/>
                  <a:gd name="T89" fmla="*/ 2147483647 h 76"/>
                  <a:gd name="T90" fmla="*/ 2147483647 w 52"/>
                  <a:gd name="T91" fmla="*/ 2147483647 h 76"/>
                  <a:gd name="T92" fmla="*/ 2147483647 w 52"/>
                  <a:gd name="T93" fmla="*/ 2147483647 h 76"/>
                  <a:gd name="T94" fmla="*/ 2147483647 w 52"/>
                  <a:gd name="T95" fmla="*/ 2147483647 h 76"/>
                  <a:gd name="T96" fmla="*/ 2147483647 w 52"/>
                  <a:gd name="T97" fmla="*/ 2147483647 h 76"/>
                  <a:gd name="T98" fmla="*/ 2147483647 w 52"/>
                  <a:gd name="T99" fmla="*/ 2147483647 h 76"/>
                  <a:gd name="T100" fmla="*/ 2147483647 w 52"/>
                  <a:gd name="T101" fmla="*/ 2147483647 h 76"/>
                  <a:gd name="T102" fmla="*/ 2147483647 w 52"/>
                  <a:gd name="T103" fmla="*/ 2147483647 h 76"/>
                  <a:gd name="T104" fmla="*/ 2147483647 w 52"/>
                  <a:gd name="T105" fmla="*/ 2147483647 h 76"/>
                  <a:gd name="T106" fmla="*/ 2147483647 w 52"/>
                  <a:gd name="T107" fmla="*/ 2147483647 h 76"/>
                  <a:gd name="T108" fmla="*/ 2147483647 w 52"/>
                  <a:gd name="T109" fmla="*/ 2147483647 h 76"/>
                  <a:gd name="T110" fmla="*/ 2147483647 w 52"/>
                  <a:gd name="T111" fmla="*/ 2147483647 h 76"/>
                  <a:gd name="T112" fmla="*/ 2147483647 w 52"/>
                  <a:gd name="T113" fmla="*/ 2147483647 h 76"/>
                  <a:gd name="T114" fmla="*/ 2147483647 w 52"/>
                  <a:gd name="T115" fmla="*/ 2147483647 h 7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2"/>
                  <a:gd name="T175" fmla="*/ 0 h 76"/>
                  <a:gd name="T176" fmla="*/ 52 w 52"/>
                  <a:gd name="T177" fmla="*/ 76 h 7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2" h="76">
                    <a:moveTo>
                      <a:pt x="52" y="32"/>
                    </a:moveTo>
                    <a:lnTo>
                      <a:pt x="50" y="26"/>
                    </a:lnTo>
                    <a:lnTo>
                      <a:pt x="48" y="24"/>
                    </a:lnTo>
                    <a:lnTo>
                      <a:pt x="46" y="22"/>
                    </a:lnTo>
                    <a:lnTo>
                      <a:pt x="46" y="20"/>
                    </a:lnTo>
                    <a:lnTo>
                      <a:pt x="40" y="20"/>
                    </a:lnTo>
                    <a:lnTo>
                      <a:pt x="32" y="6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4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4" y="36"/>
                    </a:lnTo>
                    <a:lnTo>
                      <a:pt x="6" y="40"/>
                    </a:lnTo>
                    <a:lnTo>
                      <a:pt x="10" y="44"/>
                    </a:lnTo>
                    <a:lnTo>
                      <a:pt x="12" y="46"/>
                    </a:lnTo>
                    <a:lnTo>
                      <a:pt x="12" y="48"/>
                    </a:lnTo>
                    <a:lnTo>
                      <a:pt x="6" y="54"/>
                    </a:lnTo>
                    <a:lnTo>
                      <a:pt x="8" y="62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0" y="72"/>
                    </a:lnTo>
                    <a:lnTo>
                      <a:pt x="4" y="76"/>
                    </a:lnTo>
                    <a:lnTo>
                      <a:pt x="10" y="76"/>
                    </a:lnTo>
                    <a:lnTo>
                      <a:pt x="12" y="74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2" y="72"/>
                    </a:lnTo>
                    <a:lnTo>
                      <a:pt x="40" y="64"/>
                    </a:lnTo>
                    <a:lnTo>
                      <a:pt x="40" y="60"/>
                    </a:lnTo>
                    <a:lnTo>
                      <a:pt x="44" y="50"/>
                    </a:lnTo>
                    <a:lnTo>
                      <a:pt x="46" y="46"/>
                    </a:lnTo>
                    <a:lnTo>
                      <a:pt x="48" y="44"/>
                    </a:lnTo>
                    <a:lnTo>
                      <a:pt x="50" y="42"/>
                    </a:lnTo>
                    <a:lnTo>
                      <a:pt x="50" y="40"/>
                    </a:lnTo>
                    <a:lnTo>
                      <a:pt x="52" y="38"/>
                    </a:lnTo>
                    <a:lnTo>
                      <a:pt x="52" y="36"/>
                    </a:lnTo>
                    <a:lnTo>
                      <a:pt x="52" y="34"/>
                    </a:lnTo>
                    <a:lnTo>
                      <a:pt x="52" y="3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31" name="Guya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A2D0A85-437E-49B8-A23A-6085AA325C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3576" y="4214727"/>
                <a:ext cx="145015" cy="262170"/>
              </a:xfrm>
              <a:custGeom>
                <a:avLst/>
                <a:gdLst>
                  <a:gd name="T0" fmla="*/ 2147483647 w 324"/>
                  <a:gd name="T1" fmla="*/ 2147483647 h 582"/>
                  <a:gd name="T2" fmla="*/ 2147483647 w 324"/>
                  <a:gd name="T3" fmla="*/ 2147483647 h 582"/>
                  <a:gd name="T4" fmla="*/ 2147483647 w 324"/>
                  <a:gd name="T5" fmla="*/ 2147483647 h 582"/>
                  <a:gd name="T6" fmla="*/ 2147483647 w 324"/>
                  <a:gd name="T7" fmla="*/ 2147483647 h 582"/>
                  <a:gd name="T8" fmla="*/ 2147483647 w 324"/>
                  <a:gd name="T9" fmla="*/ 2147483647 h 582"/>
                  <a:gd name="T10" fmla="*/ 2147483647 w 324"/>
                  <a:gd name="T11" fmla="*/ 2147483647 h 582"/>
                  <a:gd name="T12" fmla="*/ 2147483647 w 324"/>
                  <a:gd name="T13" fmla="*/ 2147483647 h 582"/>
                  <a:gd name="T14" fmla="*/ 2147483647 w 324"/>
                  <a:gd name="T15" fmla="*/ 2147483647 h 582"/>
                  <a:gd name="T16" fmla="*/ 0 w 324"/>
                  <a:gd name="T17" fmla="*/ 2147483647 h 582"/>
                  <a:gd name="T18" fmla="*/ 2147483647 w 324"/>
                  <a:gd name="T19" fmla="*/ 2147483647 h 582"/>
                  <a:gd name="T20" fmla="*/ 2147483647 w 324"/>
                  <a:gd name="T21" fmla="*/ 2147483647 h 582"/>
                  <a:gd name="T22" fmla="*/ 2147483647 w 324"/>
                  <a:gd name="T23" fmla="*/ 2147483647 h 582"/>
                  <a:gd name="T24" fmla="*/ 2147483647 w 324"/>
                  <a:gd name="T25" fmla="*/ 2147483647 h 582"/>
                  <a:gd name="T26" fmla="*/ 2147483647 w 324"/>
                  <a:gd name="T27" fmla="*/ 2147483647 h 582"/>
                  <a:gd name="T28" fmla="*/ 2147483647 w 324"/>
                  <a:gd name="T29" fmla="*/ 2147483647 h 582"/>
                  <a:gd name="T30" fmla="*/ 2147483647 w 324"/>
                  <a:gd name="T31" fmla="*/ 2147483647 h 582"/>
                  <a:gd name="T32" fmla="*/ 2147483647 w 324"/>
                  <a:gd name="T33" fmla="*/ 2147483647 h 582"/>
                  <a:gd name="T34" fmla="*/ 2147483647 w 324"/>
                  <a:gd name="T35" fmla="*/ 2147483647 h 582"/>
                  <a:gd name="T36" fmla="*/ 2147483647 w 324"/>
                  <a:gd name="T37" fmla="*/ 2147483647 h 582"/>
                  <a:gd name="T38" fmla="*/ 2147483647 w 324"/>
                  <a:gd name="T39" fmla="*/ 2147483647 h 582"/>
                  <a:gd name="T40" fmla="*/ 2147483647 w 324"/>
                  <a:gd name="T41" fmla="*/ 2147483647 h 582"/>
                  <a:gd name="T42" fmla="*/ 2147483647 w 324"/>
                  <a:gd name="T43" fmla="*/ 2147483647 h 582"/>
                  <a:gd name="T44" fmla="*/ 2147483647 w 324"/>
                  <a:gd name="T45" fmla="*/ 2147483647 h 582"/>
                  <a:gd name="T46" fmla="*/ 2147483647 w 324"/>
                  <a:gd name="T47" fmla="*/ 2147483647 h 582"/>
                  <a:gd name="T48" fmla="*/ 2147483647 w 324"/>
                  <a:gd name="T49" fmla="*/ 2147483647 h 582"/>
                  <a:gd name="T50" fmla="*/ 2147483647 w 324"/>
                  <a:gd name="T51" fmla="*/ 2147483647 h 582"/>
                  <a:gd name="T52" fmla="*/ 2147483647 w 324"/>
                  <a:gd name="T53" fmla="*/ 2147483647 h 582"/>
                  <a:gd name="T54" fmla="*/ 2147483647 w 324"/>
                  <a:gd name="T55" fmla="*/ 2147483647 h 582"/>
                  <a:gd name="T56" fmla="*/ 2147483647 w 324"/>
                  <a:gd name="T57" fmla="*/ 2147483647 h 582"/>
                  <a:gd name="T58" fmla="*/ 2147483647 w 324"/>
                  <a:gd name="T59" fmla="*/ 2147483647 h 582"/>
                  <a:gd name="T60" fmla="*/ 2147483647 w 324"/>
                  <a:gd name="T61" fmla="*/ 2147483647 h 582"/>
                  <a:gd name="T62" fmla="*/ 2147483647 w 324"/>
                  <a:gd name="T63" fmla="*/ 2147483647 h 582"/>
                  <a:gd name="T64" fmla="*/ 2147483647 w 324"/>
                  <a:gd name="T65" fmla="*/ 2147483647 h 582"/>
                  <a:gd name="T66" fmla="*/ 2147483647 w 324"/>
                  <a:gd name="T67" fmla="*/ 2147483647 h 582"/>
                  <a:gd name="T68" fmla="*/ 2147483647 w 324"/>
                  <a:gd name="T69" fmla="*/ 2147483647 h 582"/>
                  <a:gd name="T70" fmla="*/ 2147483647 w 324"/>
                  <a:gd name="T71" fmla="*/ 2147483647 h 582"/>
                  <a:gd name="T72" fmla="*/ 2147483647 w 324"/>
                  <a:gd name="T73" fmla="*/ 2147483647 h 582"/>
                  <a:gd name="T74" fmla="*/ 2147483647 w 324"/>
                  <a:gd name="T75" fmla="*/ 2147483647 h 582"/>
                  <a:gd name="T76" fmla="*/ 2147483647 w 324"/>
                  <a:gd name="T77" fmla="*/ 2147483647 h 582"/>
                  <a:gd name="T78" fmla="*/ 2147483647 w 324"/>
                  <a:gd name="T79" fmla="*/ 2147483647 h 582"/>
                  <a:gd name="T80" fmla="*/ 2147483647 w 324"/>
                  <a:gd name="T81" fmla="*/ 2147483647 h 582"/>
                  <a:gd name="T82" fmla="*/ 2147483647 w 324"/>
                  <a:gd name="T83" fmla="*/ 2147483647 h 582"/>
                  <a:gd name="T84" fmla="*/ 2147483647 w 324"/>
                  <a:gd name="T85" fmla="*/ 2147483647 h 582"/>
                  <a:gd name="T86" fmla="*/ 2147483647 w 324"/>
                  <a:gd name="T87" fmla="*/ 2147483647 h 582"/>
                  <a:gd name="T88" fmla="*/ 2147483647 w 324"/>
                  <a:gd name="T89" fmla="*/ 2147483647 h 582"/>
                  <a:gd name="T90" fmla="*/ 2147483647 w 324"/>
                  <a:gd name="T91" fmla="*/ 2147483647 h 582"/>
                  <a:gd name="T92" fmla="*/ 2147483647 w 324"/>
                  <a:gd name="T93" fmla="*/ 2147483647 h 582"/>
                  <a:gd name="T94" fmla="*/ 2147483647 w 324"/>
                  <a:gd name="T95" fmla="*/ 2147483647 h 582"/>
                  <a:gd name="T96" fmla="*/ 2147483647 w 324"/>
                  <a:gd name="T97" fmla="*/ 2147483647 h 582"/>
                  <a:gd name="T98" fmla="*/ 2147483647 w 324"/>
                  <a:gd name="T99" fmla="*/ 2147483647 h 582"/>
                  <a:gd name="T100" fmla="*/ 2147483647 w 324"/>
                  <a:gd name="T101" fmla="*/ 2147483647 h 582"/>
                  <a:gd name="T102" fmla="*/ 2147483647 w 324"/>
                  <a:gd name="T103" fmla="*/ 2147483647 h 582"/>
                  <a:gd name="T104" fmla="*/ 2147483647 w 324"/>
                  <a:gd name="T105" fmla="*/ 2147483647 h 582"/>
                  <a:gd name="T106" fmla="*/ 2147483647 w 324"/>
                  <a:gd name="T107" fmla="*/ 2147483647 h 582"/>
                  <a:gd name="T108" fmla="*/ 2147483647 w 324"/>
                  <a:gd name="T109" fmla="*/ 2147483647 h 582"/>
                  <a:gd name="T110" fmla="*/ 2147483647 w 324"/>
                  <a:gd name="T111" fmla="*/ 2147483647 h 582"/>
                  <a:gd name="T112" fmla="*/ 2147483647 w 324"/>
                  <a:gd name="T113" fmla="*/ 2147483647 h 582"/>
                  <a:gd name="T114" fmla="*/ 2147483647 w 324"/>
                  <a:gd name="T115" fmla="*/ 2147483647 h 582"/>
                  <a:gd name="T116" fmla="*/ 2147483647 w 324"/>
                  <a:gd name="T117" fmla="*/ 2147483647 h 582"/>
                  <a:gd name="T118" fmla="*/ 2147483647 w 324"/>
                  <a:gd name="T119" fmla="*/ 2147483647 h 582"/>
                  <a:gd name="T120" fmla="*/ 2147483647 w 324"/>
                  <a:gd name="T121" fmla="*/ 2147483647 h 582"/>
                  <a:gd name="T122" fmla="*/ 2147483647 w 324"/>
                  <a:gd name="T123" fmla="*/ 0 h 582"/>
                  <a:gd name="T124" fmla="*/ 2147483647 w 324"/>
                  <a:gd name="T125" fmla="*/ 2147483647 h 58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24"/>
                  <a:gd name="T190" fmla="*/ 0 h 582"/>
                  <a:gd name="T191" fmla="*/ 324 w 324"/>
                  <a:gd name="T192" fmla="*/ 582 h 58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24" h="582">
                    <a:moveTo>
                      <a:pt x="90" y="42"/>
                    </a:moveTo>
                    <a:lnTo>
                      <a:pt x="84" y="48"/>
                    </a:lnTo>
                    <a:lnTo>
                      <a:pt x="72" y="48"/>
                    </a:lnTo>
                    <a:lnTo>
                      <a:pt x="60" y="60"/>
                    </a:lnTo>
                    <a:lnTo>
                      <a:pt x="60" y="102"/>
                    </a:lnTo>
                    <a:lnTo>
                      <a:pt x="84" y="102"/>
                    </a:lnTo>
                    <a:lnTo>
                      <a:pt x="84" y="120"/>
                    </a:lnTo>
                    <a:lnTo>
                      <a:pt x="78" y="126"/>
                    </a:lnTo>
                    <a:lnTo>
                      <a:pt x="66" y="132"/>
                    </a:lnTo>
                    <a:lnTo>
                      <a:pt x="54" y="132"/>
                    </a:lnTo>
                    <a:lnTo>
                      <a:pt x="42" y="138"/>
                    </a:lnTo>
                    <a:lnTo>
                      <a:pt x="12" y="138"/>
                    </a:lnTo>
                    <a:lnTo>
                      <a:pt x="12" y="144"/>
                    </a:lnTo>
                    <a:lnTo>
                      <a:pt x="30" y="162"/>
                    </a:lnTo>
                    <a:lnTo>
                      <a:pt x="30" y="180"/>
                    </a:lnTo>
                    <a:lnTo>
                      <a:pt x="18" y="186"/>
                    </a:lnTo>
                    <a:lnTo>
                      <a:pt x="12" y="186"/>
                    </a:lnTo>
                    <a:lnTo>
                      <a:pt x="0" y="192"/>
                    </a:lnTo>
                    <a:lnTo>
                      <a:pt x="0" y="204"/>
                    </a:lnTo>
                    <a:lnTo>
                      <a:pt x="6" y="210"/>
                    </a:lnTo>
                    <a:lnTo>
                      <a:pt x="12" y="222"/>
                    </a:lnTo>
                    <a:lnTo>
                      <a:pt x="48" y="258"/>
                    </a:lnTo>
                    <a:lnTo>
                      <a:pt x="72" y="264"/>
                    </a:lnTo>
                    <a:lnTo>
                      <a:pt x="78" y="252"/>
                    </a:lnTo>
                    <a:lnTo>
                      <a:pt x="90" y="264"/>
                    </a:lnTo>
                    <a:lnTo>
                      <a:pt x="96" y="276"/>
                    </a:lnTo>
                    <a:lnTo>
                      <a:pt x="96" y="294"/>
                    </a:lnTo>
                    <a:lnTo>
                      <a:pt x="90" y="306"/>
                    </a:lnTo>
                    <a:lnTo>
                      <a:pt x="84" y="312"/>
                    </a:lnTo>
                    <a:lnTo>
                      <a:pt x="84" y="318"/>
                    </a:lnTo>
                    <a:lnTo>
                      <a:pt x="90" y="324"/>
                    </a:lnTo>
                    <a:lnTo>
                      <a:pt x="96" y="324"/>
                    </a:lnTo>
                    <a:lnTo>
                      <a:pt x="108" y="318"/>
                    </a:lnTo>
                    <a:lnTo>
                      <a:pt x="114" y="318"/>
                    </a:lnTo>
                    <a:lnTo>
                      <a:pt x="114" y="348"/>
                    </a:lnTo>
                    <a:lnTo>
                      <a:pt x="120" y="354"/>
                    </a:lnTo>
                    <a:lnTo>
                      <a:pt x="126" y="354"/>
                    </a:lnTo>
                    <a:lnTo>
                      <a:pt x="126" y="366"/>
                    </a:lnTo>
                    <a:lnTo>
                      <a:pt x="120" y="378"/>
                    </a:lnTo>
                    <a:lnTo>
                      <a:pt x="108" y="390"/>
                    </a:lnTo>
                    <a:lnTo>
                      <a:pt x="96" y="432"/>
                    </a:lnTo>
                    <a:lnTo>
                      <a:pt x="90" y="444"/>
                    </a:lnTo>
                    <a:lnTo>
                      <a:pt x="90" y="450"/>
                    </a:lnTo>
                    <a:lnTo>
                      <a:pt x="84" y="462"/>
                    </a:lnTo>
                    <a:lnTo>
                      <a:pt x="84" y="468"/>
                    </a:lnTo>
                    <a:lnTo>
                      <a:pt x="90" y="480"/>
                    </a:lnTo>
                    <a:lnTo>
                      <a:pt x="114" y="504"/>
                    </a:lnTo>
                    <a:lnTo>
                      <a:pt x="114" y="534"/>
                    </a:lnTo>
                    <a:lnTo>
                      <a:pt x="144" y="570"/>
                    </a:lnTo>
                    <a:lnTo>
                      <a:pt x="156" y="570"/>
                    </a:lnTo>
                    <a:lnTo>
                      <a:pt x="162" y="582"/>
                    </a:lnTo>
                    <a:lnTo>
                      <a:pt x="198" y="582"/>
                    </a:lnTo>
                    <a:lnTo>
                      <a:pt x="204" y="576"/>
                    </a:lnTo>
                    <a:lnTo>
                      <a:pt x="204" y="564"/>
                    </a:lnTo>
                    <a:lnTo>
                      <a:pt x="216" y="552"/>
                    </a:lnTo>
                    <a:lnTo>
                      <a:pt x="234" y="552"/>
                    </a:lnTo>
                    <a:lnTo>
                      <a:pt x="240" y="540"/>
                    </a:lnTo>
                    <a:lnTo>
                      <a:pt x="270" y="540"/>
                    </a:lnTo>
                    <a:lnTo>
                      <a:pt x="270" y="534"/>
                    </a:lnTo>
                    <a:lnTo>
                      <a:pt x="288" y="516"/>
                    </a:lnTo>
                    <a:lnTo>
                      <a:pt x="300" y="516"/>
                    </a:lnTo>
                    <a:lnTo>
                      <a:pt x="312" y="528"/>
                    </a:lnTo>
                    <a:lnTo>
                      <a:pt x="318" y="528"/>
                    </a:lnTo>
                    <a:lnTo>
                      <a:pt x="324" y="522"/>
                    </a:lnTo>
                    <a:lnTo>
                      <a:pt x="324" y="510"/>
                    </a:lnTo>
                    <a:lnTo>
                      <a:pt x="318" y="504"/>
                    </a:lnTo>
                    <a:lnTo>
                      <a:pt x="312" y="492"/>
                    </a:lnTo>
                    <a:lnTo>
                      <a:pt x="306" y="474"/>
                    </a:lnTo>
                    <a:lnTo>
                      <a:pt x="288" y="456"/>
                    </a:lnTo>
                    <a:lnTo>
                      <a:pt x="282" y="444"/>
                    </a:lnTo>
                    <a:lnTo>
                      <a:pt x="282" y="420"/>
                    </a:lnTo>
                    <a:lnTo>
                      <a:pt x="288" y="414"/>
                    </a:lnTo>
                    <a:lnTo>
                      <a:pt x="288" y="396"/>
                    </a:lnTo>
                    <a:lnTo>
                      <a:pt x="276" y="408"/>
                    </a:lnTo>
                    <a:lnTo>
                      <a:pt x="276" y="414"/>
                    </a:lnTo>
                    <a:lnTo>
                      <a:pt x="264" y="414"/>
                    </a:lnTo>
                    <a:lnTo>
                      <a:pt x="258" y="402"/>
                    </a:lnTo>
                    <a:lnTo>
                      <a:pt x="252" y="396"/>
                    </a:lnTo>
                    <a:lnTo>
                      <a:pt x="246" y="384"/>
                    </a:lnTo>
                    <a:lnTo>
                      <a:pt x="246" y="372"/>
                    </a:lnTo>
                    <a:lnTo>
                      <a:pt x="240" y="372"/>
                    </a:lnTo>
                    <a:lnTo>
                      <a:pt x="240" y="366"/>
                    </a:lnTo>
                    <a:lnTo>
                      <a:pt x="234" y="360"/>
                    </a:lnTo>
                    <a:lnTo>
                      <a:pt x="234" y="348"/>
                    </a:lnTo>
                    <a:lnTo>
                      <a:pt x="240" y="336"/>
                    </a:lnTo>
                    <a:lnTo>
                      <a:pt x="246" y="330"/>
                    </a:lnTo>
                    <a:lnTo>
                      <a:pt x="246" y="288"/>
                    </a:lnTo>
                    <a:lnTo>
                      <a:pt x="252" y="282"/>
                    </a:lnTo>
                    <a:lnTo>
                      <a:pt x="264" y="276"/>
                    </a:lnTo>
                    <a:lnTo>
                      <a:pt x="294" y="276"/>
                    </a:lnTo>
                    <a:lnTo>
                      <a:pt x="300" y="270"/>
                    </a:lnTo>
                    <a:lnTo>
                      <a:pt x="300" y="258"/>
                    </a:lnTo>
                    <a:lnTo>
                      <a:pt x="288" y="246"/>
                    </a:lnTo>
                    <a:lnTo>
                      <a:pt x="288" y="234"/>
                    </a:lnTo>
                    <a:lnTo>
                      <a:pt x="294" y="222"/>
                    </a:lnTo>
                    <a:lnTo>
                      <a:pt x="300" y="216"/>
                    </a:lnTo>
                    <a:lnTo>
                      <a:pt x="306" y="204"/>
                    </a:lnTo>
                    <a:lnTo>
                      <a:pt x="306" y="192"/>
                    </a:lnTo>
                    <a:lnTo>
                      <a:pt x="300" y="180"/>
                    </a:lnTo>
                    <a:lnTo>
                      <a:pt x="294" y="174"/>
                    </a:lnTo>
                    <a:lnTo>
                      <a:pt x="276" y="174"/>
                    </a:lnTo>
                    <a:lnTo>
                      <a:pt x="270" y="180"/>
                    </a:lnTo>
                    <a:lnTo>
                      <a:pt x="270" y="156"/>
                    </a:lnTo>
                    <a:lnTo>
                      <a:pt x="258" y="150"/>
                    </a:lnTo>
                    <a:lnTo>
                      <a:pt x="252" y="138"/>
                    </a:lnTo>
                    <a:lnTo>
                      <a:pt x="234" y="132"/>
                    </a:lnTo>
                    <a:lnTo>
                      <a:pt x="216" y="132"/>
                    </a:lnTo>
                    <a:lnTo>
                      <a:pt x="204" y="138"/>
                    </a:lnTo>
                    <a:lnTo>
                      <a:pt x="198" y="150"/>
                    </a:lnTo>
                    <a:lnTo>
                      <a:pt x="198" y="156"/>
                    </a:lnTo>
                    <a:lnTo>
                      <a:pt x="192" y="162"/>
                    </a:lnTo>
                    <a:lnTo>
                      <a:pt x="192" y="168"/>
                    </a:lnTo>
                    <a:lnTo>
                      <a:pt x="192" y="162"/>
                    </a:lnTo>
                    <a:lnTo>
                      <a:pt x="198" y="156"/>
                    </a:lnTo>
                    <a:lnTo>
                      <a:pt x="198" y="144"/>
                    </a:lnTo>
                    <a:lnTo>
                      <a:pt x="204" y="132"/>
                    </a:lnTo>
                    <a:lnTo>
                      <a:pt x="204" y="114"/>
                    </a:lnTo>
                    <a:lnTo>
                      <a:pt x="210" y="102"/>
                    </a:lnTo>
                    <a:lnTo>
                      <a:pt x="210" y="78"/>
                    </a:lnTo>
                    <a:lnTo>
                      <a:pt x="192" y="42"/>
                    </a:lnTo>
                    <a:lnTo>
                      <a:pt x="180" y="30"/>
                    </a:lnTo>
                    <a:lnTo>
                      <a:pt x="132" y="6"/>
                    </a:lnTo>
                    <a:lnTo>
                      <a:pt x="126" y="0"/>
                    </a:lnTo>
                    <a:lnTo>
                      <a:pt x="120" y="0"/>
                    </a:lnTo>
                    <a:lnTo>
                      <a:pt x="102" y="36"/>
                    </a:lnTo>
                    <a:lnTo>
                      <a:pt x="96" y="42"/>
                    </a:lnTo>
                    <a:lnTo>
                      <a:pt x="90" y="4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32" name="Ecuado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0312A63-C703-4C3F-B369-0927D4D504E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991580" y="4462724"/>
                <a:ext cx="183453" cy="237368"/>
              </a:xfrm>
              <a:custGeom>
                <a:avLst/>
                <a:gdLst>
                  <a:gd name="T0" fmla="*/ 2147483647 w 414"/>
                  <a:gd name="T1" fmla="*/ 2147483647 h 528"/>
                  <a:gd name="T2" fmla="*/ 2147483647 w 414"/>
                  <a:gd name="T3" fmla="*/ 2147483647 h 528"/>
                  <a:gd name="T4" fmla="*/ 2147483647 w 414"/>
                  <a:gd name="T5" fmla="*/ 2147483647 h 528"/>
                  <a:gd name="T6" fmla="*/ 2147483647 w 414"/>
                  <a:gd name="T7" fmla="*/ 2147483647 h 528"/>
                  <a:gd name="T8" fmla="*/ 2147483647 w 414"/>
                  <a:gd name="T9" fmla="*/ 2147483647 h 528"/>
                  <a:gd name="T10" fmla="*/ 2147483647 w 414"/>
                  <a:gd name="T11" fmla="*/ 2147483647 h 528"/>
                  <a:gd name="T12" fmla="*/ 2147483647 w 414"/>
                  <a:gd name="T13" fmla="*/ 2147483647 h 528"/>
                  <a:gd name="T14" fmla="*/ 2147483647 w 414"/>
                  <a:gd name="T15" fmla="*/ 2147483647 h 528"/>
                  <a:gd name="T16" fmla="*/ 2147483647 w 414"/>
                  <a:gd name="T17" fmla="*/ 2147483647 h 528"/>
                  <a:gd name="T18" fmla="*/ 2147483647 w 414"/>
                  <a:gd name="T19" fmla="*/ 2147483647 h 528"/>
                  <a:gd name="T20" fmla="*/ 2147483647 w 414"/>
                  <a:gd name="T21" fmla="*/ 2147483647 h 528"/>
                  <a:gd name="T22" fmla="*/ 2147483647 w 414"/>
                  <a:gd name="T23" fmla="*/ 2147483647 h 528"/>
                  <a:gd name="T24" fmla="*/ 2147483647 w 414"/>
                  <a:gd name="T25" fmla="*/ 2147483647 h 528"/>
                  <a:gd name="T26" fmla="*/ 2147483647 w 414"/>
                  <a:gd name="T27" fmla="*/ 2147483647 h 528"/>
                  <a:gd name="T28" fmla="*/ 2147483647 w 414"/>
                  <a:gd name="T29" fmla="*/ 2147483647 h 528"/>
                  <a:gd name="T30" fmla="*/ 2147483647 w 414"/>
                  <a:gd name="T31" fmla="*/ 2147483647 h 528"/>
                  <a:gd name="T32" fmla="*/ 2147483647 w 414"/>
                  <a:gd name="T33" fmla="*/ 2147483647 h 528"/>
                  <a:gd name="T34" fmla="*/ 2147483647 w 414"/>
                  <a:gd name="T35" fmla="*/ 2147483647 h 528"/>
                  <a:gd name="T36" fmla="*/ 2147483647 w 414"/>
                  <a:gd name="T37" fmla="*/ 2147483647 h 528"/>
                  <a:gd name="T38" fmla="*/ 2147483647 w 414"/>
                  <a:gd name="T39" fmla="*/ 2147483647 h 528"/>
                  <a:gd name="T40" fmla="*/ 2147483647 w 414"/>
                  <a:gd name="T41" fmla="*/ 2147483647 h 528"/>
                  <a:gd name="T42" fmla="*/ 2147483647 w 414"/>
                  <a:gd name="T43" fmla="*/ 2147483647 h 528"/>
                  <a:gd name="T44" fmla="*/ 2147483647 w 414"/>
                  <a:gd name="T45" fmla="*/ 2147483647 h 528"/>
                  <a:gd name="T46" fmla="*/ 2147483647 w 414"/>
                  <a:gd name="T47" fmla="*/ 2147483647 h 528"/>
                  <a:gd name="T48" fmla="*/ 2147483647 w 414"/>
                  <a:gd name="T49" fmla="*/ 2147483647 h 528"/>
                  <a:gd name="T50" fmla="*/ 2147483647 w 414"/>
                  <a:gd name="T51" fmla="*/ 2147483647 h 528"/>
                  <a:gd name="T52" fmla="*/ 2147483647 w 414"/>
                  <a:gd name="T53" fmla="*/ 2147483647 h 528"/>
                  <a:gd name="T54" fmla="*/ 2147483647 w 414"/>
                  <a:gd name="T55" fmla="*/ 2147483647 h 528"/>
                  <a:gd name="T56" fmla="*/ 2147483647 w 414"/>
                  <a:gd name="T57" fmla="*/ 2147483647 h 528"/>
                  <a:gd name="T58" fmla="*/ 2147483647 w 414"/>
                  <a:gd name="T59" fmla="*/ 2147483647 h 528"/>
                  <a:gd name="T60" fmla="*/ 2147483647 w 414"/>
                  <a:gd name="T61" fmla="*/ 2147483647 h 528"/>
                  <a:gd name="T62" fmla="*/ 2147483647 w 414"/>
                  <a:gd name="T63" fmla="*/ 2147483647 h 528"/>
                  <a:gd name="T64" fmla="*/ 2147483647 w 414"/>
                  <a:gd name="T65" fmla="*/ 2147483647 h 528"/>
                  <a:gd name="T66" fmla="*/ 2147483647 w 414"/>
                  <a:gd name="T67" fmla="*/ 2147483647 h 528"/>
                  <a:gd name="T68" fmla="*/ 2147483647 w 414"/>
                  <a:gd name="T69" fmla="*/ 2147483647 h 528"/>
                  <a:gd name="T70" fmla="*/ 2147483647 w 414"/>
                  <a:gd name="T71" fmla="*/ 2147483647 h 528"/>
                  <a:gd name="T72" fmla="*/ 2147483647 w 414"/>
                  <a:gd name="T73" fmla="*/ 2147483647 h 528"/>
                  <a:gd name="T74" fmla="*/ 2147483647 w 414"/>
                  <a:gd name="T75" fmla="*/ 2147483647 h 528"/>
                  <a:gd name="T76" fmla="*/ 2147483647 w 414"/>
                  <a:gd name="T77" fmla="*/ 2147483647 h 528"/>
                  <a:gd name="T78" fmla="*/ 2147483647 w 414"/>
                  <a:gd name="T79" fmla="*/ 2147483647 h 528"/>
                  <a:gd name="T80" fmla="*/ 2147483647 w 414"/>
                  <a:gd name="T81" fmla="*/ 2147483647 h 528"/>
                  <a:gd name="T82" fmla="*/ 2147483647 w 414"/>
                  <a:gd name="T83" fmla="*/ 2147483647 h 528"/>
                  <a:gd name="T84" fmla="*/ 2147483647 w 414"/>
                  <a:gd name="T85" fmla="*/ 2147483647 h 528"/>
                  <a:gd name="T86" fmla="*/ 2147483647 w 414"/>
                  <a:gd name="T87" fmla="*/ 2147483647 h 528"/>
                  <a:gd name="T88" fmla="*/ 2147483647 w 414"/>
                  <a:gd name="T89" fmla="*/ 2147483647 h 52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14"/>
                  <a:gd name="T136" fmla="*/ 0 h 528"/>
                  <a:gd name="T137" fmla="*/ 414 w 414"/>
                  <a:gd name="T138" fmla="*/ 528 h 52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14" h="528">
                    <a:moveTo>
                      <a:pt x="60" y="372"/>
                    </a:moveTo>
                    <a:lnTo>
                      <a:pt x="72" y="366"/>
                    </a:lnTo>
                    <a:lnTo>
                      <a:pt x="78" y="360"/>
                    </a:lnTo>
                    <a:lnTo>
                      <a:pt x="78" y="342"/>
                    </a:lnTo>
                    <a:lnTo>
                      <a:pt x="72" y="342"/>
                    </a:lnTo>
                    <a:lnTo>
                      <a:pt x="54" y="360"/>
                    </a:lnTo>
                    <a:lnTo>
                      <a:pt x="54" y="372"/>
                    </a:lnTo>
                    <a:lnTo>
                      <a:pt x="60" y="372"/>
                    </a:lnTo>
                    <a:close/>
                    <a:moveTo>
                      <a:pt x="414" y="174"/>
                    </a:moveTo>
                    <a:lnTo>
                      <a:pt x="390" y="156"/>
                    </a:lnTo>
                    <a:lnTo>
                      <a:pt x="396" y="156"/>
                    </a:lnTo>
                    <a:lnTo>
                      <a:pt x="396" y="150"/>
                    </a:lnTo>
                    <a:lnTo>
                      <a:pt x="402" y="150"/>
                    </a:lnTo>
                    <a:lnTo>
                      <a:pt x="402" y="126"/>
                    </a:lnTo>
                    <a:lnTo>
                      <a:pt x="372" y="126"/>
                    </a:lnTo>
                    <a:lnTo>
                      <a:pt x="360" y="114"/>
                    </a:lnTo>
                    <a:lnTo>
                      <a:pt x="360" y="108"/>
                    </a:lnTo>
                    <a:lnTo>
                      <a:pt x="354" y="102"/>
                    </a:lnTo>
                    <a:lnTo>
                      <a:pt x="354" y="96"/>
                    </a:lnTo>
                    <a:lnTo>
                      <a:pt x="342" y="90"/>
                    </a:lnTo>
                    <a:lnTo>
                      <a:pt x="336" y="90"/>
                    </a:lnTo>
                    <a:lnTo>
                      <a:pt x="330" y="96"/>
                    </a:lnTo>
                    <a:lnTo>
                      <a:pt x="330" y="108"/>
                    </a:lnTo>
                    <a:lnTo>
                      <a:pt x="306" y="108"/>
                    </a:lnTo>
                    <a:lnTo>
                      <a:pt x="300" y="102"/>
                    </a:lnTo>
                    <a:lnTo>
                      <a:pt x="288" y="96"/>
                    </a:lnTo>
                    <a:lnTo>
                      <a:pt x="282" y="102"/>
                    </a:lnTo>
                    <a:lnTo>
                      <a:pt x="270" y="102"/>
                    </a:lnTo>
                    <a:lnTo>
                      <a:pt x="258" y="96"/>
                    </a:lnTo>
                    <a:lnTo>
                      <a:pt x="252" y="90"/>
                    </a:lnTo>
                    <a:lnTo>
                      <a:pt x="252" y="84"/>
                    </a:lnTo>
                    <a:lnTo>
                      <a:pt x="246" y="72"/>
                    </a:lnTo>
                    <a:lnTo>
                      <a:pt x="240" y="66"/>
                    </a:lnTo>
                    <a:lnTo>
                      <a:pt x="228" y="60"/>
                    </a:lnTo>
                    <a:lnTo>
                      <a:pt x="210" y="60"/>
                    </a:lnTo>
                    <a:lnTo>
                      <a:pt x="204" y="48"/>
                    </a:lnTo>
                    <a:lnTo>
                      <a:pt x="168" y="30"/>
                    </a:lnTo>
                    <a:lnTo>
                      <a:pt x="162" y="18"/>
                    </a:lnTo>
                    <a:lnTo>
                      <a:pt x="150" y="12"/>
                    </a:lnTo>
                    <a:lnTo>
                      <a:pt x="144" y="0"/>
                    </a:lnTo>
                    <a:lnTo>
                      <a:pt x="144" y="12"/>
                    </a:lnTo>
                    <a:lnTo>
                      <a:pt x="150" y="18"/>
                    </a:lnTo>
                    <a:lnTo>
                      <a:pt x="150" y="36"/>
                    </a:lnTo>
                    <a:lnTo>
                      <a:pt x="144" y="42"/>
                    </a:lnTo>
                    <a:lnTo>
                      <a:pt x="120" y="54"/>
                    </a:lnTo>
                    <a:lnTo>
                      <a:pt x="102" y="54"/>
                    </a:lnTo>
                    <a:lnTo>
                      <a:pt x="96" y="42"/>
                    </a:lnTo>
                    <a:lnTo>
                      <a:pt x="90" y="42"/>
                    </a:lnTo>
                    <a:lnTo>
                      <a:pt x="78" y="54"/>
                    </a:lnTo>
                    <a:lnTo>
                      <a:pt x="66" y="60"/>
                    </a:lnTo>
                    <a:lnTo>
                      <a:pt x="60" y="72"/>
                    </a:lnTo>
                    <a:lnTo>
                      <a:pt x="60" y="84"/>
                    </a:lnTo>
                    <a:lnTo>
                      <a:pt x="66" y="90"/>
                    </a:lnTo>
                    <a:lnTo>
                      <a:pt x="72" y="102"/>
                    </a:lnTo>
                    <a:lnTo>
                      <a:pt x="72" y="120"/>
                    </a:lnTo>
                    <a:lnTo>
                      <a:pt x="66" y="126"/>
                    </a:lnTo>
                    <a:lnTo>
                      <a:pt x="54" y="132"/>
                    </a:lnTo>
                    <a:lnTo>
                      <a:pt x="42" y="144"/>
                    </a:lnTo>
                    <a:lnTo>
                      <a:pt x="42" y="162"/>
                    </a:lnTo>
                    <a:lnTo>
                      <a:pt x="48" y="168"/>
                    </a:lnTo>
                    <a:lnTo>
                      <a:pt x="54" y="180"/>
                    </a:lnTo>
                    <a:lnTo>
                      <a:pt x="36" y="180"/>
                    </a:lnTo>
                    <a:lnTo>
                      <a:pt x="36" y="198"/>
                    </a:lnTo>
                    <a:lnTo>
                      <a:pt x="0" y="216"/>
                    </a:lnTo>
                    <a:lnTo>
                      <a:pt x="24" y="228"/>
                    </a:lnTo>
                    <a:lnTo>
                      <a:pt x="12" y="258"/>
                    </a:lnTo>
                    <a:lnTo>
                      <a:pt x="24" y="270"/>
                    </a:lnTo>
                    <a:lnTo>
                      <a:pt x="24" y="282"/>
                    </a:lnTo>
                    <a:lnTo>
                      <a:pt x="6" y="300"/>
                    </a:lnTo>
                    <a:lnTo>
                      <a:pt x="0" y="300"/>
                    </a:lnTo>
                    <a:lnTo>
                      <a:pt x="12" y="312"/>
                    </a:lnTo>
                    <a:lnTo>
                      <a:pt x="6" y="318"/>
                    </a:lnTo>
                    <a:lnTo>
                      <a:pt x="6" y="324"/>
                    </a:lnTo>
                    <a:lnTo>
                      <a:pt x="18" y="336"/>
                    </a:lnTo>
                    <a:lnTo>
                      <a:pt x="30" y="342"/>
                    </a:lnTo>
                    <a:lnTo>
                      <a:pt x="60" y="342"/>
                    </a:lnTo>
                    <a:lnTo>
                      <a:pt x="72" y="330"/>
                    </a:lnTo>
                    <a:lnTo>
                      <a:pt x="72" y="324"/>
                    </a:lnTo>
                    <a:lnTo>
                      <a:pt x="96" y="330"/>
                    </a:lnTo>
                    <a:lnTo>
                      <a:pt x="102" y="342"/>
                    </a:lnTo>
                    <a:lnTo>
                      <a:pt x="102" y="348"/>
                    </a:lnTo>
                    <a:lnTo>
                      <a:pt x="96" y="366"/>
                    </a:lnTo>
                    <a:lnTo>
                      <a:pt x="90" y="372"/>
                    </a:lnTo>
                    <a:lnTo>
                      <a:pt x="90" y="384"/>
                    </a:lnTo>
                    <a:lnTo>
                      <a:pt x="84" y="396"/>
                    </a:lnTo>
                    <a:lnTo>
                      <a:pt x="72" y="402"/>
                    </a:lnTo>
                    <a:lnTo>
                      <a:pt x="66" y="402"/>
                    </a:lnTo>
                    <a:lnTo>
                      <a:pt x="60" y="408"/>
                    </a:lnTo>
                    <a:lnTo>
                      <a:pt x="54" y="408"/>
                    </a:lnTo>
                    <a:lnTo>
                      <a:pt x="60" y="408"/>
                    </a:lnTo>
                    <a:lnTo>
                      <a:pt x="72" y="414"/>
                    </a:lnTo>
                    <a:lnTo>
                      <a:pt x="78" y="414"/>
                    </a:lnTo>
                    <a:lnTo>
                      <a:pt x="78" y="420"/>
                    </a:lnTo>
                    <a:lnTo>
                      <a:pt x="72" y="426"/>
                    </a:lnTo>
                    <a:lnTo>
                      <a:pt x="66" y="438"/>
                    </a:lnTo>
                    <a:lnTo>
                      <a:pt x="54" y="444"/>
                    </a:lnTo>
                    <a:lnTo>
                      <a:pt x="48" y="456"/>
                    </a:lnTo>
                    <a:lnTo>
                      <a:pt x="42" y="462"/>
                    </a:lnTo>
                    <a:lnTo>
                      <a:pt x="54" y="474"/>
                    </a:lnTo>
                    <a:lnTo>
                      <a:pt x="42" y="486"/>
                    </a:lnTo>
                    <a:lnTo>
                      <a:pt x="48" y="492"/>
                    </a:lnTo>
                    <a:lnTo>
                      <a:pt x="54" y="492"/>
                    </a:lnTo>
                    <a:lnTo>
                      <a:pt x="66" y="486"/>
                    </a:lnTo>
                    <a:lnTo>
                      <a:pt x="78" y="474"/>
                    </a:lnTo>
                    <a:lnTo>
                      <a:pt x="90" y="486"/>
                    </a:lnTo>
                    <a:lnTo>
                      <a:pt x="120" y="486"/>
                    </a:lnTo>
                    <a:lnTo>
                      <a:pt x="120" y="492"/>
                    </a:lnTo>
                    <a:lnTo>
                      <a:pt x="126" y="498"/>
                    </a:lnTo>
                    <a:lnTo>
                      <a:pt x="126" y="516"/>
                    </a:lnTo>
                    <a:lnTo>
                      <a:pt x="132" y="528"/>
                    </a:lnTo>
                    <a:lnTo>
                      <a:pt x="150" y="528"/>
                    </a:lnTo>
                    <a:lnTo>
                      <a:pt x="150" y="522"/>
                    </a:lnTo>
                    <a:lnTo>
                      <a:pt x="156" y="516"/>
                    </a:lnTo>
                    <a:lnTo>
                      <a:pt x="156" y="510"/>
                    </a:lnTo>
                    <a:lnTo>
                      <a:pt x="162" y="504"/>
                    </a:lnTo>
                    <a:lnTo>
                      <a:pt x="180" y="504"/>
                    </a:lnTo>
                    <a:lnTo>
                      <a:pt x="180" y="474"/>
                    </a:lnTo>
                    <a:lnTo>
                      <a:pt x="186" y="462"/>
                    </a:lnTo>
                    <a:lnTo>
                      <a:pt x="186" y="438"/>
                    </a:lnTo>
                    <a:lnTo>
                      <a:pt x="198" y="426"/>
                    </a:lnTo>
                    <a:lnTo>
                      <a:pt x="198" y="408"/>
                    </a:lnTo>
                    <a:lnTo>
                      <a:pt x="210" y="402"/>
                    </a:lnTo>
                    <a:lnTo>
                      <a:pt x="210" y="396"/>
                    </a:lnTo>
                    <a:lnTo>
                      <a:pt x="228" y="378"/>
                    </a:lnTo>
                    <a:lnTo>
                      <a:pt x="246" y="366"/>
                    </a:lnTo>
                    <a:lnTo>
                      <a:pt x="264" y="360"/>
                    </a:lnTo>
                    <a:lnTo>
                      <a:pt x="324" y="330"/>
                    </a:lnTo>
                    <a:lnTo>
                      <a:pt x="342" y="318"/>
                    </a:lnTo>
                    <a:lnTo>
                      <a:pt x="354" y="300"/>
                    </a:lnTo>
                    <a:lnTo>
                      <a:pt x="366" y="288"/>
                    </a:lnTo>
                    <a:lnTo>
                      <a:pt x="372" y="276"/>
                    </a:lnTo>
                    <a:lnTo>
                      <a:pt x="384" y="264"/>
                    </a:lnTo>
                    <a:lnTo>
                      <a:pt x="390" y="252"/>
                    </a:lnTo>
                    <a:lnTo>
                      <a:pt x="402" y="210"/>
                    </a:lnTo>
                    <a:lnTo>
                      <a:pt x="414" y="204"/>
                    </a:lnTo>
                    <a:lnTo>
                      <a:pt x="414" y="17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33" name="Colombi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AC22A24-3B94-44B6-8DD5-0E04B9C1DB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54481" y="4069470"/>
                <a:ext cx="384378" cy="604050"/>
              </a:xfrm>
              <a:custGeom>
                <a:avLst/>
                <a:gdLst>
                  <a:gd name="T0" fmla="*/ 2147483647 w 870"/>
                  <a:gd name="T1" fmla="*/ 2147483647 h 1344"/>
                  <a:gd name="T2" fmla="*/ 2147483647 w 870"/>
                  <a:gd name="T3" fmla="*/ 2147483647 h 1344"/>
                  <a:gd name="T4" fmla="*/ 2147483647 w 870"/>
                  <a:gd name="T5" fmla="*/ 2147483647 h 1344"/>
                  <a:gd name="T6" fmla="*/ 2147483647 w 870"/>
                  <a:gd name="T7" fmla="*/ 2147483647 h 1344"/>
                  <a:gd name="T8" fmla="*/ 2147483647 w 870"/>
                  <a:gd name="T9" fmla="*/ 2147483647 h 1344"/>
                  <a:gd name="T10" fmla="*/ 2147483647 w 870"/>
                  <a:gd name="T11" fmla="*/ 2147483647 h 1344"/>
                  <a:gd name="T12" fmla="*/ 2147483647 w 870"/>
                  <a:gd name="T13" fmla="*/ 2147483647 h 1344"/>
                  <a:gd name="T14" fmla="*/ 2147483647 w 870"/>
                  <a:gd name="T15" fmla="*/ 2147483647 h 1344"/>
                  <a:gd name="T16" fmla="*/ 2147483647 w 870"/>
                  <a:gd name="T17" fmla="*/ 2147483647 h 1344"/>
                  <a:gd name="T18" fmla="*/ 2147483647 w 870"/>
                  <a:gd name="T19" fmla="*/ 2147483647 h 1344"/>
                  <a:gd name="T20" fmla="*/ 2147483647 w 870"/>
                  <a:gd name="T21" fmla="*/ 2147483647 h 1344"/>
                  <a:gd name="T22" fmla="*/ 2147483647 w 870"/>
                  <a:gd name="T23" fmla="*/ 2147483647 h 1344"/>
                  <a:gd name="T24" fmla="*/ 2147483647 w 870"/>
                  <a:gd name="T25" fmla="*/ 2147483647 h 1344"/>
                  <a:gd name="T26" fmla="*/ 2147483647 w 870"/>
                  <a:gd name="T27" fmla="*/ 2147483647 h 1344"/>
                  <a:gd name="T28" fmla="*/ 2147483647 w 870"/>
                  <a:gd name="T29" fmla="*/ 2147483647 h 1344"/>
                  <a:gd name="T30" fmla="*/ 2147483647 w 870"/>
                  <a:gd name="T31" fmla="*/ 2147483647 h 1344"/>
                  <a:gd name="T32" fmla="*/ 2147483647 w 870"/>
                  <a:gd name="T33" fmla="*/ 2147483647 h 1344"/>
                  <a:gd name="T34" fmla="*/ 2147483647 w 870"/>
                  <a:gd name="T35" fmla="*/ 2147483647 h 1344"/>
                  <a:gd name="T36" fmla="*/ 2147483647 w 870"/>
                  <a:gd name="T37" fmla="*/ 2147483647 h 1344"/>
                  <a:gd name="T38" fmla="*/ 2147483647 w 870"/>
                  <a:gd name="T39" fmla="*/ 2147483647 h 1344"/>
                  <a:gd name="T40" fmla="*/ 2147483647 w 870"/>
                  <a:gd name="T41" fmla="*/ 2147483647 h 1344"/>
                  <a:gd name="T42" fmla="*/ 2147483647 w 870"/>
                  <a:gd name="T43" fmla="*/ 2147483647 h 1344"/>
                  <a:gd name="T44" fmla="*/ 2147483647 w 870"/>
                  <a:gd name="T45" fmla="*/ 2147483647 h 1344"/>
                  <a:gd name="T46" fmla="*/ 2147483647 w 870"/>
                  <a:gd name="T47" fmla="*/ 2147483647 h 1344"/>
                  <a:gd name="T48" fmla="*/ 2147483647 w 870"/>
                  <a:gd name="T49" fmla="*/ 2147483647 h 1344"/>
                  <a:gd name="T50" fmla="*/ 2147483647 w 870"/>
                  <a:gd name="T51" fmla="*/ 2147483647 h 1344"/>
                  <a:gd name="T52" fmla="*/ 2147483647 w 870"/>
                  <a:gd name="T53" fmla="*/ 2147483647 h 1344"/>
                  <a:gd name="T54" fmla="*/ 2147483647 w 870"/>
                  <a:gd name="T55" fmla="*/ 2147483647 h 1344"/>
                  <a:gd name="T56" fmla="*/ 2147483647 w 870"/>
                  <a:gd name="T57" fmla="*/ 2147483647 h 1344"/>
                  <a:gd name="T58" fmla="*/ 2147483647 w 870"/>
                  <a:gd name="T59" fmla="*/ 2147483647 h 1344"/>
                  <a:gd name="T60" fmla="*/ 2147483647 w 870"/>
                  <a:gd name="T61" fmla="*/ 2147483647 h 1344"/>
                  <a:gd name="T62" fmla="*/ 2147483647 w 870"/>
                  <a:gd name="T63" fmla="*/ 2147483647 h 1344"/>
                  <a:gd name="T64" fmla="*/ 2147483647 w 870"/>
                  <a:gd name="T65" fmla="*/ 2147483647 h 1344"/>
                  <a:gd name="T66" fmla="*/ 2147483647 w 870"/>
                  <a:gd name="T67" fmla="*/ 2147483647 h 1344"/>
                  <a:gd name="T68" fmla="*/ 2147483647 w 870"/>
                  <a:gd name="T69" fmla="*/ 2147483647 h 1344"/>
                  <a:gd name="T70" fmla="*/ 2147483647 w 870"/>
                  <a:gd name="T71" fmla="*/ 2147483647 h 1344"/>
                  <a:gd name="T72" fmla="*/ 2147483647 w 870"/>
                  <a:gd name="T73" fmla="*/ 0 h 1344"/>
                  <a:gd name="T74" fmla="*/ 2147483647 w 870"/>
                  <a:gd name="T75" fmla="*/ 2147483647 h 1344"/>
                  <a:gd name="T76" fmla="*/ 2147483647 w 870"/>
                  <a:gd name="T77" fmla="*/ 2147483647 h 1344"/>
                  <a:gd name="T78" fmla="*/ 2147483647 w 870"/>
                  <a:gd name="T79" fmla="*/ 2147483647 h 1344"/>
                  <a:gd name="T80" fmla="*/ 2147483647 w 870"/>
                  <a:gd name="T81" fmla="*/ 2147483647 h 1344"/>
                  <a:gd name="T82" fmla="*/ 2147483647 w 870"/>
                  <a:gd name="T83" fmla="*/ 2147483647 h 1344"/>
                  <a:gd name="T84" fmla="*/ 2147483647 w 870"/>
                  <a:gd name="T85" fmla="*/ 2147483647 h 1344"/>
                  <a:gd name="T86" fmla="*/ 2147483647 w 870"/>
                  <a:gd name="T87" fmla="*/ 2147483647 h 1344"/>
                  <a:gd name="T88" fmla="*/ 2147483647 w 870"/>
                  <a:gd name="T89" fmla="*/ 2147483647 h 1344"/>
                  <a:gd name="T90" fmla="*/ 2147483647 w 870"/>
                  <a:gd name="T91" fmla="*/ 2147483647 h 1344"/>
                  <a:gd name="T92" fmla="*/ 2147483647 w 870"/>
                  <a:gd name="T93" fmla="*/ 2147483647 h 1344"/>
                  <a:gd name="T94" fmla="*/ 2147483647 w 870"/>
                  <a:gd name="T95" fmla="*/ 2147483647 h 1344"/>
                  <a:gd name="T96" fmla="*/ 2147483647 w 870"/>
                  <a:gd name="T97" fmla="*/ 2147483647 h 1344"/>
                  <a:gd name="T98" fmla="*/ 2147483647 w 870"/>
                  <a:gd name="T99" fmla="*/ 2147483647 h 1344"/>
                  <a:gd name="T100" fmla="*/ 2147483647 w 870"/>
                  <a:gd name="T101" fmla="*/ 2147483647 h 1344"/>
                  <a:gd name="T102" fmla="*/ 2147483647 w 870"/>
                  <a:gd name="T103" fmla="*/ 2147483647 h 1344"/>
                  <a:gd name="T104" fmla="*/ 2147483647 w 870"/>
                  <a:gd name="T105" fmla="*/ 2147483647 h 1344"/>
                  <a:gd name="T106" fmla="*/ 2147483647 w 870"/>
                  <a:gd name="T107" fmla="*/ 2147483647 h 134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870"/>
                  <a:gd name="T163" fmla="*/ 0 h 1344"/>
                  <a:gd name="T164" fmla="*/ 870 w 870"/>
                  <a:gd name="T165" fmla="*/ 1344 h 134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870" h="1344">
                    <a:moveTo>
                      <a:pt x="36" y="912"/>
                    </a:moveTo>
                    <a:lnTo>
                      <a:pt x="60" y="924"/>
                    </a:lnTo>
                    <a:lnTo>
                      <a:pt x="66" y="936"/>
                    </a:lnTo>
                    <a:lnTo>
                      <a:pt x="84" y="936"/>
                    </a:lnTo>
                    <a:lnTo>
                      <a:pt x="96" y="942"/>
                    </a:lnTo>
                    <a:lnTo>
                      <a:pt x="102" y="948"/>
                    </a:lnTo>
                    <a:lnTo>
                      <a:pt x="108" y="960"/>
                    </a:lnTo>
                    <a:lnTo>
                      <a:pt x="108" y="966"/>
                    </a:lnTo>
                    <a:lnTo>
                      <a:pt x="114" y="972"/>
                    </a:lnTo>
                    <a:lnTo>
                      <a:pt x="126" y="978"/>
                    </a:lnTo>
                    <a:lnTo>
                      <a:pt x="138" y="978"/>
                    </a:lnTo>
                    <a:lnTo>
                      <a:pt x="144" y="972"/>
                    </a:lnTo>
                    <a:lnTo>
                      <a:pt x="156" y="978"/>
                    </a:lnTo>
                    <a:lnTo>
                      <a:pt x="162" y="984"/>
                    </a:lnTo>
                    <a:lnTo>
                      <a:pt x="186" y="984"/>
                    </a:lnTo>
                    <a:lnTo>
                      <a:pt x="186" y="972"/>
                    </a:lnTo>
                    <a:lnTo>
                      <a:pt x="192" y="966"/>
                    </a:lnTo>
                    <a:lnTo>
                      <a:pt x="198" y="966"/>
                    </a:lnTo>
                    <a:lnTo>
                      <a:pt x="210" y="972"/>
                    </a:lnTo>
                    <a:lnTo>
                      <a:pt x="210" y="978"/>
                    </a:lnTo>
                    <a:lnTo>
                      <a:pt x="216" y="984"/>
                    </a:lnTo>
                    <a:lnTo>
                      <a:pt x="216" y="990"/>
                    </a:lnTo>
                    <a:lnTo>
                      <a:pt x="228" y="1002"/>
                    </a:lnTo>
                    <a:lnTo>
                      <a:pt x="264" y="1002"/>
                    </a:lnTo>
                    <a:lnTo>
                      <a:pt x="276" y="1008"/>
                    </a:lnTo>
                    <a:lnTo>
                      <a:pt x="282" y="1014"/>
                    </a:lnTo>
                    <a:lnTo>
                      <a:pt x="294" y="1020"/>
                    </a:lnTo>
                    <a:lnTo>
                      <a:pt x="312" y="1038"/>
                    </a:lnTo>
                    <a:lnTo>
                      <a:pt x="324" y="1044"/>
                    </a:lnTo>
                    <a:lnTo>
                      <a:pt x="330" y="1050"/>
                    </a:lnTo>
                    <a:lnTo>
                      <a:pt x="342" y="1086"/>
                    </a:lnTo>
                    <a:lnTo>
                      <a:pt x="360" y="1086"/>
                    </a:lnTo>
                    <a:lnTo>
                      <a:pt x="372" y="1104"/>
                    </a:lnTo>
                    <a:lnTo>
                      <a:pt x="384" y="1104"/>
                    </a:lnTo>
                    <a:lnTo>
                      <a:pt x="390" y="1110"/>
                    </a:lnTo>
                    <a:lnTo>
                      <a:pt x="390" y="1134"/>
                    </a:lnTo>
                    <a:lnTo>
                      <a:pt x="396" y="1140"/>
                    </a:lnTo>
                    <a:lnTo>
                      <a:pt x="396" y="1146"/>
                    </a:lnTo>
                    <a:lnTo>
                      <a:pt x="408" y="1146"/>
                    </a:lnTo>
                    <a:lnTo>
                      <a:pt x="420" y="1152"/>
                    </a:lnTo>
                    <a:lnTo>
                      <a:pt x="426" y="1158"/>
                    </a:lnTo>
                    <a:lnTo>
                      <a:pt x="426" y="1164"/>
                    </a:lnTo>
                    <a:lnTo>
                      <a:pt x="420" y="1170"/>
                    </a:lnTo>
                    <a:lnTo>
                      <a:pt x="420" y="1194"/>
                    </a:lnTo>
                    <a:lnTo>
                      <a:pt x="432" y="1200"/>
                    </a:lnTo>
                    <a:lnTo>
                      <a:pt x="456" y="1206"/>
                    </a:lnTo>
                    <a:lnTo>
                      <a:pt x="492" y="1206"/>
                    </a:lnTo>
                    <a:lnTo>
                      <a:pt x="492" y="1194"/>
                    </a:lnTo>
                    <a:lnTo>
                      <a:pt x="504" y="1182"/>
                    </a:lnTo>
                    <a:lnTo>
                      <a:pt x="528" y="1182"/>
                    </a:lnTo>
                    <a:lnTo>
                      <a:pt x="534" y="1188"/>
                    </a:lnTo>
                    <a:lnTo>
                      <a:pt x="540" y="1188"/>
                    </a:lnTo>
                    <a:lnTo>
                      <a:pt x="546" y="1194"/>
                    </a:lnTo>
                    <a:lnTo>
                      <a:pt x="558" y="1194"/>
                    </a:lnTo>
                    <a:lnTo>
                      <a:pt x="570" y="1188"/>
                    </a:lnTo>
                    <a:lnTo>
                      <a:pt x="576" y="1182"/>
                    </a:lnTo>
                    <a:lnTo>
                      <a:pt x="588" y="1182"/>
                    </a:lnTo>
                    <a:lnTo>
                      <a:pt x="588" y="1188"/>
                    </a:lnTo>
                    <a:lnTo>
                      <a:pt x="594" y="1200"/>
                    </a:lnTo>
                    <a:lnTo>
                      <a:pt x="600" y="1206"/>
                    </a:lnTo>
                    <a:lnTo>
                      <a:pt x="624" y="1206"/>
                    </a:lnTo>
                    <a:lnTo>
                      <a:pt x="636" y="1212"/>
                    </a:lnTo>
                    <a:lnTo>
                      <a:pt x="642" y="1218"/>
                    </a:lnTo>
                    <a:lnTo>
                      <a:pt x="642" y="1236"/>
                    </a:lnTo>
                    <a:lnTo>
                      <a:pt x="636" y="1248"/>
                    </a:lnTo>
                    <a:lnTo>
                      <a:pt x="630" y="1254"/>
                    </a:lnTo>
                    <a:lnTo>
                      <a:pt x="624" y="1254"/>
                    </a:lnTo>
                    <a:lnTo>
                      <a:pt x="618" y="1260"/>
                    </a:lnTo>
                    <a:lnTo>
                      <a:pt x="618" y="1266"/>
                    </a:lnTo>
                    <a:lnTo>
                      <a:pt x="606" y="1290"/>
                    </a:lnTo>
                    <a:lnTo>
                      <a:pt x="606" y="1308"/>
                    </a:lnTo>
                    <a:lnTo>
                      <a:pt x="612" y="1314"/>
                    </a:lnTo>
                    <a:lnTo>
                      <a:pt x="630" y="1314"/>
                    </a:lnTo>
                    <a:lnTo>
                      <a:pt x="642" y="1332"/>
                    </a:lnTo>
                    <a:lnTo>
                      <a:pt x="660" y="1344"/>
                    </a:lnTo>
                    <a:lnTo>
                      <a:pt x="660" y="1308"/>
                    </a:lnTo>
                    <a:lnTo>
                      <a:pt x="666" y="1236"/>
                    </a:lnTo>
                    <a:lnTo>
                      <a:pt x="684" y="1188"/>
                    </a:lnTo>
                    <a:lnTo>
                      <a:pt x="678" y="1140"/>
                    </a:lnTo>
                    <a:lnTo>
                      <a:pt x="690" y="1128"/>
                    </a:lnTo>
                    <a:lnTo>
                      <a:pt x="696" y="1116"/>
                    </a:lnTo>
                    <a:lnTo>
                      <a:pt x="696" y="1104"/>
                    </a:lnTo>
                    <a:lnTo>
                      <a:pt x="690" y="1092"/>
                    </a:lnTo>
                    <a:lnTo>
                      <a:pt x="678" y="1080"/>
                    </a:lnTo>
                    <a:lnTo>
                      <a:pt x="678" y="1074"/>
                    </a:lnTo>
                    <a:lnTo>
                      <a:pt x="672" y="1068"/>
                    </a:lnTo>
                    <a:lnTo>
                      <a:pt x="672" y="1044"/>
                    </a:lnTo>
                    <a:lnTo>
                      <a:pt x="666" y="1038"/>
                    </a:lnTo>
                    <a:lnTo>
                      <a:pt x="654" y="1032"/>
                    </a:lnTo>
                    <a:lnTo>
                      <a:pt x="642" y="1020"/>
                    </a:lnTo>
                    <a:lnTo>
                      <a:pt x="636" y="1020"/>
                    </a:lnTo>
                    <a:lnTo>
                      <a:pt x="642" y="954"/>
                    </a:lnTo>
                    <a:lnTo>
                      <a:pt x="672" y="948"/>
                    </a:lnTo>
                    <a:lnTo>
                      <a:pt x="678" y="954"/>
                    </a:lnTo>
                    <a:lnTo>
                      <a:pt x="708" y="954"/>
                    </a:lnTo>
                    <a:lnTo>
                      <a:pt x="714" y="948"/>
                    </a:lnTo>
                    <a:lnTo>
                      <a:pt x="714" y="942"/>
                    </a:lnTo>
                    <a:lnTo>
                      <a:pt x="708" y="936"/>
                    </a:lnTo>
                    <a:lnTo>
                      <a:pt x="708" y="930"/>
                    </a:lnTo>
                    <a:lnTo>
                      <a:pt x="696" y="918"/>
                    </a:lnTo>
                    <a:lnTo>
                      <a:pt x="684" y="924"/>
                    </a:lnTo>
                    <a:lnTo>
                      <a:pt x="660" y="912"/>
                    </a:lnTo>
                    <a:lnTo>
                      <a:pt x="660" y="900"/>
                    </a:lnTo>
                    <a:lnTo>
                      <a:pt x="654" y="888"/>
                    </a:lnTo>
                    <a:lnTo>
                      <a:pt x="654" y="876"/>
                    </a:lnTo>
                    <a:lnTo>
                      <a:pt x="660" y="864"/>
                    </a:lnTo>
                    <a:lnTo>
                      <a:pt x="666" y="858"/>
                    </a:lnTo>
                    <a:lnTo>
                      <a:pt x="684" y="858"/>
                    </a:lnTo>
                    <a:lnTo>
                      <a:pt x="696" y="870"/>
                    </a:lnTo>
                    <a:lnTo>
                      <a:pt x="762" y="864"/>
                    </a:lnTo>
                    <a:lnTo>
                      <a:pt x="762" y="846"/>
                    </a:lnTo>
                    <a:lnTo>
                      <a:pt x="768" y="840"/>
                    </a:lnTo>
                    <a:lnTo>
                      <a:pt x="774" y="840"/>
                    </a:lnTo>
                    <a:lnTo>
                      <a:pt x="798" y="864"/>
                    </a:lnTo>
                    <a:lnTo>
                      <a:pt x="828" y="834"/>
                    </a:lnTo>
                    <a:lnTo>
                      <a:pt x="834" y="834"/>
                    </a:lnTo>
                    <a:lnTo>
                      <a:pt x="834" y="846"/>
                    </a:lnTo>
                    <a:lnTo>
                      <a:pt x="840" y="852"/>
                    </a:lnTo>
                    <a:lnTo>
                      <a:pt x="840" y="864"/>
                    </a:lnTo>
                    <a:lnTo>
                      <a:pt x="846" y="876"/>
                    </a:lnTo>
                    <a:lnTo>
                      <a:pt x="846" y="906"/>
                    </a:lnTo>
                    <a:lnTo>
                      <a:pt x="870" y="906"/>
                    </a:lnTo>
                    <a:lnTo>
                      <a:pt x="864" y="900"/>
                    </a:lnTo>
                    <a:lnTo>
                      <a:pt x="864" y="882"/>
                    </a:lnTo>
                    <a:lnTo>
                      <a:pt x="858" y="870"/>
                    </a:lnTo>
                    <a:lnTo>
                      <a:pt x="858" y="852"/>
                    </a:lnTo>
                    <a:lnTo>
                      <a:pt x="852" y="846"/>
                    </a:lnTo>
                    <a:lnTo>
                      <a:pt x="852" y="828"/>
                    </a:lnTo>
                    <a:lnTo>
                      <a:pt x="846" y="822"/>
                    </a:lnTo>
                    <a:lnTo>
                      <a:pt x="846" y="798"/>
                    </a:lnTo>
                    <a:lnTo>
                      <a:pt x="834" y="798"/>
                    </a:lnTo>
                    <a:lnTo>
                      <a:pt x="822" y="786"/>
                    </a:lnTo>
                    <a:lnTo>
                      <a:pt x="798" y="774"/>
                    </a:lnTo>
                    <a:lnTo>
                      <a:pt x="804" y="774"/>
                    </a:lnTo>
                    <a:lnTo>
                      <a:pt x="834" y="744"/>
                    </a:lnTo>
                    <a:lnTo>
                      <a:pt x="840" y="732"/>
                    </a:lnTo>
                    <a:lnTo>
                      <a:pt x="840" y="726"/>
                    </a:lnTo>
                    <a:lnTo>
                      <a:pt x="834" y="714"/>
                    </a:lnTo>
                    <a:lnTo>
                      <a:pt x="822" y="708"/>
                    </a:lnTo>
                    <a:lnTo>
                      <a:pt x="816" y="696"/>
                    </a:lnTo>
                    <a:lnTo>
                      <a:pt x="816" y="672"/>
                    </a:lnTo>
                    <a:lnTo>
                      <a:pt x="804" y="672"/>
                    </a:lnTo>
                    <a:lnTo>
                      <a:pt x="798" y="666"/>
                    </a:lnTo>
                    <a:lnTo>
                      <a:pt x="798" y="654"/>
                    </a:lnTo>
                    <a:lnTo>
                      <a:pt x="804" y="642"/>
                    </a:lnTo>
                    <a:lnTo>
                      <a:pt x="804" y="612"/>
                    </a:lnTo>
                    <a:lnTo>
                      <a:pt x="798" y="600"/>
                    </a:lnTo>
                    <a:lnTo>
                      <a:pt x="798" y="576"/>
                    </a:lnTo>
                    <a:lnTo>
                      <a:pt x="810" y="564"/>
                    </a:lnTo>
                    <a:lnTo>
                      <a:pt x="816" y="564"/>
                    </a:lnTo>
                    <a:lnTo>
                      <a:pt x="822" y="558"/>
                    </a:lnTo>
                    <a:lnTo>
                      <a:pt x="822" y="534"/>
                    </a:lnTo>
                    <a:lnTo>
                      <a:pt x="840" y="516"/>
                    </a:lnTo>
                    <a:lnTo>
                      <a:pt x="840" y="504"/>
                    </a:lnTo>
                    <a:lnTo>
                      <a:pt x="834" y="498"/>
                    </a:lnTo>
                    <a:lnTo>
                      <a:pt x="816" y="498"/>
                    </a:lnTo>
                    <a:lnTo>
                      <a:pt x="804" y="504"/>
                    </a:lnTo>
                    <a:lnTo>
                      <a:pt x="798" y="510"/>
                    </a:lnTo>
                    <a:lnTo>
                      <a:pt x="774" y="504"/>
                    </a:lnTo>
                    <a:lnTo>
                      <a:pt x="768" y="510"/>
                    </a:lnTo>
                    <a:lnTo>
                      <a:pt x="744" y="510"/>
                    </a:lnTo>
                    <a:lnTo>
                      <a:pt x="738" y="504"/>
                    </a:lnTo>
                    <a:lnTo>
                      <a:pt x="720" y="504"/>
                    </a:lnTo>
                    <a:lnTo>
                      <a:pt x="720" y="510"/>
                    </a:lnTo>
                    <a:lnTo>
                      <a:pt x="696" y="510"/>
                    </a:lnTo>
                    <a:lnTo>
                      <a:pt x="672" y="486"/>
                    </a:lnTo>
                    <a:lnTo>
                      <a:pt x="666" y="468"/>
                    </a:lnTo>
                    <a:lnTo>
                      <a:pt x="660" y="456"/>
                    </a:lnTo>
                    <a:lnTo>
                      <a:pt x="654" y="450"/>
                    </a:lnTo>
                    <a:lnTo>
                      <a:pt x="654" y="444"/>
                    </a:lnTo>
                    <a:lnTo>
                      <a:pt x="630" y="444"/>
                    </a:lnTo>
                    <a:lnTo>
                      <a:pt x="618" y="438"/>
                    </a:lnTo>
                    <a:lnTo>
                      <a:pt x="612" y="432"/>
                    </a:lnTo>
                    <a:lnTo>
                      <a:pt x="600" y="432"/>
                    </a:lnTo>
                    <a:lnTo>
                      <a:pt x="600" y="438"/>
                    </a:lnTo>
                    <a:lnTo>
                      <a:pt x="594" y="444"/>
                    </a:lnTo>
                    <a:lnTo>
                      <a:pt x="582" y="444"/>
                    </a:lnTo>
                    <a:lnTo>
                      <a:pt x="570" y="438"/>
                    </a:lnTo>
                    <a:lnTo>
                      <a:pt x="564" y="438"/>
                    </a:lnTo>
                    <a:lnTo>
                      <a:pt x="552" y="432"/>
                    </a:lnTo>
                    <a:lnTo>
                      <a:pt x="540" y="432"/>
                    </a:lnTo>
                    <a:lnTo>
                      <a:pt x="534" y="438"/>
                    </a:lnTo>
                    <a:lnTo>
                      <a:pt x="510" y="438"/>
                    </a:lnTo>
                    <a:lnTo>
                      <a:pt x="504" y="432"/>
                    </a:lnTo>
                    <a:lnTo>
                      <a:pt x="498" y="420"/>
                    </a:lnTo>
                    <a:lnTo>
                      <a:pt x="498" y="408"/>
                    </a:lnTo>
                    <a:lnTo>
                      <a:pt x="486" y="408"/>
                    </a:lnTo>
                    <a:lnTo>
                      <a:pt x="486" y="366"/>
                    </a:lnTo>
                    <a:lnTo>
                      <a:pt x="498" y="342"/>
                    </a:lnTo>
                    <a:lnTo>
                      <a:pt x="498" y="330"/>
                    </a:lnTo>
                    <a:lnTo>
                      <a:pt x="492" y="324"/>
                    </a:lnTo>
                    <a:lnTo>
                      <a:pt x="480" y="318"/>
                    </a:lnTo>
                    <a:lnTo>
                      <a:pt x="474" y="312"/>
                    </a:lnTo>
                    <a:lnTo>
                      <a:pt x="474" y="276"/>
                    </a:lnTo>
                    <a:lnTo>
                      <a:pt x="468" y="264"/>
                    </a:lnTo>
                    <a:lnTo>
                      <a:pt x="456" y="252"/>
                    </a:lnTo>
                    <a:lnTo>
                      <a:pt x="450" y="252"/>
                    </a:lnTo>
                    <a:lnTo>
                      <a:pt x="438" y="264"/>
                    </a:lnTo>
                    <a:lnTo>
                      <a:pt x="438" y="270"/>
                    </a:lnTo>
                    <a:lnTo>
                      <a:pt x="432" y="264"/>
                    </a:lnTo>
                    <a:lnTo>
                      <a:pt x="432" y="252"/>
                    </a:lnTo>
                    <a:lnTo>
                      <a:pt x="438" y="240"/>
                    </a:lnTo>
                    <a:lnTo>
                      <a:pt x="462" y="216"/>
                    </a:lnTo>
                    <a:lnTo>
                      <a:pt x="462" y="192"/>
                    </a:lnTo>
                    <a:lnTo>
                      <a:pt x="468" y="186"/>
                    </a:lnTo>
                    <a:lnTo>
                      <a:pt x="468" y="168"/>
                    </a:lnTo>
                    <a:lnTo>
                      <a:pt x="480" y="132"/>
                    </a:lnTo>
                    <a:lnTo>
                      <a:pt x="504" y="108"/>
                    </a:lnTo>
                    <a:lnTo>
                      <a:pt x="522" y="102"/>
                    </a:lnTo>
                    <a:lnTo>
                      <a:pt x="534" y="90"/>
                    </a:lnTo>
                    <a:lnTo>
                      <a:pt x="540" y="78"/>
                    </a:lnTo>
                    <a:lnTo>
                      <a:pt x="540" y="72"/>
                    </a:lnTo>
                    <a:lnTo>
                      <a:pt x="546" y="66"/>
                    </a:lnTo>
                    <a:lnTo>
                      <a:pt x="558" y="66"/>
                    </a:lnTo>
                    <a:lnTo>
                      <a:pt x="564" y="60"/>
                    </a:lnTo>
                    <a:lnTo>
                      <a:pt x="570" y="60"/>
                    </a:lnTo>
                    <a:lnTo>
                      <a:pt x="576" y="54"/>
                    </a:lnTo>
                    <a:lnTo>
                      <a:pt x="582" y="54"/>
                    </a:lnTo>
                    <a:lnTo>
                      <a:pt x="600" y="36"/>
                    </a:lnTo>
                    <a:lnTo>
                      <a:pt x="600" y="12"/>
                    </a:lnTo>
                    <a:lnTo>
                      <a:pt x="594" y="6"/>
                    </a:lnTo>
                    <a:lnTo>
                      <a:pt x="582" y="0"/>
                    </a:lnTo>
                    <a:lnTo>
                      <a:pt x="570" y="6"/>
                    </a:lnTo>
                    <a:lnTo>
                      <a:pt x="546" y="6"/>
                    </a:lnTo>
                    <a:lnTo>
                      <a:pt x="540" y="12"/>
                    </a:lnTo>
                    <a:lnTo>
                      <a:pt x="534" y="12"/>
                    </a:lnTo>
                    <a:lnTo>
                      <a:pt x="522" y="24"/>
                    </a:lnTo>
                    <a:lnTo>
                      <a:pt x="522" y="36"/>
                    </a:lnTo>
                    <a:lnTo>
                      <a:pt x="516" y="48"/>
                    </a:lnTo>
                    <a:lnTo>
                      <a:pt x="504" y="60"/>
                    </a:lnTo>
                    <a:lnTo>
                      <a:pt x="492" y="60"/>
                    </a:lnTo>
                    <a:lnTo>
                      <a:pt x="480" y="54"/>
                    </a:lnTo>
                    <a:lnTo>
                      <a:pt x="474" y="54"/>
                    </a:lnTo>
                    <a:lnTo>
                      <a:pt x="444" y="84"/>
                    </a:lnTo>
                    <a:lnTo>
                      <a:pt x="444" y="90"/>
                    </a:lnTo>
                    <a:lnTo>
                      <a:pt x="408" y="102"/>
                    </a:lnTo>
                    <a:lnTo>
                      <a:pt x="402" y="96"/>
                    </a:lnTo>
                    <a:lnTo>
                      <a:pt x="390" y="90"/>
                    </a:lnTo>
                    <a:lnTo>
                      <a:pt x="384" y="90"/>
                    </a:lnTo>
                    <a:lnTo>
                      <a:pt x="378" y="102"/>
                    </a:lnTo>
                    <a:lnTo>
                      <a:pt x="378" y="120"/>
                    </a:lnTo>
                    <a:lnTo>
                      <a:pt x="372" y="132"/>
                    </a:lnTo>
                    <a:lnTo>
                      <a:pt x="366" y="138"/>
                    </a:lnTo>
                    <a:lnTo>
                      <a:pt x="354" y="138"/>
                    </a:lnTo>
                    <a:lnTo>
                      <a:pt x="354" y="132"/>
                    </a:lnTo>
                    <a:lnTo>
                      <a:pt x="360" y="126"/>
                    </a:lnTo>
                    <a:lnTo>
                      <a:pt x="354" y="120"/>
                    </a:lnTo>
                    <a:lnTo>
                      <a:pt x="342" y="120"/>
                    </a:lnTo>
                    <a:lnTo>
                      <a:pt x="330" y="126"/>
                    </a:lnTo>
                    <a:lnTo>
                      <a:pt x="318" y="126"/>
                    </a:lnTo>
                    <a:lnTo>
                      <a:pt x="312" y="132"/>
                    </a:lnTo>
                    <a:lnTo>
                      <a:pt x="306" y="132"/>
                    </a:lnTo>
                    <a:lnTo>
                      <a:pt x="300" y="144"/>
                    </a:lnTo>
                    <a:lnTo>
                      <a:pt x="288" y="150"/>
                    </a:lnTo>
                    <a:lnTo>
                      <a:pt x="282" y="162"/>
                    </a:lnTo>
                    <a:lnTo>
                      <a:pt x="276" y="168"/>
                    </a:lnTo>
                    <a:lnTo>
                      <a:pt x="276" y="186"/>
                    </a:lnTo>
                    <a:lnTo>
                      <a:pt x="282" y="192"/>
                    </a:lnTo>
                    <a:lnTo>
                      <a:pt x="264" y="222"/>
                    </a:lnTo>
                    <a:lnTo>
                      <a:pt x="276" y="246"/>
                    </a:lnTo>
                    <a:lnTo>
                      <a:pt x="252" y="246"/>
                    </a:lnTo>
                    <a:lnTo>
                      <a:pt x="240" y="252"/>
                    </a:lnTo>
                    <a:lnTo>
                      <a:pt x="228" y="264"/>
                    </a:lnTo>
                    <a:lnTo>
                      <a:pt x="228" y="276"/>
                    </a:lnTo>
                    <a:lnTo>
                      <a:pt x="222" y="288"/>
                    </a:lnTo>
                    <a:lnTo>
                      <a:pt x="216" y="294"/>
                    </a:lnTo>
                    <a:lnTo>
                      <a:pt x="204" y="294"/>
                    </a:lnTo>
                    <a:lnTo>
                      <a:pt x="198" y="300"/>
                    </a:lnTo>
                    <a:lnTo>
                      <a:pt x="192" y="300"/>
                    </a:lnTo>
                    <a:lnTo>
                      <a:pt x="174" y="306"/>
                    </a:lnTo>
                    <a:lnTo>
                      <a:pt x="186" y="330"/>
                    </a:lnTo>
                    <a:lnTo>
                      <a:pt x="186" y="366"/>
                    </a:lnTo>
                    <a:lnTo>
                      <a:pt x="168" y="366"/>
                    </a:lnTo>
                    <a:lnTo>
                      <a:pt x="168" y="360"/>
                    </a:lnTo>
                    <a:lnTo>
                      <a:pt x="174" y="354"/>
                    </a:lnTo>
                    <a:lnTo>
                      <a:pt x="174" y="342"/>
                    </a:lnTo>
                    <a:lnTo>
                      <a:pt x="144" y="312"/>
                    </a:lnTo>
                    <a:lnTo>
                      <a:pt x="138" y="312"/>
                    </a:lnTo>
                    <a:lnTo>
                      <a:pt x="132" y="318"/>
                    </a:lnTo>
                    <a:lnTo>
                      <a:pt x="132" y="336"/>
                    </a:lnTo>
                    <a:lnTo>
                      <a:pt x="138" y="348"/>
                    </a:lnTo>
                    <a:lnTo>
                      <a:pt x="150" y="354"/>
                    </a:lnTo>
                    <a:lnTo>
                      <a:pt x="150" y="366"/>
                    </a:lnTo>
                    <a:lnTo>
                      <a:pt x="138" y="390"/>
                    </a:lnTo>
                    <a:lnTo>
                      <a:pt x="132" y="396"/>
                    </a:lnTo>
                    <a:lnTo>
                      <a:pt x="120" y="390"/>
                    </a:lnTo>
                    <a:lnTo>
                      <a:pt x="114" y="384"/>
                    </a:lnTo>
                    <a:lnTo>
                      <a:pt x="102" y="414"/>
                    </a:lnTo>
                    <a:lnTo>
                      <a:pt x="114" y="438"/>
                    </a:lnTo>
                    <a:lnTo>
                      <a:pt x="114" y="450"/>
                    </a:lnTo>
                    <a:lnTo>
                      <a:pt x="126" y="462"/>
                    </a:lnTo>
                    <a:lnTo>
                      <a:pt x="132" y="474"/>
                    </a:lnTo>
                    <a:lnTo>
                      <a:pt x="132" y="480"/>
                    </a:lnTo>
                    <a:lnTo>
                      <a:pt x="120" y="492"/>
                    </a:lnTo>
                    <a:lnTo>
                      <a:pt x="114" y="492"/>
                    </a:lnTo>
                    <a:lnTo>
                      <a:pt x="132" y="516"/>
                    </a:lnTo>
                    <a:lnTo>
                      <a:pt x="138" y="552"/>
                    </a:lnTo>
                    <a:lnTo>
                      <a:pt x="114" y="558"/>
                    </a:lnTo>
                    <a:lnTo>
                      <a:pt x="132" y="576"/>
                    </a:lnTo>
                    <a:lnTo>
                      <a:pt x="132" y="636"/>
                    </a:lnTo>
                    <a:lnTo>
                      <a:pt x="120" y="642"/>
                    </a:lnTo>
                    <a:lnTo>
                      <a:pt x="114" y="654"/>
                    </a:lnTo>
                    <a:lnTo>
                      <a:pt x="114" y="678"/>
                    </a:lnTo>
                    <a:lnTo>
                      <a:pt x="138" y="702"/>
                    </a:lnTo>
                    <a:lnTo>
                      <a:pt x="138" y="720"/>
                    </a:lnTo>
                    <a:lnTo>
                      <a:pt x="132" y="732"/>
                    </a:lnTo>
                    <a:lnTo>
                      <a:pt x="120" y="738"/>
                    </a:lnTo>
                    <a:lnTo>
                      <a:pt x="114" y="750"/>
                    </a:lnTo>
                    <a:lnTo>
                      <a:pt x="102" y="756"/>
                    </a:lnTo>
                    <a:lnTo>
                      <a:pt x="96" y="762"/>
                    </a:lnTo>
                    <a:lnTo>
                      <a:pt x="114" y="774"/>
                    </a:lnTo>
                    <a:lnTo>
                      <a:pt x="84" y="798"/>
                    </a:lnTo>
                    <a:lnTo>
                      <a:pt x="66" y="798"/>
                    </a:lnTo>
                    <a:lnTo>
                      <a:pt x="54" y="804"/>
                    </a:lnTo>
                    <a:lnTo>
                      <a:pt x="36" y="810"/>
                    </a:lnTo>
                    <a:lnTo>
                      <a:pt x="30" y="822"/>
                    </a:lnTo>
                    <a:lnTo>
                      <a:pt x="30" y="846"/>
                    </a:lnTo>
                    <a:lnTo>
                      <a:pt x="36" y="852"/>
                    </a:lnTo>
                    <a:lnTo>
                      <a:pt x="36" y="858"/>
                    </a:lnTo>
                    <a:lnTo>
                      <a:pt x="6" y="858"/>
                    </a:lnTo>
                    <a:lnTo>
                      <a:pt x="0" y="864"/>
                    </a:lnTo>
                    <a:lnTo>
                      <a:pt x="0" y="876"/>
                    </a:lnTo>
                    <a:lnTo>
                      <a:pt x="6" y="888"/>
                    </a:lnTo>
                    <a:lnTo>
                      <a:pt x="18" y="894"/>
                    </a:lnTo>
                    <a:lnTo>
                      <a:pt x="24" y="906"/>
                    </a:lnTo>
                    <a:lnTo>
                      <a:pt x="36" y="912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34" name="Chil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59616C04-39E5-4D4D-895A-E2DA15C6C68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365477" y="5158887"/>
                <a:ext cx="511921" cy="1360444"/>
              </a:xfrm>
              <a:custGeom>
                <a:avLst/>
                <a:gdLst>
                  <a:gd name="T0" fmla="*/ 2147483647 w 1158"/>
                  <a:gd name="T1" fmla="*/ 2147483647 h 3030"/>
                  <a:gd name="T2" fmla="*/ 2147483647 w 1158"/>
                  <a:gd name="T3" fmla="*/ 2147483647 h 3030"/>
                  <a:gd name="T4" fmla="*/ 2147483647 w 1158"/>
                  <a:gd name="T5" fmla="*/ 2147483647 h 3030"/>
                  <a:gd name="T6" fmla="*/ 2147483647 w 1158"/>
                  <a:gd name="T7" fmla="*/ 2147483647 h 3030"/>
                  <a:gd name="T8" fmla="*/ 2147483647 w 1158"/>
                  <a:gd name="T9" fmla="*/ 2147483647 h 3030"/>
                  <a:gd name="T10" fmla="*/ 2147483647 w 1158"/>
                  <a:gd name="T11" fmla="*/ 2147483647 h 3030"/>
                  <a:gd name="T12" fmla="*/ 2147483647 w 1158"/>
                  <a:gd name="T13" fmla="*/ 2147483647 h 3030"/>
                  <a:gd name="T14" fmla="*/ 2147483647 w 1158"/>
                  <a:gd name="T15" fmla="*/ 2147483647 h 3030"/>
                  <a:gd name="T16" fmla="*/ 2147483647 w 1158"/>
                  <a:gd name="T17" fmla="*/ 2147483647 h 3030"/>
                  <a:gd name="T18" fmla="*/ 2147483647 w 1158"/>
                  <a:gd name="T19" fmla="*/ 2147483647 h 3030"/>
                  <a:gd name="T20" fmla="*/ 2147483647 w 1158"/>
                  <a:gd name="T21" fmla="*/ 2147483647 h 3030"/>
                  <a:gd name="T22" fmla="*/ 2147483647 w 1158"/>
                  <a:gd name="T23" fmla="*/ 2147483647 h 3030"/>
                  <a:gd name="T24" fmla="*/ 2147483647 w 1158"/>
                  <a:gd name="T25" fmla="*/ 2147483647 h 3030"/>
                  <a:gd name="T26" fmla="*/ 2147483647 w 1158"/>
                  <a:gd name="T27" fmla="*/ 2147483647 h 3030"/>
                  <a:gd name="T28" fmla="*/ 2147483647 w 1158"/>
                  <a:gd name="T29" fmla="*/ 2147483647 h 3030"/>
                  <a:gd name="T30" fmla="*/ 2147483647 w 1158"/>
                  <a:gd name="T31" fmla="*/ 2147483647 h 3030"/>
                  <a:gd name="T32" fmla="*/ 2147483647 w 1158"/>
                  <a:gd name="T33" fmla="*/ 2147483647 h 3030"/>
                  <a:gd name="T34" fmla="*/ 2147483647 w 1158"/>
                  <a:gd name="T35" fmla="*/ 2147483647 h 3030"/>
                  <a:gd name="T36" fmla="*/ 2147483647 w 1158"/>
                  <a:gd name="T37" fmla="*/ 2147483647 h 3030"/>
                  <a:gd name="T38" fmla="*/ 2147483647 w 1158"/>
                  <a:gd name="T39" fmla="*/ 2147483647 h 3030"/>
                  <a:gd name="T40" fmla="*/ 2147483647 w 1158"/>
                  <a:gd name="T41" fmla="*/ 2147483647 h 3030"/>
                  <a:gd name="T42" fmla="*/ 2147483647 w 1158"/>
                  <a:gd name="T43" fmla="*/ 2147483647 h 3030"/>
                  <a:gd name="T44" fmla="*/ 2147483647 w 1158"/>
                  <a:gd name="T45" fmla="*/ 2147483647 h 3030"/>
                  <a:gd name="T46" fmla="*/ 2147483647 w 1158"/>
                  <a:gd name="T47" fmla="*/ 2147483647 h 3030"/>
                  <a:gd name="T48" fmla="*/ 2147483647 w 1158"/>
                  <a:gd name="T49" fmla="*/ 2147483647 h 3030"/>
                  <a:gd name="T50" fmla="*/ 2147483647 w 1158"/>
                  <a:gd name="T51" fmla="*/ 2147483647 h 3030"/>
                  <a:gd name="T52" fmla="*/ 2147483647 w 1158"/>
                  <a:gd name="T53" fmla="*/ 2147483647 h 3030"/>
                  <a:gd name="T54" fmla="*/ 2147483647 w 1158"/>
                  <a:gd name="T55" fmla="*/ 2147483647 h 3030"/>
                  <a:gd name="T56" fmla="*/ 2147483647 w 1158"/>
                  <a:gd name="T57" fmla="*/ 2147483647 h 3030"/>
                  <a:gd name="T58" fmla="*/ 2147483647 w 1158"/>
                  <a:gd name="T59" fmla="*/ 2147483647 h 3030"/>
                  <a:gd name="T60" fmla="*/ 2147483647 w 1158"/>
                  <a:gd name="T61" fmla="*/ 2147483647 h 3030"/>
                  <a:gd name="T62" fmla="*/ 2147483647 w 1158"/>
                  <a:gd name="T63" fmla="*/ 2147483647 h 3030"/>
                  <a:gd name="T64" fmla="*/ 2147483647 w 1158"/>
                  <a:gd name="T65" fmla="*/ 2147483647 h 3030"/>
                  <a:gd name="T66" fmla="*/ 2147483647 w 1158"/>
                  <a:gd name="T67" fmla="*/ 2147483647 h 3030"/>
                  <a:gd name="T68" fmla="*/ 2147483647 w 1158"/>
                  <a:gd name="T69" fmla="*/ 2147483647 h 3030"/>
                  <a:gd name="T70" fmla="*/ 2147483647 w 1158"/>
                  <a:gd name="T71" fmla="*/ 2147483647 h 3030"/>
                  <a:gd name="T72" fmla="*/ 2147483647 w 1158"/>
                  <a:gd name="T73" fmla="*/ 2147483647 h 3030"/>
                  <a:gd name="T74" fmla="*/ 2147483647 w 1158"/>
                  <a:gd name="T75" fmla="*/ 2147483647 h 3030"/>
                  <a:gd name="T76" fmla="*/ 2147483647 w 1158"/>
                  <a:gd name="T77" fmla="*/ 2147483647 h 3030"/>
                  <a:gd name="T78" fmla="*/ 0 w 1158"/>
                  <a:gd name="T79" fmla="*/ 2147483647 h 3030"/>
                  <a:gd name="T80" fmla="*/ 2147483647 w 1158"/>
                  <a:gd name="T81" fmla="*/ 2147483647 h 3030"/>
                  <a:gd name="T82" fmla="*/ 2147483647 w 1158"/>
                  <a:gd name="T83" fmla="*/ 2147483647 h 3030"/>
                  <a:gd name="T84" fmla="*/ 2147483647 w 1158"/>
                  <a:gd name="T85" fmla="*/ 2147483647 h 3030"/>
                  <a:gd name="T86" fmla="*/ 2147483647 w 1158"/>
                  <a:gd name="T87" fmla="*/ 2147483647 h 3030"/>
                  <a:gd name="T88" fmla="*/ 2147483647 w 1158"/>
                  <a:gd name="T89" fmla="*/ 2147483647 h 3030"/>
                  <a:gd name="T90" fmla="*/ 2147483647 w 1158"/>
                  <a:gd name="T91" fmla="*/ 2147483647 h 3030"/>
                  <a:gd name="T92" fmla="*/ 2147483647 w 1158"/>
                  <a:gd name="T93" fmla="*/ 2147483647 h 3030"/>
                  <a:gd name="T94" fmla="*/ 2147483647 w 1158"/>
                  <a:gd name="T95" fmla="*/ 2147483647 h 3030"/>
                  <a:gd name="T96" fmla="*/ 2147483647 w 1158"/>
                  <a:gd name="T97" fmla="*/ 2147483647 h 3030"/>
                  <a:gd name="T98" fmla="*/ 2147483647 w 1158"/>
                  <a:gd name="T99" fmla="*/ 2147483647 h 3030"/>
                  <a:gd name="T100" fmla="*/ 2147483647 w 1158"/>
                  <a:gd name="T101" fmla="*/ 2147483647 h 3030"/>
                  <a:gd name="T102" fmla="*/ 2147483647 w 1158"/>
                  <a:gd name="T103" fmla="*/ 2147483647 h 3030"/>
                  <a:gd name="T104" fmla="*/ 2147483647 w 1158"/>
                  <a:gd name="T105" fmla="*/ 2147483647 h 3030"/>
                  <a:gd name="T106" fmla="*/ 2147483647 w 1158"/>
                  <a:gd name="T107" fmla="*/ 2147483647 h 3030"/>
                  <a:gd name="T108" fmla="*/ 2147483647 w 1158"/>
                  <a:gd name="T109" fmla="*/ 2147483647 h 3030"/>
                  <a:gd name="T110" fmla="*/ 2147483647 w 1158"/>
                  <a:gd name="T111" fmla="*/ 2147483647 h 3030"/>
                  <a:gd name="T112" fmla="*/ 2147483647 w 1158"/>
                  <a:gd name="T113" fmla="*/ 2147483647 h 3030"/>
                  <a:gd name="T114" fmla="*/ 2147483647 w 1158"/>
                  <a:gd name="T115" fmla="*/ 2147483647 h 3030"/>
                  <a:gd name="T116" fmla="*/ 2147483647 w 1158"/>
                  <a:gd name="T117" fmla="*/ 2147483647 h 3030"/>
                  <a:gd name="T118" fmla="*/ 2147483647 w 1158"/>
                  <a:gd name="T119" fmla="*/ 2147483647 h 3030"/>
                  <a:gd name="T120" fmla="*/ 2147483647 w 1158"/>
                  <a:gd name="T121" fmla="*/ 2147483647 h 3030"/>
                  <a:gd name="T122" fmla="*/ 2147483647 w 1158"/>
                  <a:gd name="T123" fmla="*/ 2147483647 h 303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158"/>
                  <a:gd name="T187" fmla="*/ 0 h 3030"/>
                  <a:gd name="T188" fmla="*/ 1158 w 1158"/>
                  <a:gd name="T189" fmla="*/ 3030 h 303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158" h="3030">
                    <a:moveTo>
                      <a:pt x="1014" y="2910"/>
                    </a:moveTo>
                    <a:lnTo>
                      <a:pt x="984" y="2898"/>
                    </a:lnTo>
                    <a:lnTo>
                      <a:pt x="966" y="2880"/>
                    </a:lnTo>
                    <a:lnTo>
                      <a:pt x="948" y="2874"/>
                    </a:lnTo>
                    <a:lnTo>
                      <a:pt x="942" y="2862"/>
                    </a:lnTo>
                    <a:lnTo>
                      <a:pt x="936" y="2856"/>
                    </a:lnTo>
                    <a:lnTo>
                      <a:pt x="936" y="2850"/>
                    </a:lnTo>
                    <a:lnTo>
                      <a:pt x="906" y="2850"/>
                    </a:lnTo>
                    <a:lnTo>
                      <a:pt x="912" y="2832"/>
                    </a:lnTo>
                    <a:lnTo>
                      <a:pt x="870" y="2796"/>
                    </a:lnTo>
                    <a:lnTo>
                      <a:pt x="840" y="2802"/>
                    </a:lnTo>
                    <a:lnTo>
                      <a:pt x="828" y="2796"/>
                    </a:lnTo>
                    <a:lnTo>
                      <a:pt x="816" y="2808"/>
                    </a:lnTo>
                    <a:lnTo>
                      <a:pt x="792" y="2814"/>
                    </a:lnTo>
                    <a:lnTo>
                      <a:pt x="798" y="2832"/>
                    </a:lnTo>
                    <a:lnTo>
                      <a:pt x="780" y="2832"/>
                    </a:lnTo>
                    <a:lnTo>
                      <a:pt x="780" y="2862"/>
                    </a:lnTo>
                    <a:lnTo>
                      <a:pt x="786" y="2868"/>
                    </a:lnTo>
                    <a:lnTo>
                      <a:pt x="798" y="2868"/>
                    </a:lnTo>
                    <a:lnTo>
                      <a:pt x="810" y="2862"/>
                    </a:lnTo>
                    <a:lnTo>
                      <a:pt x="816" y="2856"/>
                    </a:lnTo>
                    <a:lnTo>
                      <a:pt x="828" y="2850"/>
                    </a:lnTo>
                    <a:lnTo>
                      <a:pt x="834" y="2844"/>
                    </a:lnTo>
                    <a:lnTo>
                      <a:pt x="858" y="2856"/>
                    </a:lnTo>
                    <a:lnTo>
                      <a:pt x="858" y="2874"/>
                    </a:lnTo>
                    <a:lnTo>
                      <a:pt x="846" y="2880"/>
                    </a:lnTo>
                    <a:lnTo>
                      <a:pt x="828" y="2898"/>
                    </a:lnTo>
                    <a:lnTo>
                      <a:pt x="822" y="2898"/>
                    </a:lnTo>
                    <a:lnTo>
                      <a:pt x="828" y="2904"/>
                    </a:lnTo>
                    <a:lnTo>
                      <a:pt x="882" y="2922"/>
                    </a:lnTo>
                    <a:lnTo>
                      <a:pt x="912" y="2928"/>
                    </a:lnTo>
                    <a:lnTo>
                      <a:pt x="924" y="2934"/>
                    </a:lnTo>
                    <a:lnTo>
                      <a:pt x="906" y="2958"/>
                    </a:lnTo>
                    <a:lnTo>
                      <a:pt x="906" y="2952"/>
                    </a:lnTo>
                    <a:lnTo>
                      <a:pt x="894" y="2940"/>
                    </a:lnTo>
                    <a:lnTo>
                      <a:pt x="876" y="2940"/>
                    </a:lnTo>
                    <a:lnTo>
                      <a:pt x="870" y="2946"/>
                    </a:lnTo>
                    <a:lnTo>
                      <a:pt x="870" y="2952"/>
                    </a:lnTo>
                    <a:lnTo>
                      <a:pt x="852" y="2928"/>
                    </a:lnTo>
                    <a:lnTo>
                      <a:pt x="834" y="2934"/>
                    </a:lnTo>
                    <a:lnTo>
                      <a:pt x="846" y="2946"/>
                    </a:lnTo>
                    <a:lnTo>
                      <a:pt x="816" y="2940"/>
                    </a:lnTo>
                    <a:lnTo>
                      <a:pt x="822" y="2946"/>
                    </a:lnTo>
                    <a:lnTo>
                      <a:pt x="828" y="2958"/>
                    </a:lnTo>
                    <a:lnTo>
                      <a:pt x="834" y="2964"/>
                    </a:lnTo>
                    <a:lnTo>
                      <a:pt x="894" y="2964"/>
                    </a:lnTo>
                    <a:lnTo>
                      <a:pt x="906" y="2970"/>
                    </a:lnTo>
                    <a:lnTo>
                      <a:pt x="1050" y="2970"/>
                    </a:lnTo>
                    <a:lnTo>
                      <a:pt x="1074" y="2982"/>
                    </a:lnTo>
                    <a:lnTo>
                      <a:pt x="1080" y="2988"/>
                    </a:lnTo>
                    <a:lnTo>
                      <a:pt x="1086" y="2988"/>
                    </a:lnTo>
                    <a:lnTo>
                      <a:pt x="1122" y="2970"/>
                    </a:lnTo>
                    <a:lnTo>
                      <a:pt x="1140" y="2976"/>
                    </a:lnTo>
                    <a:lnTo>
                      <a:pt x="1152" y="2976"/>
                    </a:lnTo>
                    <a:lnTo>
                      <a:pt x="1158" y="2952"/>
                    </a:lnTo>
                    <a:lnTo>
                      <a:pt x="1140" y="2952"/>
                    </a:lnTo>
                    <a:lnTo>
                      <a:pt x="1086" y="2940"/>
                    </a:lnTo>
                    <a:lnTo>
                      <a:pt x="1014" y="2910"/>
                    </a:lnTo>
                    <a:close/>
                    <a:moveTo>
                      <a:pt x="990" y="2988"/>
                    </a:moveTo>
                    <a:lnTo>
                      <a:pt x="1014" y="3000"/>
                    </a:lnTo>
                    <a:lnTo>
                      <a:pt x="1068" y="3006"/>
                    </a:lnTo>
                    <a:lnTo>
                      <a:pt x="1038" y="2982"/>
                    </a:lnTo>
                    <a:lnTo>
                      <a:pt x="990" y="2988"/>
                    </a:lnTo>
                    <a:close/>
                    <a:moveTo>
                      <a:pt x="960" y="2994"/>
                    </a:moveTo>
                    <a:lnTo>
                      <a:pt x="966" y="2982"/>
                    </a:lnTo>
                    <a:lnTo>
                      <a:pt x="888" y="2982"/>
                    </a:lnTo>
                    <a:lnTo>
                      <a:pt x="906" y="3012"/>
                    </a:lnTo>
                    <a:lnTo>
                      <a:pt x="936" y="3018"/>
                    </a:lnTo>
                    <a:lnTo>
                      <a:pt x="930" y="3006"/>
                    </a:lnTo>
                    <a:lnTo>
                      <a:pt x="936" y="3000"/>
                    </a:lnTo>
                    <a:lnTo>
                      <a:pt x="948" y="3012"/>
                    </a:lnTo>
                    <a:lnTo>
                      <a:pt x="996" y="3012"/>
                    </a:lnTo>
                    <a:lnTo>
                      <a:pt x="1008" y="3030"/>
                    </a:lnTo>
                    <a:lnTo>
                      <a:pt x="1026" y="3030"/>
                    </a:lnTo>
                    <a:lnTo>
                      <a:pt x="996" y="3000"/>
                    </a:lnTo>
                    <a:lnTo>
                      <a:pt x="960" y="2994"/>
                    </a:lnTo>
                    <a:close/>
                    <a:moveTo>
                      <a:pt x="804" y="2946"/>
                    </a:moveTo>
                    <a:lnTo>
                      <a:pt x="744" y="2940"/>
                    </a:lnTo>
                    <a:lnTo>
                      <a:pt x="750" y="2958"/>
                    </a:lnTo>
                    <a:lnTo>
                      <a:pt x="792" y="2958"/>
                    </a:lnTo>
                    <a:lnTo>
                      <a:pt x="804" y="2976"/>
                    </a:lnTo>
                    <a:lnTo>
                      <a:pt x="864" y="3000"/>
                    </a:lnTo>
                    <a:lnTo>
                      <a:pt x="828" y="2970"/>
                    </a:lnTo>
                    <a:lnTo>
                      <a:pt x="804" y="2946"/>
                    </a:lnTo>
                    <a:close/>
                    <a:moveTo>
                      <a:pt x="804" y="2880"/>
                    </a:moveTo>
                    <a:lnTo>
                      <a:pt x="786" y="2898"/>
                    </a:lnTo>
                    <a:lnTo>
                      <a:pt x="792" y="2928"/>
                    </a:lnTo>
                    <a:lnTo>
                      <a:pt x="816" y="2922"/>
                    </a:lnTo>
                    <a:lnTo>
                      <a:pt x="804" y="2880"/>
                    </a:lnTo>
                    <a:close/>
                    <a:moveTo>
                      <a:pt x="774" y="2928"/>
                    </a:moveTo>
                    <a:lnTo>
                      <a:pt x="768" y="2910"/>
                    </a:lnTo>
                    <a:lnTo>
                      <a:pt x="720" y="2898"/>
                    </a:lnTo>
                    <a:lnTo>
                      <a:pt x="708" y="2916"/>
                    </a:lnTo>
                    <a:lnTo>
                      <a:pt x="708" y="2934"/>
                    </a:lnTo>
                    <a:lnTo>
                      <a:pt x="744" y="2922"/>
                    </a:lnTo>
                    <a:lnTo>
                      <a:pt x="774" y="2928"/>
                    </a:lnTo>
                    <a:close/>
                    <a:moveTo>
                      <a:pt x="612" y="2772"/>
                    </a:moveTo>
                    <a:lnTo>
                      <a:pt x="606" y="2766"/>
                    </a:lnTo>
                    <a:lnTo>
                      <a:pt x="594" y="2766"/>
                    </a:lnTo>
                    <a:lnTo>
                      <a:pt x="588" y="2760"/>
                    </a:lnTo>
                    <a:lnTo>
                      <a:pt x="570" y="2760"/>
                    </a:lnTo>
                    <a:lnTo>
                      <a:pt x="570" y="2766"/>
                    </a:lnTo>
                    <a:lnTo>
                      <a:pt x="564" y="2778"/>
                    </a:lnTo>
                    <a:lnTo>
                      <a:pt x="564" y="2808"/>
                    </a:lnTo>
                    <a:lnTo>
                      <a:pt x="570" y="2808"/>
                    </a:lnTo>
                    <a:lnTo>
                      <a:pt x="576" y="2802"/>
                    </a:lnTo>
                    <a:lnTo>
                      <a:pt x="588" y="2802"/>
                    </a:lnTo>
                    <a:lnTo>
                      <a:pt x="594" y="2796"/>
                    </a:lnTo>
                    <a:lnTo>
                      <a:pt x="600" y="2820"/>
                    </a:lnTo>
                    <a:lnTo>
                      <a:pt x="630" y="2808"/>
                    </a:lnTo>
                    <a:lnTo>
                      <a:pt x="612" y="2790"/>
                    </a:lnTo>
                    <a:lnTo>
                      <a:pt x="618" y="2772"/>
                    </a:lnTo>
                    <a:lnTo>
                      <a:pt x="612" y="2772"/>
                    </a:lnTo>
                    <a:close/>
                    <a:moveTo>
                      <a:pt x="552" y="2826"/>
                    </a:moveTo>
                    <a:lnTo>
                      <a:pt x="516" y="2808"/>
                    </a:lnTo>
                    <a:lnTo>
                      <a:pt x="546" y="2832"/>
                    </a:lnTo>
                    <a:lnTo>
                      <a:pt x="588" y="2844"/>
                    </a:lnTo>
                    <a:lnTo>
                      <a:pt x="606" y="2850"/>
                    </a:lnTo>
                    <a:lnTo>
                      <a:pt x="588" y="2832"/>
                    </a:lnTo>
                    <a:lnTo>
                      <a:pt x="552" y="2826"/>
                    </a:lnTo>
                    <a:close/>
                    <a:moveTo>
                      <a:pt x="552" y="2748"/>
                    </a:moveTo>
                    <a:lnTo>
                      <a:pt x="534" y="2730"/>
                    </a:lnTo>
                    <a:lnTo>
                      <a:pt x="528" y="2766"/>
                    </a:lnTo>
                    <a:lnTo>
                      <a:pt x="504" y="2772"/>
                    </a:lnTo>
                    <a:lnTo>
                      <a:pt x="546" y="2784"/>
                    </a:lnTo>
                    <a:lnTo>
                      <a:pt x="552" y="2748"/>
                    </a:lnTo>
                    <a:close/>
                    <a:moveTo>
                      <a:pt x="444" y="2736"/>
                    </a:moveTo>
                    <a:lnTo>
                      <a:pt x="480" y="2772"/>
                    </a:lnTo>
                    <a:lnTo>
                      <a:pt x="492" y="2760"/>
                    </a:lnTo>
                    <a:lnTo>
                      <a:pt x="462" y="2724"/>
                    </a:lnTo>
                    <a:lnTo>
                      <a:pt x="444" y="2736"/>
                    </a:lnTo>
                    <a:close/>
                    <a:moveTo>
                      <a:pt x="516" y="2724"/>
                    </a:moveTo>
                    <a:lnTo>
                      <a:pt x="504" y="2718"/>
                    </a:lnTo>
                    <a:lnTo>
                      <a:pt x="492" y="2730"/>
                    </a:lnTo>
                    <a:lnTo>
                      <a:pt x="504" y="2748"/>
                    </a:lnTo>
                    <a:lnTo>
                      <a:pt x="516" y="2724"/>
                    </a:lnTo>
                    <a:close/>
                    <a:moveTo>
                      <a:pt x="456" y="2706"/>
                    </a:moveTo>
                    <a:lnTo>
                      <a:pt x="462" y="2676"/>
                    </a:lnTo>
                    <a:lnTo>
                      <a:pt x="456" y="2640"/>
                    </a:lnTo>
                    <a:lnTo>
                      <a:pt x="438" y="2634"/>
                    </a:lnTo>
                    <a:lnTo>
                      <a:pt x="438" y="2652"/>
                    </a:lnTo>
                    <a:lnTo>
                      <a:pt x="408" y="2646"/>
                    </a:lnTo>
                    <a:lnTo>
                      <a:pt x="432" y="2682"/>
                    </a:lnTo>
                    <a:lnTo>
                      <a:pt x="426" y="2724"/>
                    </a:lnTo>
                    <a:lnTo>
                      <a:pt x="456" y="2706"/>
                    </a:lnTo>
                    <a:close/>
                    <a:moveTo>
                      <a:pt x="366" y="2622"/>
                    </a:moveTo>
                    <a:lnTo>
                      <a:pt x="384" y="2628"/>
                    </a:lnTo>
                    <a:lnTo>
                      <a:pt x="390" y="2658"/>
                    </a:lnTo>
                    <a:lnTo>
                      <a:pt x="396" y="2628"/>
                    </a:lnTo>
                    <a:lnTo>
                      <a:pt x="402" y="2604"/>
                    </a:lnTo>
                    <a:lnTo>
                      <a:pt x="372" y="2598"/>
                    </a:lnTo>
                    <a:lnTo>
                      <a:pt x="366" y="2622"/>
                    </a:lnTo>
                    <a:close/>
                    <a:moveTo>
                      <a:pt x="372" y="2586"/>
                    </a:moveTo>
                    <a:lnTo>
                      <a:pt x="378" y="2586"/>
                    </a:lnTo>
                    <a:lnTo>
                      <a:pt x="378" y="2580"/>
                    </a:lnTo>
                    <a:lnTo>
                      <a:pt x="384" y="2574"/>
                    </a:lnTo>
                    <a:lnTo>
                      <a:pt x="414" y="2598"/>
                    </a:lnTo>
                    <a:lnTo>
                      <a:pt x="414" y="2574"/>
                    </a:lnTo>
                    <a:lnTo>
                      <a:pt x="384" y="2544"/>
                    </a:lnTo>
                    <a:lnTo>
                      <a:pt x="378" y="2532"/>
                    </a:lnTo>
                    <a:lnTo>
                      <a:pt x="372" y="2526"/>
                    </a:lnTo>
                    <a:lnTo>
                      <a:pt x="360" y="2502"/>
                    </a:lnTo>
                    <a:lnTo>
                      <a:pt x="360" y="2490"/>
                    </a:lnTo>
                    <a:lnTo>
                      <a:pt x="342" y="2454"/>
                    </a:lnTo>
                    <a:lnTo>
                      <a:pt x="330" y="2448"/>
                    </a:lnTo>
                    <a:lnTo>
                      <a:pt x="324" y="2442"/>
                    </a:lnTo>
                    <a:lnTo>
                      <a:pt x="318" y="2442"/>
                    </a:lnTo>
                    <a:lnTo>
                      <a:pt x="312" y="2448"/>
                    </a:lnTo>
                    <a:lnTo>
                      <a:pt x="312" y="2454"/>
                    </a:lnTo>
                    <a:lnTo>
                      <a:pt x="294" y="2448"/>
                    </a:lnTo>
                    <a:lnTo>
                      <a:pt x="288" y="2454"/>
                    </a:lnTo>
                    <a:lnTo>
                      <a:pt x="288" y="2466"/>
                    </a:lnTo>
                    <a:lnTo>
                      <a:pt x="282" y="2472"/>
                    </a:lnTo>
                    <a:lnTo>
                      <a:pt x="282" y="2490"/>
                    </a:lnTo>
                    <a:lnTo>
                      <a:pt x="330" y="2490"/>
                    </a:lnTo>
                    <a:lnTo>
                      <a:pt x="312" y="2532"/>
                    </a:lnTo>
                    <a:lnTo>
                      <a:pt x="324" y="2532"/>
                    </a:lnTo>
                    <a:lnTo>
                      <a:pt x="348" y="2508"/>
                    </a:lnTo>
                    <a:lnTo>
                      <a:pt x="342" y="2532"/>
                    </a:lnTo>
                    <a:lnTo>
                      <a:pt x="342" y="2538"/>
                    </a:lnTo>
                    <a:lnTo>
                      <a:pt x="348" y="2544"/>
                    </a:lnTo>
                    <a:lnTo>
                      <a:pt x="366" y="2580"/>
                    </a:lnTo>
                    <a:lnTo>
                      <a:pt x="366" y="2586"/>
                    </a:lnTo>
                    <a:lnTo>
                      <a:pt x="372" y="2586"/>
                    </a:lnTo>
                    <a:close/>
                    <a:moveTo>
                      <a:pt x="246" y="2082"/>
                    </a:moveTo>
                    <a:lnTo>
                      <a:pt x="246" y="2034"/>
                    </a:lnTo>
                    <a:lnTo>
                      <a:pt x="216" y="2004"/>
                    </a:lnTo>
                    <a:lnTo>
                      <a:pt x="234" y="1992"/>
                    </a:lnTo>
                    <a:lnTo>
                      <a:pt x="210" y="1968"/>
                    </a:lnTo>
                    <a:lnTo>
                      <a:pt x="174" y="1956"/>
                    </a:lnTo>
                    <a:lnTo>
                      <a:pt x="174" y="1986"/>
                    </a:lnTo>
                    <a:lnTo>
                      <a:pt x="180" y="1998"/>
                    </a:lnTo>
                    <a:lnTo>
                      <a:pt x="180" y="2004"/>
                    </a:lnTo>
                    <a:lnTo>
                      <a:pt x="192" y="2016"/>
                    </a:lnTo>
                    <a:lnTo>
                      <a:pt x="198" y="2028"/>
                    </a:lnTo>
                    <a:lnTo>
                      <a:pt x="204" y="2034"/>
                    </a:lnTo>
                    <a:lnTo>
                      <a:pt x="204" y="2046"/>
                    </a:lnTo>
                    <a:lnTo>
                      <a:pt x="198" y="2064"/>
                    </a:lnTo>
                    <a:lnTo>
                      <a:pt x="246" y="2082"/>
                    </a:lnTo>
                    <a:close/>
                    <a:moveTo>
                      <a:pt x="246" y="2178"/>
                    </a:moveTo>
                    <a:lnTo>
                      <a:pt x="258" y="2190"/>
                    </a:lnTo>
                    <a:lnTo>
                      <a:pt x="282" y="2190"/>
                    </a:lnTo>
                    <a:lnTo>
                      <a:pt x="294" y="2172"/>
                    </a:lnTo>
                    <a:lnTo>
                      <a:pt x="264" y="2178"/>
                    </a:lnTo>
                    <a:lnTo>
                      <a:pt x="246" y="2178"/>
                    </a:lnTo>
                    <a:close/>
                    <a:moveTo>
                      <a:pt x="282" y="2220"/>
                    </a:moveTo>
                    <a:lnTo>
                      <a:pt x="282" y="2238"/>
                    </a:lnTo>
                    <a:lnTo>
                      <a:pt x="306" y="2256"/>
                    </a:lnTo>
                    <a:lnTo>
                      <a:pt x="306" y="2232"/>
                    </a:lnTo>
                    <a:lnTo>
                      <a:pt x="294" y="2208"/>
                    </a:lnTo>
                    <a:lnTo>
                      <a:pt x="258" y="2208"/>
                    </a:lnTo>
                    <a:lnTo>
                      <a:pt x="282" y="2220"/>
                    </a:lnTo>
                    <a:close/>
                    <a:moveTo>
                      <a:pt x="318" y="2190"/>
                    </a:moveTo>
                    <a:lnTo>
                      <a:pt x="324" y="2184"/>
                    </a:lnTo>
                    <a:lnTo>
                      <a:pt x="336" y="2178"/>
                    </a:lnTo>
                    <a:lnTo>
                      <a:pt x="348" y="2166"/>
                    </a:lnTo>
                    <a:lnTo>
                      <a:pt x="336" y="2154"/>
                    </a:lnTo>
                    <a:lnTo>
                      <a:pt x="324" y="2154"/>
                    </a:lnTo>
                    <a:lnTo>
                      <a:pt x="312" y="2160"/>
                    </a:lnTo>
                    <a:lnTo>
                      <a:pt x="306" y="2166"/>
                    </a:lnTo>
                    <a:lnTo>
                      <a:pt x="306" y="2184"/>
                    </a:lnTo>
                    <a:lnTo>
                      <a:pt x="312" y="2190"/>
                    </a:lnTo>
                    <a:lnTo>
                      <a:pt x="318" y="2190"/>
                    </a:lnTo>
                    <a:close/>
                    <a:moveTo>
                      <a:pt x="252" y="2112"/>
                    </a:moveTo>
                    <a:lnTo>
                      <a:pt x="240" y="2118"/>
                    </a:lnTo>
                    <a:lnTo>
                      <a:pt x="240" y="2136"/>
                    </a:lnTo>
                    <a:lnTo>
                      <a:pt x="252" y="2136"/>
                    </a:lnTo>
                    <a:lnTo>
                      <a:pt x="264" y="2124"/>
                    </a:lnTo>
                    <a:lnTo>
                      <a:pt x="264" y="2106"/>
                    </a:lnTo>
                    <a:lnTo>
                      <a:pt x="258" y="2106"/>
                    </a:lnTo>
                    <a:lnTo>
                      <a:pt x="252" y="2112"/>
                    </a:lnTo>
                    <a:close/>
                    <a:moveTo>
                      <a:pt x="234" y="2154"/>
                    </a:moveTo>
                    <a:lnTo>
                      <a:pt x="216" y="2154"/>
                    </a:lnTo>
                    <a:lnTo>
                      <a:pt x="228" y="2178"/>
                    </a:lnTo>
                    <a:lnTo>
                      <a:pt x="234" y="2154"/>
                    </a:lnTo>
                    <a:close/>
                    <a:moveTo>
                      <a:pt x="714" y="2874"/>
                    </a:moveTo>
                    <a:lnTo>
                      <a:pt x="726" y="2874"/>
                    </a:lnTo>
                    <a:lnTo>
                      <a:pt x="726" y="2886"/>
                    </a:lnTo>
                    <a:lnTo>
                      <a:pt x="768" y="2886"/>
                    </a:lnTo>
                    <a:lnTo>
                      <a:pt x="774" y="2880"/>
                    </a:lnTo>
                    <a:lnTo>
                      <a:pt x="774" y="2874"/>
                    </a:lnTo>
                    <a:lnTo>
                      <a:pt x="744" y="2844"/>
                    </a:lnTo>
                    <a:lnTo>
                      <a:pt x="744" y="2808"/>
                    </a:lnTo>
                    <a:lnTo>
                      <a:pt x="786" y="2802"/>
                    </a:lnTo>
                    <a:lnTo>
                      <a:pt x="780" y="2790"/>
                    </a:lnTo>
                    <a:lnTo>
                      <a:pt x="804" y="2790"/>
                    </a:lnTo>
                    <a:lnTo>
                      <a:pt x="816" y="2772"/>
                    </a:lnTo>
                    <a:lnTo>
                      <a:pt x="792" y="2754"/>
                    </a:lnTo>
                    <a:lnTo>
                      <a:pt x="696" y="2754"/>
                    </a:lnTo>
                    <a:lnTo>
                      <a:pt x="684" y="2760"/>
                    </a:lnTo>
                    <a:lnTo>
                      <a:pt x="672" y="2760"/>
                    </a:lnTo>
                    <a:lnTo>
                      <a:pt x="654" y="2742"/>
                    </a:lnTo>
                    <a:lnTo>
                      <a:pt x="618" y="2724"/>
                    </a:lnTo>
                    <a:lnTo>
                      <a:pt x="606" y="2706"/>
                    </a:lnTo>
                    <a:lnTo>
                      <a:pt x="588" y="2682"/>
                    </a:lnTo>
                    <a:lnTo>
                      <a:pt x="588" y="2658"/>
                    </a:lnTo>
                    <a:lnTo>
                      <a:pt x="576" y="2646"/>
                    </a:lnTo>
                    <a:lnTo>
                      <a:pt x="564" y="2640"/>
                    </a:lnTo>
                    <a:lnTo>
                      <a:pt x="546" y="2640"/>
                    </a:lnTo>
                    <a:lnTo>
                      <a:pt x="534" y="2652"/>
                    </a:lnTo>
                    <a:lnTo>
                      <a:pt x="528" y="2652"/>
                    </a:lnTo>
                    <a:lnTo>
                      <a:pt x="516" y="2646"/>
                    </a:lnTo>
                    <a:lnTo>
                      <a:pt x="510" y="2640"/>
                    </a:lnTo>
                    <a:lnTo>
                      <a:pt x="510" y="2628"/>
                    </a:lnTo>
                    <a:lnTo>
                      <a:pt x="504" y="2622"/>
                    </a:lnTo>
                    <a:lnTo>
                      <a:pt x="504" y="2616"/>
                    </a:lnTo>
                    <a:lnTo>
                      <a:pt x="474" y="2610"/>
                    </a:lnTo>
                    <a:lnTo>
                      <a:pt x="474" y="2574"/>
                    </a:lnTo>
                    <a:lnTo>
                      <a:pt x="468" y="2568"/>
                    </a:lnTo>
                    <a:lnTo>
                      <a:pt x="462" y="2556"/>
                    </a:lnTo>
                    <a:lnTo>
                      <a:pt x="462" y="2544"/>
                    </a:lnTo>
                    <a:lnTo>
                      <a:pt x="474" y="2538"/>
                    </a:lnTo>
                    <a:lnTo>
                      <a:pt x="474" y="2514"/>
                    </a:lnTo>
                    <a:lnTo>
                      <a:pt x="480" y="2514"/>
                    </a:lnTo>
                    <a:lnTo>
                      <a:pt x="486" y="2508"/>
                    </a:lnTo>
                    <a:lnTo>
                      <a:pt x="492" y="2508"/>
                    </a:lnTo>
                    <a:lnTo>
                      <a:pt x="498" y="2502"/>
                    </a:lnTo>
                    <a:lnTo>
                      <a:pt x="498" y="2496"/>
                    </a:lnTo>
                    <a:lnTo>
                      <a:pt x="474" y="2472"/>
                    </a:lnTo>
                    <a:lnTo>
                      <a:pt x="480" y="2466"/>
                    </a:lnTo>
                    <a:lnTo>
                      <a:pt x="492" y="2460"/>
                    </a:lnTo>
                    <a:lnTo>
                      <a:pt x="498" y="2460"/>
                    </a:lnTo>
                    <a:lnTo>
                      <a:pt x="498" y="2454"/>
                    </a:lnTo>
                    <a:lnTo>
                      <a:pt x="474" y="2430"/>
                    </a:lnTo>
                    <a:lnTo>
                      <a:pt x="468" y="2430"/>
                    </a:lnTo>
                    <a:lnTo>
                      <a:pt x="474" y="2388"/>
                    </a:lnTo>
                    <a:lnTo>
                      <a:pt x="486" y="2382"/>
                    </a:lnTo>
                    <a:lnTo>
                      <a:pt x="474" y="2358"/>
                    </a:lnTo>
                    <a:lnTo>
                      <a:pt x="480" y="2322"/>
                    </a:lnTo>
                    <a:lnTo>
                      <a:pt x="456" y="2298"/>
                    </a:lnTo>
                    <a:lnTo>
                      <a:pt x="462" y="2274"/>
                    </a:lnTo>
                    <a:lnTo>
                      <a:pt x="438" y="2256"/>
                    </a:lnTo>
                    <a:lnTo>
                      <a:pt x="450" y="2244"/>
                    </a:lnTo>
                    <a:lnTo>
                      <a:pt x="456" y="2232"/>
                    </a:lnTo>
                    <a:lnTo>
                      <a:pt x="462" y="2226"/>
                    </a:lnTo>
                    <a:lnTo>
                      <a:pt x="438" y="2202"/>
                    </a:lnTo>
                    <a:lnTo>
                      <a:pt x="426" y="2202"/>
                    </a:lnTo>
                    <a:lnTo>
                      <a:pt x="420" y="2196"/>
                    </a:lnTo>
                    <a:lnTo>
                      <a:pt x="408" y="2190"/>
                    </a:lnTo>
                    <a:lnTo>
                      <a:pt x="402" y="2190"/>
                    </a:lnTo>
                    <a:lnTo>
                      <a:pt x="396" y="2184"/>
                    </a:lnTo>
                    <a:lnTo>
                      <a:pt x="414" y="2184"/>
                    </a:lnTo>
                    <a:lnTo>
                      <a:pt x="426" y="2178"/>
                    </a:lnTo>
                    <a:lnTo>
                      <a:pt x="438" y="2178"/>
                    </a:lnTo>
                    <a:lnTo>
                      <a:pt x="444" y="2172"/>
                    </a:lnTo>
                    <a:lnTo>
                      <a:pt x="444" y="2166"/>
                    </a:lnTo>
                    <a:lnTo>
                      <a:pt x="432" y="2160"/>
                    </a:lnTo>
                    <a:lnTo>
                      <a:pt x="402" y="2160"/>
                    </a:lnTo>
                    <a:lnTo>
                      <a:pt x="390" y="2148"/>
                    </a:lnTo>
                    <a:lnTo>
                      <a:pt x="390" y="2118"/>
                    </a:lnTo>
                    <a:lnTo>
                      <a:pt x="384" y="2106"/>
                    </a:lnTo>
                    <a:lnTo>
                      <a:pt x="384" y="2100"/>
                    </a:lnTo>
                    <a:lnTo>
                      <a:pt x="378" y="2094"/>
                    </a:lnTo>
                    <a:lnTo>
                      <a:pt x="366" y="2088"/>
                    </a:lnTo>
                    <a:lnTo>
                      <a:pt x="360" y="2088"/>
                    </a:lnTo>
                    <a:lnTo>
                      <a:pt x="366" y="2058"/>
                    </a:lnTo>
                    <a:lnTo>
                      <a:pt x="342" y="2046"/>
                    </a:lnTo>
                    <a:lnTo>
                      <a:pt x="336" y="2040"/>
                    </a:lnTo>
                    <a:lnTo>
                      <a:pt x="336" y="2028"/>
                    </a:lnTo>
                    <a:lnTo>
                      <a:pt x="330" y="2016"/>
                    </a:lnTo>
                    <a:lnTo>
                      <a:pt x="330" y="1998"/>
                    </a:lnTo>
                    <a:lnTo>
                      <a:pt x="324" y="1986"/>
                    </a:lnTo>
                    <a:lnTo>
                      <a:pt x="324" y="1974"/>
                    </a:lnTo>
                    <a:lnTo>
                      <a:pt x="330" y="1968"/>
                    </a:lnTo>
                    <a:lnTo>
                      <a:pt x="342" y="1962"/>
                    </a:lnTo>
                    <a:lnTo>
                      <a:pt x="348" y="1962"/>
                    </a:lnTo>
                    <a:lnTo>
                      <a:pt x="336" y="1950"/>
                    </a:lnTo>
                    <a:lnTo>
                      <a:pt x="324" y="1944"/>
                    </a:lnTo>
                    <a:lnTo>
                      <a:pt x="306" y="1926"/>
                    </a:lnTo>
                    <a:lnTo>
                      <a:pt x="300" y="1914"/>
                    </a:lnTo>
                    <a:lnTo>
                      <a:pt x="300" y="1890"/>
                    </a:lnTo>
                    <a:lnTo>
                      <a:pt x="294" y="1878"/>
                    </a:lnTo>
                    <a:lnTo>
                      <a:pt x="288" y="1872"/>
                    </a:lnTo>
                    <a:lnTo>
                      <a:pt x="288" y="1842"/>
                    </a:lnTo>
                    <a:lnTo>
                      <a:pt x="294" y="1836"/>
                    </a:lnTo>
                    <a:lnTo>
                      <a:pt x="294" y="1824"/>
                    </a:lnTo>
                    <a:lnTo>
                      <a:pt x="276" y="1812"/>
                    </a:lnTo>
                    <a:lnTo>
                      <a:pt x="276" y="1806"/>
                    </a:lnTo>
                    <a:lnTo>
                      <a:pt x="282" y="1794"/>
                    </a:lnTo>
                    <a:lnTo>
                      <a:pt x="282" y="1788"/>
                    </a:lnTo>
                    <a:lnTo>
                      <a:pt x="264" y="1770"/>
                    </a:lnTo>
                    <a:lnTo>
                      <a:pt x="282" y="1758"/>
                    </a:lnTo>
                    <a:lnTo>
                      <a:pt x="270" y="1716"/>
                    </a:lnTo>
                    <a:lnTo>
                      <a:pt x="276" y="1716"/>
                    </a:lnTo>
                    <a:lnTo>
                      <a:pt x="282" y="1710"/>
                    </a:lnTo>
                    <a:lnTo>
                      <a:pt x="294" y="1704"/>
                    </a:lnTo>
                    <a:lnTo>
                      <a:pt x="300" y="1692"/>
                    </a:lnTo>
                    <a:lnTo>
                      <a:pt x="300" y="1686"/>
                    </a:lnTo>
                    <a:lnTo>
                      <a:pt x="282" y="1668"/>
                    </a:lnTo>
                    <a:lnTo>
                      <a:pt x="276" y="1668"/>
                    </a:lnTo>
                    <a:lnTo>
                      <a:pt x="276" y="1650"/>
                    </a:lnTo>
                    <a:lnTo>
                      <a:pt x="246" y="1626"/>
                    </a:lnTo>
                    <a:lnTo>
                      <a:pt x="246" y="1578"/>
                    </a:lnTo>
                    <a:lnTo>
                      <a:pt x="240" y="1566"/>
                    </a:lnTo>
                    <a:lnTo>
                      <a:pt x="234" y="1548"/>
                    </a:lnTo>
                    <a:lnTo>
                      <a:pt x="234" y="1536"/>
                    </a:lnTo>
                    <a:lnTo>
                      <a:pt x="228" y="1530"/>
                    </a:lnTo>
                    <a:lnTo>
                      <a:pt x="228" y="1524"/>
                    </a:lnTo>
                    <a:lnTo>
                      <a:pt x="252" y="1518"/>
                    </a:lnTo>
                    <a:lnTo>
                      <a:pt x="258" y="1500"/>
                    </a:lnTo>
                    <a:lnTo>
                      <a:pt x="258" y="1494"/>
                    </a:lnTo>
                    <a:lnTo>
                      <a:pt x="264" y="1482"/>
                    </a:lnTo>
                    <a:lnTo>
                      <a:pt x="264" y="1470"/>
                    </a:lnTo>
                    <a:lnTo>
                      <a:pt x="258" y="1464"/>
                    </a:lnTo>
                    <a:lnTo>
                      <a:pt x="252" y="1452"/>
                    </a:lnTo>
                    <a:lnTo>
                      <a:pt x="246" y="1446"/>
                    </a:lnTo>
                    <a:lnTo>
                      <a:pt x="240" y="1434"/>
                    </a:lnTo>
                    <a:lnTo>
                      <a:pt x="234" y="1428"/>
                    </a:lnTo>
                    <a:lnTo>
                      <a:pt x="246" y="1428"/>
                    </a:lnTo>
                    <a:lnTo>
                      <a:pt x="246" y="1398"/>
                    </a:lnTo>
                    <a:lnTo>
                      <a:pt x="252" y="1380"/>
                    </a:lnTo>
                    <a:lnTo>
                      <a:pt x="252" y="1356"/>
                    </a:lnTo>
                    <a:lnTo>
                      <a:pt x="270" y="1338"/>
                    </a:lnTo>
                    <a:lnTo>
                      <a:pt x="270" y="1332"/>
                    </a:lnTo>
                    <a:lnTo>
                      <a:pt x="264" y="1320"/>
                    </a:lnTo>
                    <a:lnTo>
                      <a:pt x="258" y="1314"/>
                    </a:lnTo>
                    <a:lnTo>
                      <a:pt x="252" y="1302"/>
                    </a:lnTo>
                    <a:lnTo>
                      <a:pt x="246" y="1260"/>
                    </a:lnTo>
                    <a:lnTo>
                      <a:pt x="222" y="1260"/>
                    </a:lnTo>
                    <a:lnTo>
                      <a:pt x="210" y="1248"/>
                    </a:lnTo>
                    <a:lnTo>
                      <a:pt x="210" y="1236"/>
                    </a:lnTo>
                    <a:lnTo>
                      <a:pt x="216" y="1230"/>
                    </a:lnTo>
                    <a:lnTo>
                      <a:pt x="210" y="1218"/>
                    </a:lnTo>
                    <a:lnTo>
                      <a:pt x="198" y="1188"/>
                    </a:lnTo>
                    <a:lnTo>
                      <a:pt x="180" y="1170"/>
                    </a:lnTo>
                    <a:lnTo>
                      <a:pt x="180" y="1164"/>
                    </a:lnTo>
                    <a:lnTo>
                      <a:pt x="186" y="1158"/>
                    </a:lnTo>
                    <a:lnTo>
                      <a:pt x="186" y="1146"/>
                    </a:lnTo>
                    <a:lnTo>
                      <a:pt x="168" y="1128"/>
                    </a:lnTo>
                    <a:lnTo>
                      <a:pt x="156" y="1122"/>
                    </a:lnTo>
                    <a:lnTo>
                      <a:pt x="156" y="1116"/>
                    </a:lnTo>
                    <a:lnTo>
                      <a:pt x="150" y="1110"/>
                    </a:lnTo>
                    <a:lnTo>
                      <a:pt x="150" y="1086"/>
                    </a:lnTo>
                    <a:lnTo>
                      <a:pt x="156" y="1086"/>
                    </a:lnTo>
                    <a:lnTo>
                      <a:pt x="168" y="1080"/>
                    </a:lnTo>
                    <a:lnTo>
                      <a:pt x="162" y="1026"/>
                    </a:lnTo>
                    <a:lnTo>
                      <a:pt x="186" y="1026"/>
                    </a:lnTo>
                    <a:lnTo>
                      <a:pt x="186" y="1020"/>
                    </a:lnTo>
                    <a:lnTo>
                      <a:pt x="180" y="1008"/>
                    </a:lnTo>
                    <a:lnTo>
                      <a:pt x="168" y="972"/>
                    </a:lnTo>
                    <a:lnTo>
                      <a:pt x="156" y="948"/>
                    </a:lnTo>
                    <a:lnTo>
                      <a:pt x="156" y="936"/>
                    </a:lnTo>
                    <a:lnTo>
                      <a:pt x="168" y="924"/>
                    </a:lnTo>
                    <a:lnTo>
                      <a:pt x="168" y="858"/>
                    </a:lnTo>
                    <a:lnTo>
                      <a:pt x="174" y="852"/>
                    </a:lnTo>
                    <a:lnTo>
                      <a:pt x="180" y="840"/>
                    </a:lnTo>
                    <a:lnTo>
                      <a:pt x="192" y="828"/>
                    </a:lnTo>
                    <a:lnTo>
                      <a:pt x="192" y="816"/>
                    </a:lnTo>
                    <a:lnTo>
                      <a:pt x="198" y="804"/>
                    </a:lnTo>
                    <a:lnTo>
                      <a:pt x="198" y="792"/>
                    </a:lnTo>
                    <a:lnTo>
                      <a:pt x="204" y="774"/>
                    </a:lnTo>
                    <a:lnTo>
                      <a:pt x="204" y="762"/>
                    </a:lnTo>
                    <a:lnTo>
                      <a:pt x="222" y="762"/>
                    </a:lnTo>
                    <a:lnTo>
                      <a:pt x="228" y="756"/>
                    </a:lnTo>
                    <a:lnTo>
                      <a:pt x="240" y="750"/>
                    </a:lnTo>
                    <a:lnTo>
                      <a:pt x="240" y="738"/>
                    </a:lnTo>
                    <a:lnTo>
                      <a:pt x="234" y="726"/>
                    </a:lnTo>
                    <a:lnTo>
                      <a:pt x="210" y="714"/>
                    </a:lnTo>
                    <a:lnTo>
                      <a:pt x="204" y="708"/>
                    </a:lnTo>
                    <a:lnTo>
                      <a:pt x="198" y="708"/>
                    </a:lnTo>
                    <a:lnTo>
                      <a:pt x="204" y="708"/>
                    </a:lnTo>
                    <a:lnTo>
                      <a:pt x="216" y="696"/>
                    </a:lnTo>
                    <a:lnTo>
                      <a:pt x="222" y="684"/>
                    </a:lnTo>
                    <a:lnTo>
                      <a:pt x="228" y="678"/>
                    </a:lnTo>
                    <a:lnTo>
                      <a:pt x="222" y="666"/>
                    </a:lnTo>
                    <a:lnTo>
                      <a:pt x="210" y="654"/>
                    </a:lnTo>
                    <a:lnTo>
                      <a:pt x="198" y="648"/>
                    </a:lnTo>
                    <a:lnTo>
                      <a:pt x="192" y="642"/>
                    </a:lnTo>
                    <a:lnTo>
                      <a:pt x="192" y="624"/>
                    </a:lnTo>
                    <a:lnTo>
                      <a:pt x="216" y="600"/>
                    </a:lnTo>
                    <a:lnTo>
                      <a:pt x="216" y="594"/>
                    </a:lnTo>
                    <a:lnTo>
                      <a:pt x="204" y="594"/>
                    </a:lnTo>
                    <a:lnTo>
                      <a:pt x="192" y="588"/>
                    </a:lnTo>
                    <a:lnTo>
                      <a:pt x="186" y="582"/>
                    </a:lnTo>
                    <a:lnTo>
                      <a:pt x="186" y="576"/>
                    </a:lnTo>
                    <a:lnTo>
                      <a:pt x="192" y="570"/>
                    </a:lnTo>
                    <a:lnTo>
                      <a:pt x="198" y="558"/>
                    </a:lnTo>
                    <a:lnTo>
                      <a:pt x="210" y="552"/>
                    </a:lnTo>
                    <a:lnTo>
                      <a:pt x="222" y="540"/>
                    </a:lnTo>
                    <a:lnTo>
                      <a:pt x="240" y="534"/>
                    </a:lnTo>
                    <a:lnTo>
                      <a:pt x="252" y="528"/>
                    </a:lnTo>
                    <a:lnTo>
                      <a:pt x="258" y="522"/>
                    </a:lnTo>
                    <a:lnTo>
                      <a:pt x="264" y="522"/>
                    </a:lnTo>
                    <a:lnTo>
                      <a:pt x="276" y="438"/>
                    </a:lnTo>
                    <a:lnTo>
                      <a:pt x="264" y="420"/>
                    </a:lnTo>
                    <a:lnTo>
                      <a:pt x="222" y="420"/>
                    </a:lnTo>
                    <a:lnTo>
                      <a:pt x="216" y="408"/>
                    </a:lnTo>
                    <a:lnTo>
                      <a:pt x="216" y="384"/>
                    </a:lnTo>
                    <a:lnTo>
                      <a:pt x="192" y="360"/>
                    </a:lnTo>
                    <a:lnTo>
                      <a:pt x="192" y="294"/>
                    </a:lnTo>
                    <a:lnTo>
                      <a:pt x="186" y="288"/>
                    </a:lnTo>
                    <a:lnTo>
                      <a:pt x="174" y="282"/>
                    </a:lnTo>
                    <a:lnTo>
                      <a:pt x="168" y="276"/>
                    </a:lnTo>
                    <a:lnTo>
                      <a:pt x="156" y="270"/>
                    </a:lnTo>
                    <a:lnTo>
                      <a:pt x="150" y="264"/>
                    </a:lnTo>
                    <a:lnTo>
                      <a:pt x="144" y="264"/>
                    </a:lnTo>
                    <a:lnTo>
                      <a:pt x="144" y="240"/>
                    </a:lnTo>
                    <a:lnTo>
                      <a:pt x="138" y="234"/>
                    </a:lnTo>
                    <a:lnTo>
                      <a:pt x="132" y="222"/>
                    </a:lnTo>
                    <a:lnTo>
                      <a:pt x="132" y="210"/>
                    </a:lnTo>
                    <a:lnTo>
                      <a:pt x="138" y="204"/>
                    </a:lnTo>
                    <a:lnTo>
                      <a:pt x="144" y="192"/>
                    </a:lnTo>
                    <a:lnTo>
                      <a:pt x="150" y="186"/>
                    </a:lnTo>
                    <a:lnTo>
                      <a:pt x="132" y="168"/>
                    </a:lnTo>
                    <a:lnTo>
                      <a:pt x="144" y="156"/>
                    </a:lnTo>
                    <a:lnTo>
                      <a:pt x="150" y="144"/>
                    </a:lnTo>
                    <a:lnTo>
                      <a:pt x="150" y="138"/>
                    </a:lnTo>
                    <a:lnTo>
                      <a:pt x="144" y="126"/>
                    </a:lnTo>
                    <a:lnTo>
                      <a:pt x="120" y="114"/>
                    </a:lnTo>
                    <a:lnTo>
                      <a:pt x="114" y="114"/>
                    </a:lnTo>
                    <a:lnTo>
                      <a:pt x="102" y="108"/>
                    </a:lnTo>
                    <a:lnTo>
                      <a:pt x="90" y="30"/>
                    </a:lnTo>
                    <a:lnTo>
                      <a:pt x="66" y="30"/>
                    </a:lnTo>
                    <a:lnTo>
                      <a:pt x="48" y="0"/>
                    </a:lnTo>
                    <a:lnTo>
                      <a:pt x="36" y="6"/>
                    </a:lnTo>
                    <a:lnTo>
                      <a:pt x="42" y="18"/>
                    </a:lnTo>
                    <a:lnTo>
                      <a:pt x="42" y="36"/>
                    </a:lnTo>
                    <a:lnTo>
                      <a:pt x="36" y="42"/>
                    </a:lnTo>
                    <a:lnTo>
                      <a:pt x="0" y="66"/>
                    </a:lnTo>
                    <a:lnTo>
                      <a:pt x="0" y="108"/>
                    </a:lnTo>
                    <a:lnTo>
                      <a:pt x="24" y="156"/>
                    </a:lnTo>
                    <a:lnTo>
                      <a:pt x="30" y="174"/>
                    </a:lnTo>
                    <a:lnTo>
                      <a:pt x="36" y="228"/>
                    </a:lnTo>
                    <a:lnTo>
                      <a:pt x="36" y="282"/>
                    </a:lnTo>
                    <a:lnTo>
                      <a:pt x="48" y="318"/>
                    </a:lnTo>
                    <a:lnTo>
                      <a:pt x="48" y="360"/>
                    </a:lnTo>
                    <a:lnTo>
                      <a:pt x="54" y="384"/>
                    </a:lnTo>
                    <a:lnTo>
                      <a:pt x="54" y="432"/>
                    </a:lnTo>
                    <a:lnTo>
                      <a:pt x="30" y="444"/>
                    </a:lnTo>
                    <a:lnTo>
                      <a:pt x="36" y="474"/>
                    </a:lnTo>
                    <a:lnTo>
                      <a:pt x="54" y="486"/>
                    </a:lnTo>
                    <a:lnTo>
                      <a:pt x="48" y="582"/>
                    </a:lnTo>
                    <a:lnTo>
                      <a:pt x="72" y="624"/>
                    </a:lnTo>
                    <a:lnTo>
                      <a:pt x="54" y="642"/>
                    </a:lnTo>
                    <a:lnTo>
                      <a:pt x="60" y="702"/>
                    </a:lnTo>
                    <a:lnTo>
                      <a:pt x="66" y="708"/>
                    </a:lnTo>
                    <a:lnTo>
                      <a:pt x="78" y="732"/>
                    </a:lnTo>
                    <a:lnTo>
                      <a:pt x="78" y="744"/>
                    </a:lnTo>
                    <a:lnTo>
                      <a:pt x="72" y="756"/>
                    </a:lnTo>
                    <a:lnTo>
                      <a:pt x="66" y="762"/>
                    </a:lnTo>
                    <a:lnTo>
                      <a:pt x="60" y="762"/>
                    </a:lnTo>
                    <a:lnTo>
                      <a:pt x="60" y="792"/>
                    </a:lnTo>
                    <a:lnTo>
                      <a:pt x="72" y="810"/>
                    </a:lnTo>
                    <a:lnTo>
                      <a:pt x="60" y="822"/>
                    </a:lnTo>
                    <a:lnTo>
                      <a:pt x="48" y="846"/>
                    </a:lnTo>
                    <a:lnTo>
                      <a:pt x="48" y="852"/>
                    </a:lnTo>
                    <a:lnTo>
                      <a:pt x="60" y="852"/>
                    </a:lnTo>
                    <a:lnTo>
                      <a:pt x="60" y="864"/>
                    </a:lnTo>
                    <a:lnTo>
                      <a:pt x="66" y="870"/>
                    </a:lnTo>
                    <a:lnTo>
                      <a:pt x="66" y="888"/>
                    </a:lnTo>
                    <a:lnTo>
                      <a:pt x="54" y="900"/>
                    </a:lnTo>
                    <a:lnTo>
                      <a:pt x="54" y="906"/>
                    </a:lnTo>
                    <a:lnTo>
                      <a:pt x="48" y="912"/>
                    </a:lnTo>
                    <a:lnTo>
                      <a:pt x="48" y="936"/>
                    </a:lnTo>
                    <a:lnTo>
                      <a:pt x="54" y="948"/>
                    </a:lnTo>
                    <a:lnTo>
                      <a:pt x="60" y="954"/>
                    </a:lnTo>
                    <a:lnTo>
                      <a:pt x="66" y="954"/>
                    </a:lnTo>
                    <a:lnTo>
                      <a:pt x="78" y="966"/>
                    </a:lnTo>
                    <a:lnTo>
                      <a:pt x="78" y="1020"/>
                    </a:lnTo>
                    <a:lnTo>
                      <a:pt x="60" y="1020"/>
                    </a:lnTo>
                    <a:lnTo>
                      <a:pt x="60" y="1044"/>
                    </a:lnTo>
                    <a:lnTo>
                      <a:pt x="66" y="1056"/>
                    </a:lnTo>
                    <a:lnTo>
                      <a:pt x="90" y="1128"/>
                    </a:lnTo>
                    <a:lnTo>
                      <a:pt x="96" y="1140"/>
                    </a:lnTo>
                    <a:lnTo>
                      <a:pt x="102" y="1146"/>
                    </a:lnTo>
                    <a:lnTo>
                      <a:pt x="102" y="1164"/>
                    </a:lnTo>
                    <a:lnTo>
                      <a:pt x="108" y="1170"/>
                    </a:lnTo>
                    <a:lnTo>
                      <a:pt x="114" y="1182"/>
                    </a:lnTo>
                    <a:lnTo>
                      <a:pt x="120" y="1188"/>
                    </a:lnTo>
                    <a:lnTo>
                      <a:pt x="120" y="1236"/>
                    </a:lnTo>
                    <a:lnTo>
                      <a:pt x="114" y="1266"/>
                    </a:lnTo>
                    <a:lnTo>
                      <a:pt x="138" y="1290"/>
                    </a:lnTo>
                    <a:lnTo>
                      <a:pt x="138" y="1296"/>
                    </a:lnTo>
                    <a:lnTo>
                      <a:pt x="132" y="1302"/>
                    </a:lnTo>
                    <a:lnTo>
                      <a:pt x="126" y="1314"/>
                    </a:lnTo>
                    <a:lnTo>
                      <a:pt x="126" y="1326"/>
                    </a:lnTo>
                    <a:lnTo>
                      <a:pt x="120" y="1338"/>
                    </a:lnTo>
                    <a:lnTo>
                      <a:pt x="120" y="1416"/>
                    </a:lnTo>
                    <a:lnTo>
                      <a:pt x="102" y="1452"/>
                    </a:lnTo>
                    <a:lnTo>
                      <a:pt x="114" y="1464"/>
                    </a:lnTo>
                    <a:lnTo>
                      <a:pt x="114" y="1470"/>
                    </a:lnTo>
                    <a:lnTo>
                      <a:pt x="108" y="1476"/>
                    </a:lnTo>
                    <a:lnTo>
                      <a:pt x="108" y="1536"/>
                    </a:lnTo>
                    <a:lnTo>
                      <a:pt x="102" y="1554"/>
                    </a:lnTo>
                    <a:lnTo>
                      <a:pt x="102" y="1578"/>
                    </a:lnTo>
                    <a:lnTo>
                      <a:pt x="84" y="1584"/>
                    </a:lnTo>
                    <a:lnTo>
                      <a:pt x="84" y="1608"/>
                    </a:lnTo>
                    <a:lnTo>
                      <a:pt x="108" y="1650"/>
                    </a:lnTo>
                    <a:lnTo>
                      <a:pt x="108" y="1692"/>
                    </a:lnTo>
                    <a:lnTo>
                      <a:pt x="114" y="1704"/>
                    </a:lnTo>
                    <a:lnTo>
                      <a:pt x="144" y="1734"/>
                    </a:lnTo>
                    <a:lnTo>
                      <a:pt x="156" y="1758"/>
                    </a:lnTo>
                    <a:lnTo>
                      <a:pt x="156" y="1800"/>
                    </a:lnTo>
                    <a:lnTo>
                      <a:pt x="150" y="1812"/>
                    </a:lnTo>
                    <a:lnTo>
                      <a:pt x="150" y="1824"/>
                    </a:lnTo>
                    <a:lnTo>
                      <a:pt x="162" y="1836"/>
                    </a:lnTo>
                    <a:lnTo>
                      <a:pt x="162" y="1896"/>
                    </a:lnTo>
                    <a:lnTo>
                      <a:pt x="168" y="1908"/>
                    </a:lnTo>
                    <a:lnTo>
                      <a:pt x="174" y="1914"/>
                    </a:lnTo>
                    <a:lnTo>
                      <a:pt x="186" y="1920"/>
                    </a:lnTo>
                    <a:lnTo>
                      <a:pt x="192" y="1926"/>
                    </a:lnTo>
                    <a:lnTo>
                      <a:pt x="198" y="1926"/>
                    </a:lnTo>
                    <a:lnTo>
                      <a:pt x="192" y="1944"/>
                    </a:lnTo>
                    <a:lnTo>
                      <a:pt x="234" y="1944"/>
                    </a:lnTo>
                    <a:lnTo>
                      <a:pt x="234" y="1914"/>
                    </a:lnTo>
                    <a:lnTo>
                      <a:pt x="246" y="1926"/>
                    </a:lnTo>
                    <a:lnTo>
                      <a:pt x="258" y="1932"/>
                    </a:lnTo>
                    <a:lnTo>
                      <a:pt x="270" y="1932"/>
                    </a:lnTo>
                    <a:lnTo>
                      <a:pt x="276" y="1926"/>
                    </a:lnTo>
                    <a:lnTo>
                      <a:pt x="276" y="1914"/>
                    </a:lnTo>
                    <a:lnTo>
                      <a:pt x="288" y="1932"/>
                    </a:lnTo>
                    <a:lnTo>
                      <a:pt x="282" y="1938"/>
                    </a:lnTo>
                    <a:lnTo>
                      <a:pt x="270" y="1944"/>
                    </a:lnTo>
                    <a:lnTo>
                      <a:pt x="264" y="1956"/>
                    </a:lnTo>
                    <a:lnTo>
                      <a:pt x="258" y="1962"/>
                    </a:lnTo>
                    <a:lnTo>
                      <a:pt x="258" y="1968"/>
                    </a:lnTo>
                    <a:lnTo>
                      <a:pt x="288" y="1968"/>
                    </a:lnTo>
                    <a:lnTo>
                      <a:pt x="294" y="1974"/>
                    </a:lnTo>
                    <a:lnTo>
                      <a:pt x="294" y="1992"/>
                    </a:lnTo>
                    <a:lnTo>
                      <a:pt x="270" y="1986"/>
                    </a:lnTo>
                    <a:lnTo>
                      <a:pt x="288" y="2010"/>
                    </a:lnTo>
                    <a:lnTo>
                      <a:pt x="276" y="2022"/>
                    </a:lnTo>
                    <a:lnTo>
                      <a:pt x="294" y="2046"/>
                    </a:lnTo>
                    <a:lnTo>
                      <a:pt x="276" y="2064"/>
                    </a:lnTo>
                    <a:lnTo>
                      <a:pt x="270" y="2076"/>
                    </a:lnTo>
                    <a:lnTo>
                      <a:pt x="270" y="2082"/>
                    </a:lnTo>
                    <a:lnTo>
                      <a:pt x="276" y="2088"/>
                    </a:lnTo>
                    <a:lnTo>
                      <a:pt x="282" y="2088"/>
                    </a:lnTo>
                    <a:lnTo>
                      <a:pt x="306" y="2100"/>
                    </a:lnTo>
                    <a:lnTo>
                      <a:pt x="318" y="2100"/>
                    </a:lnTo>
                    <a:lnTo>
                      <a:pt x="300" y="2118"/>
                    </a:lnTo>
                    <a:lnTo>
                      <a:pt x="300" y="2130"/>
                    </a:lnTo>
                    <a:lnTo>
                      <a:pt x="312" y="2136"/>
                    </a:lnTo>
                    <a:lnTo>
                      <a:pt x="318" y="2142"/>
                    </a:lnTo>
                    <a:lnTo>
                      <a:pt x="330" y="2148"/>
                    </a:lnTo>
                    <a:lnTo>
                      <a:pt x="354" y="2148"/>
                    </a:lnTo>
                    <a:lnTo>
                      <a:pt x="360" y="2184"/>
                    </a:lnTo>
                    <a:lnTo>
                      <a:pt x="354" y="2184"/>
                    </a:lnTo>
                    <a:lnTo>
                      <a:pt x="324" y="2214"/>
                    </a:lnTo>
                    <a:lnTo>
                      <a:pt x="324" y="2220"/>
                    </a:lnTo>
                    <a:lnTo>
                      <a:pt x="330" y="2226"/>
                    </a:lnTo>
                    <a:lnTo>
                      <a:pt x="354" y="2226"/>
                    </a:lnTo>
                    <a:lnTo>
                      <a:pt x="366" y="2232"/>
                    </a:lnTo>
                    <a:lnTo>
                      <a:pt x="378" y="2244"/>
                    </a:lnTo>
                    <a:lnTo>
                      <a:pt x="348" y="2244"/>
                    </a:lnTo>
                    <a:lnTo>
                      <a:pt x="342" y="2238"/>
                    </a:lnTo>
                    <a:lnTo>
                      <a:pt x="330" y="2238"/>
                    </a:lnTo>
                    <a:lnTo>
                      <a:pt x="324" y="2244"/>
                    </a:lnTo>
                    <a:lnTo>
                      <a:pt x="324" y="2250"/>
                    </a:lnTo>
                    <a:lnTo>
                      <a:pt x="354" y="2256"/>
                    </a:lnTo>
                    <a:lnTo>
                      <a:pt x="330" y="2268"/>
                    </a:lnTo>
                    <a:lnTo>
                      <a:pt x="336" y="2292"/>
                    </a:lnTo>
                    <a:lnTo>
                      <a:pt x="348" y="2292"/>
                    </a:lnTo>
                    <a:lnTo>
                      <a:pt x="348" y="2316"/>
                    </a:lnTo>
                    <a:lnTo>
                      <a:pt x="336" y="2328"/>
                    </a:lnTo>
                    <a:lnTo>
                      <a:pt x="336" y="2322"/>
                    </a:lnTo>
                    <a:lnTo>
                      <a:pt x="330" y="2316"/>
                    </a:lnTo>
                    <a:lnTo>
                      <a:pt x="324" y="2304"/>
                    </a:lnTo>
                    <a:lnTo>
                      <a:pt x="324" y="2298"/>
                    </a:lnTo>
                    <a:lnTo>
                      <a:pt x="288" y="2298"/>
                    </a:lnTo>
                    <a:lnTo>
                      <a:pt x="306" y="2292"/>
                    </a:lnTo>
                    <a:lnTo>
                      <a:pt x="282" y="2268"/>
                    </a:lnTo>
                    <a:lnTo>
                      <a:pt x="276" y="2268"/>
                    </a:lnTo>
                    <a:lnTo>
                      <a:pt x="276" y="2280"/>
                    </a:lnTo>
                    <a:lnTo>
                      <a:pt x="270" y="2268"/>
                    </a:lnTo>
                    <a:lnTo>
                      <a:pt x="228" y="2280"/>
                    </a:lnTo>
                    <a:lnTo>
                      <a:pt x="264" y="2286"/>
                    </a:lnTo>
                    <a:lnTo>
                      <a:pt x="258" y="2292"/>
                    </a:lnTo>
                    <a:lnTo>
                      <a:pt x="252" y="2304"/>
                    </a:lnTo>
                    <a:lnTo>
                      <a:pt x="246" y="2310"/>
                    </a:lnTo>
                    <a:lnTo>
                      <a:pt x="234" y="2316"/>
                    </a:lnTo>
                    <a:lnTo>
                      <a:pt x="228" y="2328"/>
                    </a:lnTo>
                    <a:lnTo>
                      <a:pt x="222" y="2334"/>
                    </a:lnTo>
                    <a:lnTo>
                      <a:pt x="222" y="2340"/>
                    </a:lnTo>
                    <a:lnTo>
                      <a:pt x="228" y="2346"/>
                    </a:lnTo>
                    <a:lnTo>
                      <a:pt x="240" y="2352"/>
                    </a:lnTo>
                    <a:lnTo>
                      <a:pt x="252" y="2352"/>
                    </a:lnTo>
                    <a:lnTo>
                      <a:pt x="252" y="2346"/>
                    </a:lnTo>
                    <a:lnTo>
                      <a:pt x="240" y="2334"/>
                    </a:lnTo>
                    <a:lnTo>
                      <a:pt x="264" y="2328"/>
                    </a:lnTo>
                    <a:lnTo>
                      <a:pt x="282" y="2346"/>
                    </a:lnTo>
                    <a:lnTo>
                      <a:pt x="324" y="2346"/>
                    </a:lnTo>
                    <a:lnTo>
                      <a:pt x="336" y="2352"/>
                    </a:lnTo>
                    <a:lnTo>
                      <a:pt x="342" y="2364"/>
                    </a:lnTo>
                    <a:lnTo>
                      <a:pt x="354" y="2370"/>
                    </a:lnTo>
                    <a:lnTo>
                      <a:pt x="354" y="2376"/>
                    </a:lnTo>
                    <a:lnTo>
                      <a:pt x="336" y="2394"/>
                    </a:lnTo>
                    <a:lnTo>
                      <a:pt x="342" y="2406"/>
                    </a:lnTo>
                    <a:lnTo>
                      <a:pt x="360" y="2406"/>
                    </a:lnTo>
                    <a:lnTo>
                      <a:pt x="360" y="2418"/>
                    </a:lnTo>
                    <a:lnTo>
                      <a:pt x="378" y="2424"/>
                    </a:lnTo>
                    <a:lnTo>
                      <a:pt x="384" y="2406"/>
                    </a:lnTo>
                    <a:lnTo>
                      <a:pt x="402" y="2424"/>
                    </a:lnTo>
                    <a:lnTo>
                      <a:pt x="408" y="2424"/>
                    </a:lnTo>
                    <a:lnTo>
                      <a:pt x="420" y="2430"/>
                    </a:lnTo>
                    <a:lnTo>
                      <a:pt x="426" y="2436"/>
                    </a:lnTo>
                    <a:lnTo>
                      <a:pt x="426" y="2448"/>
                    </a:lnTo>
                    <a:lnTo>
                      <a:pt x="414" y="2460"/>
                    </a:lnTo>
                    <a:lnTo>
                      <a:pt x="408" y="2454"/>
                    </a:lnTo>
                    <a:lnTo>
                      <a:pt x="396" y="2454"/>
                    </a:lnTo>
                    <a:lnTo>
                      <a:pt x="384" y="2448"/>
                    </a:lnTo>
                    <a:lnTo>
                      <a:pt x="378" y="2442"/>
                    </a:lnTo>
                    <a:lnTo>
                      <a:pt x="366" y="2442"/>
                    </a:lnTo>
                    <a:lnTo>
                      <a:pt x="366" y="2454"/>
                    </a:lnTo>
                    <a:lnTo>
                      <a:pt x="372" y="2460"/>
                    </a:lnTo>
                    <a:lnTo>
                      <a:pt x="378" y="2460"/>
                    </a:lnTo>
                    <a:lnTo>
                      <a:pt x="390" y="2472"/>
                    </a:lnTo>
                    <a:lnTo>
                      <a:pt x="402" y="2496"/>
                    </a:lnTo>
                    <a:lnTo>
                      <a:pt x="402" y="2508"/>
                    </a:lnTo>
                    <a:lnTo>
                      <a:pt x="384" y="2508"/>
                    </a:lnTo>
                    <a:lnTo>
                      <a:pt x="396" y="2526"/>
                    </a:lnTo>
                    <a:lnTo>
                      <a:pt x="414" y="2562"/>
                    </a:lnTo>
                    <a:lnTo>
                      <a:pt x="426" y="2520"/>
                    </a:lnTo>
                    <a:lnTo>
                      <a:pt x="426" y="2550"/>
                    </a:lnTo>
                    <a:lnTo>
                      <a:pt x="444" y="2574"/>
                    </a:lnTo>
                    <a:lnTo>
                      <a:pt x="420" y="2574"/>
                    </a:lnTo>
                    <a:lnTo>
                      <a:pt x="426" y="2592"/>
                    </a:lnTo>
                    <a:lnTo>
                      <a:pt x="450" y="2592"/>
                    </a:lnTo>
                    <a:lnTo>
                      <a:pt x="432" y="2604"/>
                    </a:lnTo>
                    <a:lnTo>
                      <a:pt x="462" y="2616"/>
                    </a:lnTo>
                    <a:lnTo>
                      <a:pt x="444" y="2628"/>
                    </a:lnTo>
                    <a:lnTo>
                      <a:pt x="474" y="2640"/>
                    </a:lnTo>
                    <a:lnTo>
                      <a:pt x="462" y="2652"/>
                    </a:lnTo>
                    <a:lnTo>
                      <a:pt x="480" y="2658"/>
                    </a:lnTo>
                    <a:lnTo>
                      <a:pt x="480" y="2652"/>
                    </a:lnTo>
                    <a:lnTo>
                      <a:pt x="486" y="2640"/>
                    </a:lnTo>
                    <a:lnTo>
                      <a:pt x="486" y="2634"/>
                    </a:lnTo>
                    <a:lnTo>
                      <a:pt x="492" y="2634"/>
                    </a:lnTo>
                    <a:lnTo>
                      <a:pt x="498" y="2640"/>
                    </a:lnTo>
                    <a:lnTo>
                      <a:pt x="504" y="2652"/>
                    </a:lnTo>
                    <a:lnTo>
                      <a:pt x="498" y="2658"/>
                    </a:lnTo>
                    <a:lnTo>
                      <a:pt x="498" y="2664"/>
                    </a:lnTo>
                    <a:lnTo>
                      <a:pt x="492" y="2664"/>
                    </a:lnTo>
                    <a:lnTo>
                      <a:pt x="480" y="2676"/>
                    </a:lnTo>
                    <a:lnTo>
                      <a:pt x="480" y="2682"/>
                    </a:lnTo>
                    <a:lnTo>
                      <a:pt x="486" y="2688"/>
                    </a:lnTo>
                    <a:lnTo>
                      <a:pt x="516" y="2688"/>
                    </a:lnTo>
                    <a:lnTo>
                      <a:pt x="516" y="2700"/>
                    </a:lnTo>
                    <a:lnTo>
                      <a:pt x="540" y="2724"/>
                    </a:lnTo>
                    <a:lnTo>
                      <a:pt x="552" y="2730"/>
                    </a:lnTo>
                    <a:lnTo>
                      <a:pt x="558" y="2736"/>
                    </a:lnTo>
                    <a:lnTo>
                      <a:pt x="558" y="2700"/>
                    </a:lnTo>
                    <a:lnTo>
                      <a:pt x="564" y="2700"/>
                    </a:lnTo>
                    <a:lnTo>
                      <a:pt x="570" y="2706"/>
                    </a:lnTo>
                    <a:lnTo>
                      <a:pt x="582" y="2712"/>
                    </a:lnTo>
                    <a:lnTo>
                      <a:pt x="600" y="2718"/>
                    </a:lnTo>
                    <a:lnTo>
                      <a:pt x="624" y="2742"/>
                    </a:lnTo>
                    <a:lnTo>
                      <a:pt x="618" y="2748"/>
                    </a:lnTo>
                    <a:lnTo>
                      <a:pt x="618" y="2754"/>
                    </a:lnTo>
                    <a:lnTo>
                      <a:pt x="612" y="2760"/>
                    </a:lnTo>
                    <a:lnTo>
                      <a:pt x="630" y="2766"/>
                    </a:lnTo>
                    <a:lnTo>
                      <a:pt x="630" y="2790"/>
                    </a:lnTo>
                    <a:lnTo>
                      <a:pt x="684" y="2790"/>
                    </a:lnTo>
                    <a:lnTo>
                      <a:pt x="696" y="2802"/>
                    </a:lnTo>
                    <a:lnTo>
                      <a:pt x="666" y="2802"/>
                    </a:lnTo>
                    <a:lnTo>
                      <a:pt x="654" y="2814"/>
                    </a:lnTo>
                    <a:lnTo>
                      <a:pt x="630" y="2814"/>
                    </a:lnTo>
                    <a:lnTo>
                      <a:pt x="618" y="2832"/>
                    </a:lnTo>
                    <a:lnTo>
                      <a:pt x="648" y="2832"/>
                    </a:lnTo>
                    <a:lnTo>
                      <a:pt x="636" y="2850"/>
                    </a:lnTo>
                    <a:lnTo>
                      <a:pt x="666" y="2844"/>
                    </a:lnTo>
                    <a:lnTo>
                      <a:pt x="666" y="2826"/>
                    </a:lnTo>
                    <a:lnTo>
                      <a:pt x="690" y="2838"/>
                    </a:lnTo>
                    <a:lnTo>
                      <a:pt x="696" y="2826"/>
                    </a:lnTo>
                    <a:lnTo>
                      <a:pt x="702" y="2820"/>
                    </a:lnTo>
                    <a:lnTo>
                      <a:pt x="714" y="2814"/>
                    </a:lnTo>
                    <a:lnTo>
                      <a:pt x="720" y="2808"/>
                    </a:lnTo>
                    <a:lnTo>
                      <a:pt x="732" y="2808"/>
                    </a:lnTo>
                    <a:lnTo>
                      <a:pt x="732" y="2820"/>
                    </a:lnTo>
                    <a:lnTo>
                      <a:pt x="726" y="2832"/>
                    </a:lnTo>
                    <a:lnTo>
                      <a:pt x="702" y="2856"/>
                    </a:lnTo>
                    <a:lnTo>
                      <a:pt x="696" y="2850"/>
                    </a:lnTo>
                    <a:lnTo>
                      <a:pt x="678" y="2850"/>
                    </a:lnTo>
                    <a:lnTo>
                      <a:pt x="678" y="2868"/>
                    </a:lnTo>
                    <a:lnTo>
                      <a:pt x="642" y="2868"/>
                    </a:lnTo>
                    <a:lnTo>
                      <a:pt x="630" y="2880"/>
                    </a:lnTo>
                    <a:lnTo>
                      <a:pt x="642" y="2886"/>
                    </a:lnTo>
                    <a:lnTo>
                      <a:pt x="648" y="2916"/>
                    </a:lnTo>
                    <a:lnTo>
                      <a:pt x="678" y="2898"/>
                    </a:lnTo>
                    <a:lnTo>
                      <a:pt x="684" y="2910"/>
                    </a:lnTo>
                    <a:lnTo>
                      <a:pt x="684" y="2916"/>
                    </a:lnTo>
                    <a:lnTo>
                      <a:pt x="690" y="2916"/>
                    </a:lnTo>
                    <a:lnTo>
                      <a:pt x="696" y="2910"/>
                    </a:lnTo>
                    <a:lnTo>
                      <a:pt x="702" y="2898"/>
                    </a:lnTo>
                    <a:lnTo>
                      <a:pt x="702" y="2892"/>
                    </a:lnTo>
                    <a:lnTo>
                      <a:pt x="708" y="2880"/>
                    </a:lnTo>
                    <a:lnTo>
                      <a:pt x="714" y="287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35" name="Brazil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F80DCCF-E073-4843-8637-DA2E3150DF3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20462" y="4329866"/>
                <a:ext cx="1233503" cy="1413586"/>
              </a:xfrm>
              <a:custGeom>
                <a:avLst/>
                <a:gdLst>
                  <a:gd name="T0" fmla="*/ 2147483647 w 2784"/>
                  <a:gd name="T1" fmla="*/ 2147483647 h 3150"/>
                  <a:gd name="T2" fmla="*/ 2147483647 w 2784"/>
                  <a:gd name="T3" fmla="*/ 2147483647 h 3150"/>
                  <a:gd name="T4" fmla="*/ 2147483647 w 2784"/>
                  <a:gd name="T5" fmla="*/ 2147483647 h 3150"/>
                  <a:gd name="T6" fmla="*/ 2147483647 w 2784"/>
                  <a:gd name="T7" fmla="*/ 2147483647 h 3150"/>
                  <a:gd name="T8" fmla="*/ 2147483647 w 2784"/>
                  <a:gd name="T9" fmla="*/ 2147483647 h 3150"/>
                  <a:gd name="T10" fmla="*/ 2147483647 w 2784"/>
                  <a:gd name="T11" fmla="*/ 2147483647 h 3150"/>
                  <a:gd name="T12" fmla="*/ 2147483647 w 2784"/>
                  <a:gd name="T13" fmla="*/ 2147483647 h 3150"/>
                  <a:gd name="T14" fmla="*/ 2147483647 w 2784"/>
                  <a:gd name="T15" fmla="*/ 2147483647 h 3150"/>
                  <a:gd name="T16" fmla="*/ 2147483647 w 2784"/>
                  <a:gd name="T17" fmla="*/ 2147483647 h 3150"/>
                  <a:gd name="T18" fmla="*/ 2147483647 w 2784"/>
                  <a:gd name="T19" fmla="*/ 2147483647 h 3150"/>
                  <a:gd name="T20" fmla="*/ 2147483647 w 2784"/>
                  <a:gd name="T21" fmla="*/ 2147483647 h 3150"/>
                  <a:gd name="T22" fmla="*/ 2147483647 w 2784"/>
                  <a:gd name="T23" fmla="*/ 2147483647 h 3150"/>
                  <a:gd name="T24" fmla="*/ 2147483647 w 2784"/>
                  <a:gd name="T25" fmla="*/ 2147483647 h 3150"/>
                  <a:gd name="T26" fmla="*/ 2147483647 w 2784"/>
                  <a:gd name="T27" fmla="*/ 2147483647 h 3150"/>
                  <a:gd name="T28" fmla="*/ 2147483647 w 2784"/>
                  <a:gd name="T29" fmla="*/ 2147483647 h 3150"/>
                  <a:gd name="T30" fmla="*/ 2147483647 w 2784"/>
                  <a:gd name="T31" fmla="*/ 2147483647 h 3150"/>
                  <a:gd name="T32" fmla="*/ 2147483647 w 2784"/>
                  <a:gd name="T33" fmla="*/ 2147483647 h 3150"/>
                  <a:gd name="T34" fmla="*/ 2147483647 w 2784"/>
                  <a:gd name="T35" fmla="*/ 2147483647 h 3150"/>
                  <a:gd name="T36" fmla="*/ 2147483647 w 2784"/>
                  <a:gd name="T37" fmla="*/ 2147483647 h 3150"/>
                  <a:gd name="T38" fmla="*/ 2147483647 w 2784"/>
                  <a:gd name="T39" fmla="*/ 2147483647 h 3150"/>
                  <a:gd name="T40" fmla="*/ 2147483647 w 2784"/>
                  <a:gd name="T41" fmla="*/ 2147483647 h 3150"/>
                  <a:gd name="T42" fmla="*/ 2147483647 w 2784"/>
                  <a:gd name="T43" fmla="*/ 2147483647 h 3150"/>
                  <a:gd name="T44" fmla="*/ 2147483647 w 2784"/>
                  <a:gd name="T45" fmla="*/ 2147483647 h 3150"/>
                  <a:gd name="T46" fmla="*/ 2147483647 w 2784"/>
                  <a:gd name="T47" fmla="*/ 2147483647 h 3150"/>
                  <a:gd name="T48" fmla="*/ 2147483647 w 2784"/>
                  <a:gd name="T49" fmla="*/ 2147483647 h 3150"/>
                  <a:gd name="T50" fmla="*/ 2147483647 w 2784"/>
                  <a:gd name="T51" fmla="*/ 2147483647 h 3150"/>
                  <a:gd name="T52" fmla="*/ 2147483647 w 2784"/>
                  <a:gd name="T53" fmla="*/ 2147483647 h 3150"/>
                  <a:gd name="T54" fmla="*/ 2147483647 w 2784"/>
                  <a:gd name="T55" fmla="*/ 2147483647 h 3150"/>
                  <a:gd name="T56" fmla="*/ 2147483647 w 2784"/>
                  <a:gd name="T57" fmla="*/ 2147483647 h 3150"/>
                  <a:gd name="T58" fmla="*/ 2147483647 w 2784"/>
                  <a:gd name="T59" fmla="*/ 2147483647 h 3150"/>
                  <a:gd name="T60" fmla="*/ 2147483647 w 2784"/>
                  <a:gd name="T61" fmla="*/ 2147483647 h 3150"/>
                  <a:gd name="T62" fmla="*/ 2147483647 w 2784"/>
                  <a:gd name="T63" fmla="*/ 2147483647 h 3150"/>
                  <a:gd name="T64" fmla="*/ 2147483647 w 2784"/>
                  <a:gd name="T65" fmla="*/ 2147483647 h 3150"/>
                  <a:gd name="T66" fmla="*/ 2147483647 w 2784"/>
                  <a:gd name="T67" fmla="*/ 2147483647 h 3150"/>
                  <a:gd name="T68" fmla="*/ 2147483647 w 2784"/>
                  <a:gd name="T69" fmla="*/ 2147483647 h 3150"/>
                  <a:gd name="T70" fmla="*/ 2147483647 w 2784"/>
                  <a:gd name="T71" fmla="*/ 2147483647 h 3150"/>
                  <a:gd name="T72" fmla="*/ 2147483647 w 2784"/>
                  <a:gd name="T73" fmla="*/ 2147483647 h 3150"/>
                  <a:gd name="T74" fmla="*/ 2147483647 w 2784"/>
                  <a:gd name="T75" fmla="*/ 2147483647 h 3150"/>
                  <a:gd name="T76" fmla="*/ 2147483647 w 2784"/>
                  <a:gd name="T77" fmla="*/ 2147483647 h 3150"/>
                  <a:gd name="T78" fmla="*/ 2147483647 w 2784"/>
                  <a:gd name="T79" fmla="*/ 2147483647 h 3150"/>
                  <a:gd name="T80" fmla="*/ 2147483647 w 2784"/>
                  <a:gd name="T81" fmla="*/ 2147483647 h 3150"/>
                  <a:gd name="T82" fmla="*/ 2147483647 w 2784"/>
                  <a:gd name="T83" fmla="*/ 2147483647 h 3150"/>
                  <a:gd name="T84" fmla="*/ 2147483647 w 2784"/>
                  <a:gd name="T85" fmla="*/ 2147483647 h 3150"/>
                  <a:gd name="T86" fmla="*/ 2147483647 w 2784"/>
                  <a:gd name="T87" fmla="*/ 2147483647 h 3150"/>
                  <a:gd name="T88" fmla="*/ 2147483647 w 2784"/>
                  <a:gd name="T89" fmla="*/ 2147483647 h 3150"/>
                  <a:gd name="T90" fmla="*/ 2147483647 w 2784"/>
                  <a:gd name="T91" fmla="*/ 2147483647 h 3150"/>
                  <a:gd name="T92" fmla="*/ 2147483647 w 2784"/>
                  <a:gd name="T93" fmla="*/ 2147483647 h 3150"/>
                  <a:gd name="T94" fmla="*/ 2147483647 w 2784"/>
                  <a:gd name="T95" fmla="*/ 2147483647 h 3150"/>
                  <a:gd name="T96" fmla="*/ 2147483647 w 2784"/>
                  <a:gd name="T97" fmla="*/ 2147483647 h 3150"/>
                  <a:gd name="T98" fmla="*/ 2147483647 w 2784"/>
                  <a:gd name="T99" fmla="*/ 2147483647 h 3150"/>
                  <a:gd name="T100" fmla="*/ 2147483647 w 2784"/>
                  <a:gd name="T101" fmla="*/ 2147483647 h 3150"/>
                  <a:gd name="T102" fmla="*/ 2147483647 w 2784"/>
                  <a:gd name="T103" fmla="*/ 2147483647 h 3150"/>
                  <a:gd name="T104" fmla="*/ 2147483647 w 2784"/>
                  <a:gd name="T105" fmla="*/ 2147483647 h 3150"/>
                  <a:gd name="T106" fmla="*/ 2147483647 w 2784"/>
                  <a:gd name="T107" fmla="*/ 2147483647 h 3150"/>
                  <a:gd name="T108" fmla="*/ 2147483647 w 2784"/>
                  <a:gd name="T109" fmla="*/ 2147483647 h 3150"/>
                  <a:gd name="T110" fmla="*/ 2147483647 w 2784"/>
                  <a:gd name="T111" fmla="*/ 2147483647 h 3150"/>
                  <a:gd name="T112" fmla="*/ 2147483647 w 2784"/>
                  <a:gd name="T113" fmla="*/ 2147483647 h 3150"/>
                  <a:gd name="T114" fmla="*/ 2147483647 w 2784"/>
                  <a:gd name="T115" fmla="*/ 2147483647 h 3150"/>
                  <a:gd name="T116" fmla="*/ 2147483647 w 2784"/>
                  <a:gd name="T117" fmla="*/ 2147483647 h 3150"/>
                  <a:gd name="T118" fmla="*/ 2147483647 w 2784"/>
                  <a:gd name="T119" fmla="*/ 2147483647 h 315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784"/>
                  <a:gd name="T181" fmla="*/ 0 h 3150"/>
                  <a:gd name="T182" fmla="*/ 2784 w 2784"/>
                  <a:gd name="T183" fmla="*/ 3150 h 3150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784" h="3150">
                    <a:moveTo>
                      <a:pt x="1716" y="450"/>
                    </a:moveTo>
                    <a:lnTo>
                      <a:pt x="1710" y="450"/>
                    </a:lnTo>
                    <a:lnTo>
                      <a:pt x="1698" y="444"/>
                    </a:lnTo>
                    <a:lnTo>
                      <a:pt x="1680" y="444"/>
                    </a:lnTo>
                    <a:lnTo>
                      <a:pt x="1662" y="438"/>
                    </a:lnTo>
                    <a:lnTo>
                      <a:pt x="1650" y="438"/>
                    </a:lnTo>
                    <a:lnTo>
                      <a:pt x="1644" y="444"/>
                    </a:lnTo>
                    <a:lnTo>
                      <a:pt x="1644" y="450"/>
                    </a:lnTo>
                    <a:lnTo>
                      <a:pt x="1650" y="462"/>
                    </a:lnTo>
                    <a:lnTo>
                      <a:pt x="1650" y="468"/>
                    </a:lnTo>
                    <a:lnTo>
                      <a:pt x="1656" y="480"/>
                    </a:lnTo>
                    <a:lnTo>
                      <a:pt x="1638" y="480"/>
                    </a:lnTo>
                    <a:lnTo>
                      <a:pt x="1638" y="504"/>
                    </a:lnTo>
                    <a:lnTo>
                      <a:pt x="1656" y="516"/>
                    </a:lnTo>
                    <a:lnTo>
                      <a:pt x="1644" y="528"/>
                    </a:lnTo>
                    <a:lnTo>
                      <a:pt x="1644" y="540"/>
                    </a:lnTo>
                    <a:lnTo>
                      <a:pt x="1656" y="564"/>
                    </a:lnTo>
                    <a:lnTo>
                      <a:pt x="1668" y="570"/>
                    </a:lnTo>
                    <a:lnTo>
                      <a:pt x="1674" y="576"/>
                    </a:lnTo>
                    <a:lnTo>
                      <a:pt x="1686" y="576"/>
                    </a:lnTo>
                    <a:lnTo>
                      <a:pt x="1698" y="570"/>
                    </a:lnTo>
                    <a:lnTo>
                      <a:pt x="1710" y="570"/>
                    </a:lnTo>
                    <a:lnTo>
                      <a:pt x="1716" y="564"/>
                    </a:lnTo>
                    <a:lnTo>
                      <a:pt x="1716" y="558"/>
                    </a:lnTo>
                    <a:lnTo>
                      <a:pt x="1728" y="558"/>
                    </a:lnTo>
                    <a:lnTo>
                      <a:pt x="1740" y="552"/>
                    </a:lnTo>
                    <a:lnTo>
                      <a:pt x="1758" y="552"/>
                    </a:lnTo>
                    <a:lnTo>
                      <a:pt x="1770" y="546"/>
                    </a:lnTo>
                    <a:lnTo>
                      <a:pt x="1776" y="534"/>
                    </a:lnTo>
                    <a:lnTo>
                      <a:pt x="1788" y="492"/>
                    </a:lnTo>
                    <a:lnTo>
                      <a:pt x="1794" y="480"/>
                    </a:lnTo>
                    <a:lnTo>
                      <a:pt x="1794" y="474"/>
                    </a:lnTo>
                    <a:lnTo>
                      <a:pt x="1800" y="462"/>
                    </a:lnTo>
                    <a:lnTo>
                      <a:pt x="1800" y="444"/>
                    </a:lnTo>
                    <a:lnTo>
                      <a:pt x="1794" y="438"/>
                    </a:lnTo>
                    <a:lnTo>
                      <a:pt x="1752" y="438"/>
                    </a:lnTo>
                    <a:lnTo>
                      <a:pt x="1740" y="444"/>
                    </a:lnTo>
                    <a:lnTo>
                      <a:pt x="1734" y="444"/>
                    </a:lnTo>
                    <a:lnTo>
                      <a:pt x="1722" y="450"/>
                    </a:lnTo>
                    <a:lnTo>
                      <a:pt x="1716" y="450"/>
                    </a:lnTo>
                    <a:close/>
                    <a:moveTo>
                      <a:pt x="1716" y="438"/>
                    </a:moveTo>
                    <a:lnTo>
                      <a:pt x="1740" y="432"/>
                    </a:lnTo>
                    <a:lnTo>
                      <a:pt x="1722" y="414"/>
                    </a:lnTo>
                    <a:lnTo>
                      <a:pt x="1698" y="438"/>
                    </a:lnTo>
                    <a:lnTo>
                      <a:pt x="1716" y="438"/>
                    </a:lnTo>
                    <a:close/>
                    <a:moveTo>
                      <a:pt x="1686" y="408"/>
                    </a:moveTo>
                    <a:lnTo>
                      <a:pt x="1662" y="408"/>
                    </a:lnTo>
                    <a:lnTo>
                      <a:pt x="1662" y="426"/>
                    </a:lnTo>
                    <a:lnTo>
                      <a:pt x="1698" y="426"/>
                    </a:lnTo>
                    <a:lnTo>
                      <a:pt x="1716" y="402"/>
                    </a:lnTo>
                    <a:lnTo>
                      <a:pt x="1698" y="384"/>
                    </a:lnTo>
                    <a:lnTo>
                      <a:pt x="1686" y="408"/>
                    </a:lnTo>
                    <a:close/>
                    <a:moveTo>
                      <a:pt x="1572" y="492"/>
                    </a:moveTo>
                    <a:lnTo>
                      <a:pt x="1572" y="510"/>
                    </a:lnTo>
                    <a:lnTo>
                      <a:pt x="1554" y="546"/>
                    </a:lnTo>
                    <a:lnTo>
                      <a:pt x="1584" y="528"/>
                    </a:lnTo>
                    <a:lnTo>
                      <a:pt x="1590" y="516"/>
                    </a:lnTo>
                    <a:lnTo>
                      <a:pt x="1596" y="510"/>
                    </a:lnTo>
                    <a:lnTo>
                      <a:pt x="1608" y="486"/>
                    </a:lnTo>
                    <a:lnTo>
                      <a:pt x="1608" y="480"/>
                    </a:lnTo>
                    <a:lnTo>
                      <a:pt x="1602" y="474"/>
                    </a:lnTo>
                    <a:lnTo>
                      <a:pt x="1596" y="474"/>
                    </a:lnTo>
                    <a:lnTo>
                      <a:pt x="1584" y="480"/>
                    </a:lnTo>
                    <a:lnTo>
                      <a:pt x="1572" y="492"/>
                    </a:lnTo>
                    <a:close/>
                    <a:moveTo>
                      <a:pt x="1632" y="426"/>
                    </a:moveTo>
                    <a:lnTo>
                      <a:pt x="1608" y="450"/>
                    </a:lnTo>
                    <a:lnTo>
                      <a:pt x="1626" y="456"/>
                    </a:lnTo>
                    <a:lnTo>
                      <a:pt x="1644" y="432"/>
                    </a:lnTo>
                    <a:lnTo>
                      <a:pt x="1632" y="426"/>
                    </a:lnTo>
                    <a:close/>
                    <a:moveTo>
                      <a:pt x="2778" y="1002"/>
                    </a:moveTo>
                    <a:lnTo>
                      <a:pt x="2778" y="984"/>
                    </a:lnTo>
                    <a:lnTo>
                      <a:pt x="2772" y="972"/>
                    </a:lnTo>
                    <a:lnTo>
                      <a:pt x="2760" y="954"/>
                    </a:lnTo>
                    <a:lnTo>
                      <a:pt x="2754" y="936"/>
                    </a:lnTo>
                    <a:lnTo>
                      <a:pt x="2754" y="870"/>
                    </a:lnTo>
                    <a:lnTo>
                      <a:pt x="2724" y="840"/>
                    </a:lnTo>
                    <a:lnTo>
                      <a:pt x="2694" y="834"/>
                    </a:lnTo>
                    <a:lnTo>
                      <a:pt x="2646" y="840"/>
                    </a:lnTo>
                    <a:lnTo>
                      <a:pt x="2628" y="822"/>
                    </a:lnTo>
                    <a:lnTo>
                      <a:pt x="2610" y="822"/>
                    </a:lnTo>
                    <a:lnTo>
                      <a:pt x="2592" y="798"/>
                    </a:lnTo>
                    <a:lnTo>
                      <a:pt x="2568" y="798"/>
                    </a:lnTo>
                    <a:lnTo>
                      <a:pt x="2538" y="768"/>
                    </a:lnTo>
                    <a:lnTo>
                      <a:pt x="2526" y="750"/>
                    </a:lnTo>
                    <a:lnTo>
                      <a:pt x="2490" y="714"/>
                    </a:lnTo>
                    <a:lnTo>
                      <a:pt x="2418" y="666"/>
                    </a:lnTo>
                    <a:lnTo>
                      <a:pt x="2394" y="660"/>
                    </a:lnTo>
                    <a:lnTo>
                      <a:pt x="2316" y="660"/>
                    </a:lnTo>
                    <a:lnTo>
                      <a:pt x="2316" y="672"/>
                    </a:lnTo>
                    <a:lnTo>
                      <a:pt x="2310" y="672"/>
                    </a:lnTo>
                    <a:lnTo>
                      <a:pt x="2298" y="660"/>
                    </a:lnTo>
                    <a:lnTo>
                      <a:pt x="2286" y="654"/>
                    </a:lnTo>
                    <a:lnTo>
                      <a:pt x="2274" y="654"/>
                    </a:lnTo>
                    <a:lnTo>
                      <a:pt x="2262" y="648"/>
                    </a:lnTo>
                    <a:lnTo>
                      <a:pt x="2232" y="648"/>
                    </a:lnTo>
                    <a:lnTo>
                      <a:pt x="2226" y="642"/>
                    </a:lnTo>
                    <a:lnTo>
                      <a:pt x="2214" y="636"/>
                    </a:lnTo>
                    <a:lnTo>
                      <a:pt x="2196" y="630"/>
                    </a:lnTo>
                    <a:lnTo>
                      <a:pt x="2184" y="624"/>
                    </a:lnTo>
                    <a:lnTo>
                      <a:pt x="2166" y="618"/>
                    </a:lnTo>
                    <a:lnTo>
                      <a:pt x="2154" y="618"/>
                    </a:lnTo>
                    <a:lnTo>
                      <a:pt x="2142" y="624"/>
                    </a:lnTo>
                    <a:lnTo>
                      <a:pt x="2112" y="654"/>
                    </a:lnTo>
                    <a:lnTo>
                      <a:pt x="2106" y="666"/>
                    </a:lnTo>
                    <a:lnTo>
                      <a:pt x="2088" y="642"/>
                    </a:lnTo>
                    <a:lnTo>
                      <a:pt x="2088" y="678"/>
                    </a:lnTo>
                    <a:lnTo>
                      <a:pt x="2058" y="702"/>
                    </a:lnTo>
                    <a:lnTo>
                      <a:pt x="2076" y="636"/>
                    </a:lnTo>
                    <a:lnTo>
                      <a:pt x="2082" y="636"/>
                    </a:lnTo>
                    <a:lnTo>
                      <a:pt x="2094" y="624"/>
                    </a:lnTo>
                    <a:lnTo>
                      <a:pt x="2094" y="606"/>
                    </a:lnTo>
                    <a:lnTo>
                      <a:pt x="2088" y="600"/>
                    </a:lnTo>
                    <a:lnTo>
                      <a:pt x="2082" y="600"/>
                    </a:lnTo>
                    <a:lnTo>
                      <a:pt x="2064" y="618"/>
                    </a:lnTo>
                    <a:lnTo>
                      <a:pt x="2076" y="582"/>
                    </a:lnTo>
                    <a:lnTo>
                      <a:pt x="2070" y="582"/>
                    </a:lnTo>
                    <a:lnTo>
                      <a:pt x="2064" y="576"/>
                    </a:lnTo>
                    <a:lnTo>
                      <a:pt x="2064" y="570"/>
                    </a:lnTo>
                    <a:lnTo>
                      <a:pt x="2040" y="546"/>
                    </a:lnTo>
                    <a:lnTo>
                      <a:pt x="2034" y="546"/>
                    </a:lnTo>
                    <a:lnTo>
                      <a:pt x="2022" y="564"/>
                    </a:lnTo>
                    <a:lnTo>
                      <a:pt x="2016" y="552"/>
                    </a:lnTo>
                    <a:lnTo>
                      <a:pt x="2004" y="546"/>
                    </a:lnTo>
                    <a:lnTo>
                      <a:pt x="1998" y="534"/>
                    </a:lnTo>
                    <a:lnTo>
                      <a:pt x="1986" y="528"/>
                    </a:lnTo>
                    <a:lnTo>
                      <a:pt x="1980" y="522"/>
                    </a:lnTo>
                    <a:lnTo>
                      <a:pt x="1968" y="516"/>
                    </a:lnTo>
                    <a:lnTo>
                      <a:pt x="1944" y="516"/>
                    </a:lnTo>
                    <a:lnTo>
                      <a:pt x="1932" y="510"/>
                    </a:lnTo>
                    <a:lnTo>
                      <a:pt x="1926" y="510"/>
                    </a:lnTo>
                    <a:lnTo>
                      <a:pt x="1914" y="498"/>
                    </a:lnTo>
                    <a:lnTo>
                      <a:pt x="1902" y="492"/>
                    </a:lnTo>
                    <a:lnTo>
                      <a:pt x="1896" y="480"/>
                    </a:lnTo>
                    <a:lnTo>
                      <a:pt x="1884" y="474"/>
                    </a:lnTo>
                    <a:lnTo>
                      <a:pt x="1878" y="486"/>
                    </a:lnTo>
                    <a:lnTo>
                      <a:pt x="1824" y="486"/>
                    </a:lnTo>
                    <a:lnTo>
                      <a:pt x="1812" y="498"/>
                    </a:lnTo>
                    <a:lnTo>
                      <a:pt x="1806" y="510"/>
                    </a:lnTo>
                    <a:lnTo>
                      <a:pt x="1806" y="522"/>
                    </a:lnTo>
                    <a:lnTo>
                      <a:pt x="1800" y="528"/>
                    </a:lnTo>
                    <a:lnTo>
                      <a:pt x="1800" y="534"/>
                    </a:lnTo>
                    <a:lnTo>
                      <a:pt x="1812" y="552"/>
                    </a:lnTo>
                    <a:lnTo>
                      <a:pt x="1776" y="552"/>
                    </a:lnTo>
                    <a:lnTo>
                      <a:pt x="1770" y="564"/>
                    </a:lnTo>
                    <a:lnTo>
                      <a:pt x="1758" y="576"/>
                    </a:lnTo>
                    <a:lnTo>
                      <a:pt x="1752" y="588"/>
                    </a:lnTo>
                    <a:lnTo>
                      <a:pt x="1752" y="594"/>
                    </a:lnTo>
                    <a:lnTo>
                      <a:pt x="1746" y="600"/>
                    </a:lnTo>
                    <a:lnTo>
                      <a:pt x="1746" y="612"/>
                    </a:lnTo>
                    <a:lnTo>
                      <a:pt x="1740" y="624"/>
                    </a:lnTo>
                    <a:lnTo>
                      <a:pt x="1728" y="636"/>
                    </a:lnTo>
                    <a:lnTo>
                      <a:pt x="1722" y="636"/>
                    </a:lnTo>
                    <a:lnTo>
                      <a:pt x="1728" y="630"/>
                    </a:lnTo>
                    <a:lnTo>
                      <a:pt x="1728" y="618"/>
                    </a:lnTo>
                    <a:lnTo>
                      <a:pt x="1734" y="606"/>
                    </a:lnTo>
                    <a:lnTo>
                      <a:pt x="1734" y="600"/>
                    </a:lnTo>
                    <a:lnTo>
                      <a:pt x="1740" y="588"/>
                    </a:lnTo>
                    <a:lnTo>
                      <a:pt x="1740" y="582"/>
                    </a:lnTo>
                    <a:lnTo>
                      <a:pt x="1734" y="576"/>
                    </a:lnTo>
                    <a:lnTo>
                      <a:pt x="1728" y="576"/>
                    </a:lnTo>
                    <a:lnTo>
                      <a:pt x="1722" y="582"/>
                    </a:lnTo>
                    <a:lnTo>
                      <a:pt x="1716" y="582"/>
                    </a:lnTo>
                    <a:lnTo>
                      <a:pt x="1704" y="594"/>
                    </a:lnTo>
                    <a:lnTo>
                      <a:pt x="1692" y="588"/>
                    </a:lnTo>
                    <a:lnTo>
                      <a:pt x="1656" y="588"/>
                    </a:lnTo>
                    <a:lnTo>
                      <a:pt x="1644" y="582"/>
                    </a:lnTo>
                    <a:lnTo>
                      <a:pt x="1632" y="570"/>
                    </a:lnTo>
                    <a:lnTo>
                      <a:pt x="1632" y="522"/>
                    </a:lnTo>
                    <a:lnTo>
                      <a:pt x="1626" y="516"/>
                    </a:lnTo>
                    <a:lnTo>
                      <a:pt x="1626" y="504"/>
                    </a:lnTo>
                    <a:lnTo>
                      <a:pt x="1620" y="504"/>
                    </a:lnTo>
                    <a:lnTo>
                      <a:pt x="1614" y="510"/>
                    </a:lnTo>
                    <a:lnTo>
                      <a:pt x="1602" y="516"/>
                    </a:lnTo>
                    <a:lnTo>
                      <a:pt x="1596" y="522"/>
                    </a:lnTo>
                    <a:lnTo>
                      <a:pt x="1590" y="534"/>
                    </a:lnTo>
                    <a:lnTo>
                      <a:pt x="1584" y="540"/>
                    </a:lnTo>
                    <a:lnTo>
                      <a:pt x="1560" y="552"/>
                    </a:lnTo>
                    <a:lnTo>
                      <a:pt x="1554" y="558"/>
                    </a:lnTo>
                    <a:lnTo>
                      <a:pt x="1512" y="558"/>
                    </a:lnTo>
                    <a:lnTo>
                      <a:pt x="1500" y="552"/>
                    </a:lnTo>
                    <a:lnTo>
                      <a:pt x="1542" y="540"/>
                    </a:lnTo>
                    <a:lnTo>
                      <a:pt x="1548" y="528"/>
                    </a:lnTo>
                    <a:lnTo>
                      <a:pt x="1566" y="510"/>
                    </a:lnTo>
                    <a:lnTo>
                      <a:pt x="1566" y="492"/>
                    </a:lnTo>
                    <a:lnTo>
                      <a:pt x="1572" y="486"/>
                    </a:lnTo>
                    <a:lnTo>
                      <a:pt x="1590" y="450"/>
                    </a:lnTo>
                    <a:lnTo>
                      <a:pt x="1626" y="414"/>
                    </a:lnTo>
                    <a:lnTo>
                      <a:pt x="1638" y="408"/>
                    </a:lnTo>
                    <a:lnTo>
                      <a:pt x="1656" y="390"/>
                    </a:lnTo>
                    <a:lnTo>
                      <a:pt x="1656" y="378"/>
                    </a:lnTo>
                    <a:lnTo>
                      <a:pt x="1662" y="366"/>
                    </a:lnTo>
                    <a:lnTo>
                      <a:pt x="1674" y="354"/>
                    </a:lnTo>
                    <a:lnTo>
                      <a:pt x="1686" y="348"/>
                    </a:lnTo>
                    <a:lnTo>
                      <a:pt x="1692" y="342"/>
                    </a:lnTo>
                    <a:lnTo>
                      <a:pt x="1704" y="336"/>
                    </a:lnTo>
                    <a:lnTo>
                      <a:pt x="1680" y="330"/>
                    </a:lnTo>
                    <a:lnTo>
                      <a:pt x="1698" y="312"/>
                    </a:lnTo>
                    <a:lnTo>
                      <a:pt x="1698" y="294"/>
                    </a:lnTo>
                    <a:lnTo>
                      <a:pt x="1692" y="288"/>
                    </a:lnTo>
                    <a:lnTo>
                      <a:pt x="1680" y="282"/>
                    </a:lnTo>
                    <a:lnTo>
                      <a:pt x="1662" y="282"/>
                    </a:lnTo>
                    <a:lnTo>
                      <a:pt x="1650" y="276"/>
                    </a:lnTo>
                    <a:lnTo>
                      <a:pt x="1644" y="270"/>
                    </a:lnTo>
                    <a:lnTo>
                      <a:pt x="1638" y="252"/>
                    </a:lnTo>
                    <a:lnTo>
                      <a:pt x="1632" y="216"/>
                    </a:lnTo>
                    <a:lnTo>
                      <a:pt x="1626" y="168"/>
                    </a:lnTo>
                    <a:lnTo>
                      <a:pt x="1620" y="138"/>
                    </a:lnTo>
                    <a:lnTo>
                      <a:pt x="1614" y="114"/>
                    </a:lnTo>
                    <a:lnTo>
                      <a:pt x="1608" y="96"/>
                    </a:lnTo>
                    <a:lnTo>
                      <a:pt x="1602" y="84"/>
                    </a:lnTo>
                    <a:lnTo>
                      <a:pt x="1590" y="78"/>
                    </a:lnTo>
                    <a:lnTo>
                      <a:pt x="1584" y="78"/>
                    </a:lnTo>
                    <a:lnTo>
                      <a:pt x="1584" y="90"/>
                    </a:lnTo>
                    <a:lnTo>
                      <a:pt x="1590" y="96"/>
                    </a:lnTo>
                    <a:lnTo>
                      <a:pt x="1590" y="108"/>
                    </a:lnTo>
                    <a:lnTo>
                      <a:pt x="1572" y="108"/>
                    </a:lnTo>
                    <a:lnTo>
                      <a:pt x="1572" y="102"/>
                    </a:lnTo>
                    <a:lnTo>
                      <a:pt x="1566" y="108"/>
                    </a:lnTo>
                    <a:lnTo>
                      <a:pt x="1560" y="120"/>
                    </a:lnTo>
                    <a:lnTo>
                      <a:pt x="1560" y="126"/>
                    </a:lnTo>
                    <a:lnTo>
                      <a:pt x="1554" y="132"/>
                    </a:lnTo>
                    <a:lnTo>
                      <a:pt x="1548" y="144"/>
                    </a:lnTo>
                    <a:lnTo>
                      <a:pt x="1536" y="156"/>
                    </a:lnTo>
                    <a:lnTo>
                      <a:pt x="1518" y="192"/>
                    </a:lnTo>
                    <a:lnTo>
                      <a:pt x="1518" y="210"/>
                    </a:lnTo>
                    <a:lnTo>
                      <a:pt x="1494" y="246"/>
                    </a:lnTo>
                    <a:lnTo>
                      <a:pt x="1488" y="246"/>
                    </a:lnTo>
                    <a:lnTo>
                      <a:pt x="1482" y="252"/>
                    </a:lnTo>
                    <a:lnTo>
                      <a:pt x="1464" y="252"/>
                    </a:lnTo>
                    <a:lnTo>
                      <a:pt x="1452" y="240"/>
                    </a:lnTo>
                    <a:lnTo>
                      <a:pt x="1446" y="246"/>
                    </a:lnTo>
                    <a:lnTo>
                      <a:pt x="1434" y="246"/>
                    </a:lnTo>
                    <a:lnTo>
                      <a:pt x="1428" y="240"/>
                    </a:lnTo>
                    <a:lnTo>
                      <a:pt x="1416" y="240"/>
                    </a:lnTo>
                    <a:lnTo>
                      <a:pt x="1410" y="246"/>
                    </a:lnTo>
                    <a:lnTo>
                      <a:pt x="1410" y="252"/>
                    </a:lnTo>
                    <a:lnTo>
                      <a:pt x="1404" y="258"/>
                    </a:lnTo>
                    <a:lnTo>
                      <a:pt x="1380" y="258"/>
                    </a:lnTo>
                    <a:lnTo>
                      <a:pt x="1368" y="246"/>
                    </a:lnTo>
                    <a:lnTo>
                      <a:pt x="1368" y="240"/>
                    </a:lnTo>
                    <a:lnTo>
                      <a:pt x="1350" y="234"/>
                    </a:lnTo>
                    <a:lnTo>
                      <a:pt x="1344" y="228"/>
                    </a:lnTo>
                    <a:lnTo>
                      <a:pt x="1338" y="216"/>
                    </a:lnTo>
                    <a:lnTo>
                      <a:pt x="1332" y="216"/>
                    </a:lnTo>
                    <a:lnTo>
                      <a:pt x="1320" y="222"/>
                    </a:lnTo>
                    <a:lnTo>
                      <a:pt x="1314" y="228"/>
                    </a:lnTo>
                    <a:lnTo>
                      <a:pt x="1302" y="234"/>
                    </a:lnTo>
                    <a:lnTo>
                      <a:pt x="1278" y="234"/>
                    </a:lnTo>
                    <a:lnTo>
                      <a:pt x="1278" y="222"/>
                    </a:lnTo>
                    <a:lnTo>
                      <a:pt x="1272" y="222"/>
                    </a:lnTo>
                    <a:lnTo>
                      <a:pt x="1260" y="228"/>
                    </a:lnTo>
                    <a:lnTo>
                      <a:pt x="1260" y="252"/>
                    </a:lnTo>
                    <a:lnTo>
                      <a:pt x="1272" y="264"/>
                    </a:lnTo>
                    <a:lnTo>
                      <a:pt x="1272" y="270"/>
                    </a:lnTo>
                    <a:lnTo>
                      <a:pt x="1278" y="276"/>
                    </a:lnTo>
                    <a:lnTo>
                      <a:pt x="1272" y="282"/>
                    </a:lnTo>
                    <a:lnTo>
                      <a:pt x="1254" y="282"/>
                    </a:lnTo>
                    <a:lnTo>
                      <a:pt x="1230" y="270"/>
                    </a:lnTo>
                    <a:lnTo>
                      <a:pt x="1224" y="270"/>
                    </a:lnTo>
                    <a:lnTo>
                      <a:pt x="1212" y="264"/>
                    </a:lnTo>
                    <a:lnTo>
                      <a:pt x="1212" y="270"/>
                    </a:lnTo>
                    <a:lnTo>
                      <a:pt x="1206" y="276"/>
                    </a:lnTo>
                    <a:lnTo>
                      <a:pt x="1200" y="276"/>
                    </a:lnTo>
                    <a:lnTo>
                      <a:pt x="1188" y="264"/>
                    </a:lnTo>
                    <a:lnTo>
                      <a:pt x="1176" y="264"/>
                    </a:lnTo>
                    <a:lnTo>
                      <a:pt x="1158" y="282"/>
                    </a:lnTo>
                    <a:lnTo>
                      <a:pt x="1158" y="288"/>
                    </a:lnTo>
                    <a:lnTo>
                      <a:pt x="1128" y="288"/>
                    </a:lnTo>
                    <a:lnTo>
                      <a:pt x="1122" y="300"/>
                    </a:lnTo>
                    <a:lnTo>
                      <a:pt x="1104" y="300"/>
                    </a:lnTo>
                    <a:lnTo>
                      <a:pt x="1092" y="312"/>
                    </a:lnTo>
                    <a:lnTo>
                      <a:pt x="1092" y="324"/>
                    </a:lnTo>
                    <a:lnTo>
                      <a:pt x="1086" y="330"/>
                    </a:lnTo>
                    <a:lnTo>
                      <a:pt x="1050" y="330"/>
                    </a:lnTo>
                    <a:lnTo>
                      <a:pt x="1044" y="318"/>
                    </a:lnTo>
                    <a:lnTo>
                      <a:pt x="1032" y="318"/>
                    </a:lnTo>
                    <a:lnTo>
                      <a:pt x="1002" y="282"/>
                    </a:lnTo>
                    <a:lnTo>
                      <a:pt x="1002" y="252"/>
                    </a:lnTo>
                    <a:lnTo>
                      <a:pt x="978" y="228"/>
                    </a:lnTo>
                    <a:lnTo>
                      <a:pt x="972" y="216"/>
                    </a:lnTo>
                    <a:lnTo>
                      <a:pt x="972" y="210"/>
                    </a:lnTo>
                    <a:lnTo>
                      <a:pt x="978" y="198"/>
                    </a:lnTo>
                    <a:lnTo>
                      <a:pt x="978" y="192"/>
                    </a:lnTo>
                    <a:lnTo>
                      <a:pt x="984" y="180"/>
                    </a:lnTo>
                    <a:lnTo>
                      <a:pt x="996" y="138"/>
                    </a:lnTo>
                    <a:lnTo>
                      <a:pt x="1008" y="126"/>
                    </a:lnTo>
                    <a:lnTo>
                      <a:pt x="1014" y="114"/>
                    </a:lnTo>
                    <a:lnTo>
                      <a:pt x="1014" y="102"/>
                    </a:lnTo>
                    <a:lnTo>
                      <a:pt x="1008" y="102"/>
                    </a:lnTo>
                    <a:lnTo>
                      <a:pt x="1002" y="96"/>
                    </a:lnTo>
                    <a:lnTo>
                      <a:pt x="1002" y="66"/>
                    </a:lnTo>
                    <a:lnTo>
                      <a:pt x="996" y="66"/>
                    </a:lnTo>
                    <a:lnTo>
                      <a:pt x="984" y="72"/>
                    </a:lnTo>
                    <a:lnTo>
                      <a:pt x="978" y="72"/>
                    </a:lnTo>
                    <a:lnTo>
                      <a:pt x="972" y="66"/>
                    </a:lnTo>
                    <a:lnTo>
                      <a:pt x="972" y="60"/>
                    </a:lnTo>
                    <a:lnTo>
                      <a:pt x="978" y="54"/>
                    </a:lnTo>
                    <a:lnTo>
                      <a:pt x="984" y="42"/>
                    </a:lnTo>
                    <a:lnTo>
                      <a:pt x="984" y="24"/>
                    </a:lnTo>
                    <a:lnTo>
                      <a:pt x="978" y="12"/>
                    </a:lnTo>
                    <a:lnTo>
                      <a:pt x="966" y="0"/>
                    </a:lnTo>
                    <a:lnTo>
                      <a:pt x="960" y="12"/>
                    </a:lnTo>
                    <a:lnTo>
                      <a:pt x="936" y="6"/>
                    </a:lnTo>
                    <a:lnTo>
                      <a:pt x="936" y="42"/>
                    </a:lnTo>
                    <a:lnTo>
                      <a:pt x="930" y="48"/>
                    </a:lnTo>
                    <a:lnTo>
                      <a:pt x="918" y="48"/>
                    </a:lnTo>
                    <a:lnTo>
                      <a:pt x="918" y="60"/>
                    </a:lnTo>
                    <a:lnTo>
                      <a:pt x="894" y="60"/>
                    </a:lnTo>
                    <a:lnTo>
                      <a:pt x="882" y="66"/>
                    </a:lnTo>
                    <a:lnTo>
                      <a:pt x="858" y="90"/>
                    </a:lnTo>
                    <a:lnTo>
                      <a:pt x="846" y="96"/>
                    </a:lnTo>
                    <a:lnTo>
                      <a:pt x="828" y="96"/>
                    </a:lnTo>
                    <a:lnTo>
                      <a:pt x="822" y="90"/>
                    </a:lnTo>
                    <a:lnTo>
                      <a:pt x="804" y="90"/>
                    </a:lnTo>
                    <a:lnTo>
                      <a:pt x="798" y="96"/>
                    </a:lnTo>
                    <a:lnTo>
                      <a:pt x="798" y="108"/>
                    </a:lnTo>
                    <a:lnTo>
                      <a:pt x="792" y="120"/>
                    </a:lnTo>
                    <a:lnTo>
                      <a:pt x="792" y="138"/>
                    </a:lnTo>
                    <a:lnTo>
                      <a:pt x="786" y="144"/>
                    </a:lnTo>
                    <a:lnTo>
                      <a:pt x="774" y="138"/>
                    </a:lnTo>
                    <a:lnTo>
                      <a:pt x="762" y="126"/>
                    </a:lnTo>
                    <a:lnTo>
                      <a:pt x="756" y="114"/>
                    </a:lnTo>
                    <a:lnTo>
                      <a:pt x="750" y="108"/>
                    </a:lnTo>
                    <a:lnTo>
                      <a:pt x="738" y="108"/>
                    </a:lnTo>
                    <a:lnTo>
                      <a:pt x="732" y="114"/>
                    </a:lnTo>
                    <a:lnTo>
                      <a:pt x="720" y="108"/>
                    </a:lnTo>
                    <a:lnTo>
                      <a:pt x="708" y="114"/>
                    </a:lnTo>
                    <a:lnTo>
                      <a:pt x="696" y="114"/>
                    </a:lnTo>
                    <a:lnTo>
                      <a:pt x="696" y="96"/>
                    </a:lnTo>
                    <a:lnTo>
                      <a:pt x="690" y="90"/>
                    </a:lnTo>
                    <a:lnTo>
                      <a:pt x="648" y="90"/>
                    </a:lnTo>
                    <a:lnTo>
                      <a:pt x="648" y="84"/>
                    </a:lnTo>
                    <a:lnTo>
                      <a:pt x="642" y="78"/>
                    </a:lnTo>
                    <a:lnTo>
                      <a:pt x="642" y="108"/>
                    </a:lnTo>
                    <a:lnTo>
                      <a:pt x="660" y="126"/>
                    </a:lnTo>
                    <a:lnTo>
                      <a:pt x="672" y="132"/>
                    </a:lnTo>
                    <a:lnTo>
                      <a:pt x="678" y="138"/>
                    </a:lnTo>
                    <a:lnTo>
                      <a:pt x="678" y="168"/>
                    </a:lnTo>
                    <a:lnTo>
                      <a:pt x="672" y="174"/>
                    </a:lnTo>
                    <a:lnTo>
                      <a:pt x="684" y="186"/>
                    </a:lnTo>
                    <a:lnTo>
                      <a:pt x="690" y="198"/>
                    </a:lnTo>
                    <a:lnTo>
                      <a:pt x="690" y="228"/>
                    </a:lnTo>
                    <a:lnTo>
                      <a:pt x="738" y="234"/>
                    </a:lnTo>
                    <a:lnTo>
                      <a:pt x="744" y="240"/>
                    </a:lnTo>
                    <a:lnTo>
                      <a:pt x="744" y="246"/>
                    </a:lnTo>
                    <a:lnTo>
                      <a:pt x="738" y="258"/>
                    </a:lnTo>
                    <a:lnTo>
                      <a:pt x="732" y="264"/>
                    </a:lnTo>
                    <a:lnTo>
                      <a:pt x="690" y="264"/>
                    </a:lnTo>
                    <a:lnTo>
                      <a:pt x="690" y="294"/>
                    </a:lnTo>
                    <a:lnTo>
                      <a:pt x="684" y="306"/>
                    </a:lnTo>
                    <a:lnTo>
                      <a:pt x="648" y="324"/>
                    </a:lnTo>
                    <a:lnTo>
                      <a:pt x="642" y="330"/>
                    </a:lnTo>
                    <a:lnTo>
                      <a:pt x="624" y="330"/>
                    </a:lnTo>
                    <a:lnTo>
                      <a:pt x="612" y="342"/>
                    </a:lnTo>
                    <a:lnTo>
                      <a:pt x="600" y="366"/>
                    </a:lnTo>
                    <a:lnTo>
                      <a:pt x="588" y="378"/>
                    </a:lnTo>
                    <a:lnTo>
                      <a:pt x="582" y="378"/>
                    </a:lnTo>
                    <a:lnTo>
                      <a:pt x="582" y="354"/>
                    </a:lnTo>
                    <a:lnTo>
                      <a:pt x="576" y="348"/>
                    </a:lnTo>
                    <a:lnTo>
                      <a:pt x="570" y="354"/>
                    </a:lnTo>
                    <a:lnTo>
                      <a:pt x="558" y="360"/>
                    </a:lnTo>
                    <a:lnTo>
                      <a:pt x="552" y="366"/>
                    </a:lnTo>
                    <a:lnTo>
                      <a:pt x="540" y="372"/>
                    </a:lnTo>
                    <a:lnTo>
                      <a:pt x="534" y="372"/>
                    </a:lnTo>
                    <a:lnTo>
                      <a:pt x="522" y="366"/>
                    </a:lnTo>
                    <a:lnTo>
                      <a:pt x="516" y="366"/>
                    </a:lnTo>
                    <a:lnTo>
                      <a:pt x="504" y="354"/>
                    </a:lnTo>
                    <a:lnTo>
                      <a:pt x="504" y="348"/>
                    </a:lnTo>
                    <a:lnTo>
                      <a:pt x="498" y="336"/>
                    </a:lnTo>
                    <a:lnTo>
                      <a:pt x="492" y="330"/>
                    </a:lnTo>
                    <a:lnTo>
                      <a:pt x="468" y="330"/>
                    </a:lnTo>
                    <a:lnTo>
                      <a:pt x="468" y="300"/>
                    </a:lnTo>
                    <a:lnTo>
                      <a:pt x="462" y="288"/>
                    </a:lnTo>
                    <a:lnTo>
                      <a:pt x="462" y="276"/>
                    </a:lnTo>
                    <a:lnTo>
                      <a:pt x="456" y="270"/>
                    </a:lnTo>
                    <a:lnTo>
                      <a:pt x="456" y="258"/>
                    </a:lnTo>
                    <a:lnTo>
                      <a:pt x="450" y="258"/>
                    </a:lnTo>
                    <a:lnTo>
                      <a:pt x="420" y="288"/>
                    </a:lnTo>
                    <a:lnTo>
                      <a:pt x="396" y="264"/>
                    </a:lnTo>
                    <a:lnTo>
                      <a:pt x="390" y="264"/>
                    </a:lnTo>
                    <a:lnTo>
                      <a:pt x="384" y="270"/>
                    </a:lnTo>
                    <a:lnTo>
                      <a:pt x="384" y="288"/>
                    </a:lnTo>
                    <a:lnTo>
                      <a:pt x="318" y="294"/>
                    </a:lnTo>
                    <a:lnTo>
                      <a:pt x="306" y="282"/>
                    </a:lnTo>
                    <a:lnTo>
                      <a:pt x="288" y="282"/>
                    </a:lnTo>
                    <a:lnTo>
                      <a:pt x="282" y="288"/>
                    </a:lnTo>
                    <a:lnTo>
                      <a:pt x="276" y="300"/>
                    </a:lnTo>
                    <a:lnTo>
                      <a:pt x="276" y="312"/>
                    </a:lnTo>
                    <a:lnTo>
                      <a:pt x="282" y="324"/>
                    </a:lnTo>
                    <a:lnTo>
                      <a:pt x="282" y="336"/>
                    </a:lnTo>
                    <a:lnTo>
                      <a:pt x="306" y="348"/>
                    </a:lnTo>
                    <a:lnTo>
                      <a:pt x="318" y="342"/>
                    </a:lnTo>
                    <a:lnTo>
                      <a:pt x="330" y="354"/>
                    </a:lnTo>
                    <a:lnTo>
                      <a:pt x="330" y="360"/>
                    </a:lnTo>
                    <a:lnTo>
                      <a:pt x="336" y="366"/>
                    </a:lnTo>
                    <a:lnTo>
                      <a:pt x="336" y="372"/>
                    </a:lnTo>
                    <a:lnTo>
                      <a:pt x="330" y="378"/>
                    </a:lnTo>
                    <a:lnTo>
                      <a:pt x="300" y="378"/>
                    </a:lnTo>
                    <a:lnTo>
                      <a:pt x="294" y="372"/>
                    </a:lnTo>
                    <a:lnTo>
                      <a:pt x="264" y="378"/>
                    </a:lnTo>
                    <a:lnTo>
                      <a:pt x="258" y="444"/>
                    </a:lnTo>
                    <a:lnTo>
                      <a:pt x="264" y="444"/>
                    </a:lnTo>
                    <a:lnTo>
                      <a:pt x="276" y="456"/>
                    </a:lnTo>
                    <a:lnTo>
                      <a:pt x="288" y="462"/>
                    </a:lnTo>
                    <a:lnTo>
                      <a:pt x="294" y="468"/>
                    </a:lnTo>
                    <a:lnTo>
                      <a:pt x="294" y="492"/>
                    </a:lnTo>
                    <a:lnTo>
                      <a:pt x="300" y="498"/>
                    </a:lnTo>
                    <a:lnTo>
                      <a:pt x="300" y="504"/>
                    </a:lnTo>
                    <a:lnTo>
                      <a:pt x="312" y="516"/>
                    </a:lnTo>
                    <a:lnTo>
                      <a:pt x="318" y="528"/>
                    </a:lnTo>
                    <a:lnTo>
                      <a:pt x="318" y="540"/>
                    </a:lnTo>
                    <a:lnTo>
                      <a:pt x="312" y="552"/>
                    </a:lnTo>
                    <a:lnTo>
                      <a:pt x="300" y="564"/>
                    </a:lnTo>
                    <a:lnTo>
                      <a:pt x="306" y="612"/>
                    </a:lnTo>
                    <a:lnTo>
                      <a:pt x="288" y="660"/>
                    </a:lnTo>
                    <a:lnTo>
                      <a:pt x="282" y="732"/>
                    </a:lnTo>
                    <a:lnTo>
                      <a:pt x="282" y="762"/>
                    </a:lnTo>
                    <a:lnTo>
                      <a:pt x="276" y="774"/>
                    </a:lnTo>
                    <a:lnTo>
                      <a:pt x="270" y="780"/>
                    </a:lnTo>
                    <a:lnTo>
                      <a:pt x="252" y="780"/>
                    </a:lnTo>
                    <a:lnTo>
                      <a:pt x="252" y="774"/>
                    </a:lnTo>
                    <a:lnTo>
                      <a:pt x="240" y="762"/>
                    </a:lnTo>
                    <a:lnTo>
                      <a:pt x="222" y="762"/>
                    </a:lnTo>
                    <a:lnTo>
                      <a:pt x="216" y="768"/>
                    </a:lnTo>
                    <a:lnTo>
                      <a:pt x="210" y="780"/>
                    </a:lnTo>
                    <a:lnTo>
                      <a:pt x="204" y="786"/>
                    </a:lnTo>
                    <a:lnTo>
                      <a:pt x="174" y="780"/>
                    </a:lnTo>
                    <a:lnTo>
                      <a:pt x="168" y="792"/>
                    </a:lnTo>
                    <a:lnTo>
                      <a:pt x="138" y="792"/>
                    </a:lnTo>
                    <a:lnTo>
                      <a:pt x="126" y="798"/>
                    </a:lnTo>
                    <a:lnTo>
                      <a:pt x="120" y="804"/>
                    </a:lnTo>
                    <a:lnTo>
                      <a:pt x="108" y="810"/>
                    </a:lnTo>
                    <a:lnTo>
                      <a:pt x="96" y="822"/>
                    </a:lnTo>
                    <a:lnTo>
                      <a:pt x="96" y="828"/>
                    </a:lnTo>
                    <a:lnTo>
                      <a:pt x="90" y="834"/>
                    </a:lnTo>
                    <a:lnTo>
                      <a:pt x="90" y="840"/>
                    </a:lnTo>
                    <a:lnTo>
                      <a:pt x="66" y="840"/>
                    </a:lnTo>
                    <a:lnTo>
                      <a:pt x="66" y="894"/>
                    </a:lnTo>
                    <a:lnTo>
                      <a:pt x="48" y="912"/>
                    </a:lnTo>
                    <a:lnTo>
                      <a:pt x="48" y="924"/>
                    </a:lnTo>
                    <a:lnTo>
                      <a:pt x="54" y="930"/>
                    </a:lnTo>
                    <a:lnTo>
                      <a:pt x="54" y="948"/>
                    </a:lnTo>
                    <a:lnTo>
                      <a:pt x="60" y="954"/>
                    </a:lnTo>
                    <a:lnTo>
                      <a:pt x="54" y="954"/>
                    </a:lnTo>
                    <a:lnTo>
                      <a:pt x="48" y="948"/>
                    </a:lnTo>
                    <a:lnTo>
                      <a:pt x="18" y="978"/>
                    </a:lnTo>
                    <a:lnTo>
                      <a:pt x="12" y="990"/>
                    </a:lnTo>
                    <a:lnTo>
                      <a:pt x="12" y="1014"/>
                    </a:lnTo>
                    <a:lnTo>
                      <a:pt x="18" y="1020"/>
                    </a:lnTo>
                    <a:lnTo>
                      <a:pt x="6" y="1026"/>
                    </a:lnTo>
                    <a:lnTo>
                      <a:pt x="0" y="1032"/>
                    </a:lnTo>
                    <a:lnTo>
                      <a:pt x="0" y="1044"/>
                    </a:lnTo>
                    <a:lnTo>
                      <a:pt x="6" y="1050"/>
                    </a:lnTo>
                    <a:lnTo>
                      <a:pt x="18" y="1056"/>
                    </a:lnTo>
                    <a:lnTo>
                      <a:pt x="24" y="1080"/>
                    </a:lnTo>
                    <a:lnTo>
                      <a:pt x="24" y="1086"/>
                    </a:lnTo>
                    <a:lnTo>
                      <a:pt x="30" y="1092"/>
                    </a:lnTo>
                    <a:lnTo>
                      <a:pt x="42" y="1116"/>
                    </a:lnTo>
                    <a:lnTo>
                      <a:pt x="54" y="1128"/>
                    </a:lnTo>
                    <a:lnTo>
                      <a:pt x="66" y="1134"/>
                    </a:lnTo>
                    <a:lnTo>
                      <a:pt x="90" y="1158"/>
                    </a:lnTo>
                    <a:lnTo>
                      <a:pt x="84" y="1164"/>
                    </a:lnTo>
                    <a:lnTo>
                      <a:pt x="78" y="1176"/>
                    </a:lnTo>
                    <a:lnTo>
                      <a:pt x="66" y="1182"/>
                    </a:lnTo>
                    <a:lnTo>
                      <a:pt x="60" y="1188"/>
                    </a:lnTo>
                    <a:lnTo>
                      <a:pt x="102" y="1188"/>
                    </a:lnTo>
                    <a:lnTo>
                      <a:pt x="114" y="1194"/>
                    </a:lnTo>
                    <a:lnTo>
                      <a:pt x="120" y="1194"/>
                    </a:lnTo>
                    <a:lnTo>
                      <a:pt x="126" y="1200"/>
                    </a:lnTo>
                    <a:lnTo>
                      <a:pt x="126" y="1212"/>
                    </a:lnTo>
                    <a:lnTo>
                      <a:pt x="132" y="1224"/>
                    </a:lnTo>
                    <a:lnTo>
                      <a:pt x="138" y="1230"/>
                    </a:lnTo>
                    <a:lnTo>
                      <a:pt x="138" y="1236"/>
                    </a:lnTo>
                    <a:lnTo>
                      <a:pt x="198" y="1230"/>
                    </a:lnTo>
                    <a:lnTo>
                      <a:pt x="252" y="1182"/>
                    </a:lnTo>
                    <a:lnTo>
                      <a:pt x="252" y="1194"/>
                    </a:lnTo>
                    <a:lnTo>
                      <a:pt x="258" y="1206"/>
                    </a:lnTo>
                    <a:lnTo>
                      <a:pt x="258" y="1224"/>
                    </a:lnTo>
                    <a:lnTo>
                      <a:pt x="252" y="1230"/>
                    </a:lnTo>
                    <a:lnTo>
                      <a:pt x="252" y="1242"/>
                    </a:lnTo>
                    <a:lnTo>
                      <a:pt x="246" y="1254"/>
                    </a:lnTo>
                    <a:lnTo>
                      <a:pt x="246" y="1266"/>
                    </a:lnTo>
                    <a:lnTo>
                      <a:pt x="252" y="1284"/>
                    </a:lnTo>
                    <a:lnTo>
                      <a:pt x="252" y="1314"/>
                    </a:lnTo>
                    <a:lnTo>
                      <a:pt x="264" y="1308"/>
                    </a:lnTo>
                    <a:lnTo>
                      <a:pt x="264" y="1314"/>
                    </a:lnTo>
                    <a:lnTo>
                      <a:pt x="270" y="1320"/>
                    </a:lnTo>
                    <a:lnTo>
                      <a:pt x="282" y="1320"/>
                    </a:lnTo>
                    <a:lnTo>
                      <a:pt x="282" y="1314"/>
                    </a:lnTo>
                    <a:lnTo>
                      <a:pt x="288" y="1314"/>
                    </a:lnTo>
                    <a:lnTo>
                      <a:pt x="294" y="1308"/>
                    </a:lnTo>
                    <a:lnTo>
                      <a:pt x="324" y="1308"/>
                    </a:lnTo>
                    <a:lnTo>
                      <a:pt x="336" y="1314"/>
                    </a:lnTo>
                    <a:lnTo>
                      <a:pt x="366" y="1314"/>
                    </a:lnTo>
                    <a:lnTo>
                      <a:pt x="372" y="1320"/>
                    </a:lnTo>
                    <a:lnTo>
                      <a:pt x="372" y="1326"/>
                    </a:lnTo>
                    <a:lnTo>
                      <a:pt x="390" y="1326"/>
                    </a:lnTo>
                    <a:lnTo>
                      <a:pt x="414" y="1314"/>
                    </a:lnTo>
                    <a:lnTo>
                      <a:pt x="420" y="1308"/>
                    </a:lnTo>
                    <a:lnTo>
                      <a:pt x="432" y="1290"/>
                    </a:lnTo>
                    <a:lnTo>
                      <a:pt x="468" y="1290"/>
                    </a:lnTo>
                    <a:lnTo>
                      <a:pt x="474" y="1260"/>
                    </a:lnTo>
                    <a:lnTo>
                      <a:pt x="510" y="1260"/>
                    </a:lnTo>
                    <a:lnTo>
                      <a:pt x="510" y="1254"/>
                    </a:lnTo>
                    <a:lnTo>
                      <a:pt x="516" y="1248"/>
                    </a:lnTo>
                    <a:lnTo>
                      <a:pt x="522" y="1236"/>
                    </a:lnTo>
                    <a:lnTo>
                      <a:pt x="528" y="1230"/>
                    </a:lnTo>
                    <a:lnTo>
                      <a:pt x="540" y="1224"/>
                    </a:lnTo>
                    <a:lnTo>
                      <a:pt x="576" y="1224"/>
                    </a:lnTo>
                    <a:lnTo>
                      <a:pt x="588" y="1212"/>
                    </a:lnTo>
                    <a:lnTo>
                      <a:pt x="600" y="1224"/>
                    </a:lnTo>
                    <a:lnTo>
                      <a:pt x="606" y="1224"/>
                    </a:lnTo>
                    <a:lnTo>
                      <a:pt x="606" y="1218"/>
                    </a:lnTo>
                    <a:lnTo>
                      <a:pt x="618" y="1212"/>
                    </a:lnTo>
                    <a:lnTo>
                      <a:pt x="630" y="1212"/>
                    </a:lnTo>
                    <a:lnTo>
                      <a:pt x="630" y="1242"/>
                    </a:lnTo>
                    <a:lnTo>
                      <a:pt x="624" y="1248"/>
                    </a:lnTo>
                    <a:lnTo>
                      <a:pt x="624" y="1254"/>
                    </a:lnTo>
                    <a:lnTo>
                      <a:pt x="618" y="1260"/>
                    </a:lnTo>
                    <a:lnTo>
                      <a:pt x="618" y="1290"/>
                    </a:lnTo>
                    <a:lnTo>
                      <a:pt x="624" y="1296"/>
                    </a:lnTo>
                    <a:lnTo>
                      <a:pt x="630" y="1308"/>
                    </a:lnTo>
                    <a:lnTo>
                      <a:pt x="630" y="1326"/>
                    </a:lnTo>
                    <a:lnTo>
                      <a:pt x="624" y="1332"/>
                    </a:lnTo>
                    <a:lnTo>
                      <a:pt x="624" y="1344"/>
                    </a:lnTo>
                    <a:lnTo>
                      <a:pt x="636" y="1356"/>
                    </a:lnTo>
                    <a:lnTo>
                      <a:pt x="648" y="1362"/>
                    </a:lnTo>
                    <a:lnTo>
                      <a:pt x="654" y="1368"/>
                    </a:lnTo>
                    <a:lnTo>
                      <a:pt x="660" y="1398"/>
                    </a:lnTo>
                    <a:lnTo>
                      <a:pt x="684" y="1398"/>
                    </a:lnTo>
                    <a:lnTo>
                      <a:pt x="690" y="1404"/>
                    </a:lnTo>
                    <a:lnTo>
                      <a:pt x="690" y="1410"/>
                    </a:lnTo>
                    <a:lnTo>
                      <a:pt x="696" y="1422"/>
                    </a:lnTo>
                    <a:lnTo>
                      <a:pt x="696" y="1428"/>
                    </a:lnTo>
                    <a:lnTo>
                      <a:pt x="702" y="1434"/>
                    </a:lnTo>
                    <a:lnTo>
                      <a:pt x="714" y="1440"/>
                    </a:lnTo>
                    <a:lnTo>
                      <a:pt x="744" y="1440"/>
                    </a:lnTo>
                    <a:lnTo>
                      <a:pt x="750" y="1434"/>
                    </a:lnTo>
                    <a:lnTo>
                      <a:pt x="756" y="1446"/>
                    </a:lnTo>
                    <a:lnTo>
                      <a:pt x="768" y="1452"/>
                    </a:lnTo>
                    <a:lnTo>
                      <a:pt x="780" y="1452"/>
                    </a:lnTo>
                    <a:lnTo>
                      <a:pt x="786" y="1446"/>
                    </a:lnTo>
                    <a:lnTo>
                      <a:pt x="798" y="1446"/>
                    </a:lnTo>
                    <a:lnTo>
                      <a:pt x="798" y="1452"/>
                    </a:lnTo>
                    <a:lnTo>
                      <a:pt x="804" y="1464"/>
                    </a:lnTo>
                    <a:lnTo>
                      <a:pt x="816" y="1470"/>
                    </a:lnTo>
                    <a:lnTo>
                      <a:pt x="828" y="1482"/>
                    </a:lnTo>
                    <a:lnTo>
                      <a:pt x="840" y="1488"/>
                    </a:lnTo>
                    <a:lnTo>
                      <a:pt x="864" y="1488"/>
                    </a:lnTo>
                    <a:lnTo>
                      <a:pt x="864" y="1494"/>
                    </a:lnTo>
                    <a:lnTo>
                      <a:pt x="876" y="1506"/>
                    </a:lnTo>
                    <a:lnTo>
                      <a:pt x="888" y="1512"/>
                    </a:lnTo>
                    <a:lnTo>
                      <a:pt x="894" y="1518"/>
                    </a:lnTo>
                    <a:lnTo>
                      <a:pt x="954" y="1518"/>
                    </a:lnTo>
                    <a:lnTo>
                      <a:pt x="978" y="1530"/>
                    </a:lnTo>
                    <a:lnTo>
                      <a:pt x="984" y="1542"/>
                    </a:lnTo>
                    <a:lnTo>
                      <a:pt x="990" y="1548"/>
                    </a:lnTo>
                    <a:lnTo>
                      <a:pt x="990" y="1578"/>
                    </a:lnTo>
                    <a:lnTo>
                      <a:pt x="996" y="1590"/>
                    </a:lnTo>
                    <a:lnTo>
                      <a:pt x="1002" y="1596"/>
                    </a:lnTo>
                    <a:lnTo>
                      <a:pt x="1008" y="1608"/>
                    </a:lnTo>
                    <a:lnTo>
                      <a:pt x="1008" y="1638"/>
                    </a:lnTo>
                    <a:lnTo>
                      <a:pt x="990" y="1638"/>
                    </a:lnTo>
                    <a:lnTo>
                      <a:pt x="990" y="1644"/>
                    </a:lnTo>
                    <a:lnTo>
                      <a:pt x="996" y="1650"/>
                    </a:lnTo>
                    <a:lnTo>
                      <a:pt x="1002" y="1662"/>
                    </a:lnTo>
                    <a:lnTo>
                      <a:pt x="1014" y="1668"/>
                    </a:lnTo>
                    <a:lnTo>
                      <a:pt x="1020" y="1674"/>
                    </a:lnTo>
                    <a:lnTo>
                      <a:pt x="1014" y="1686"/>
                    </a:lnTo>
                    <a:lnTo>
                      <a:pt x="1014" y="1728"/>
                    </a:lnTo>
                    <a:lnTo>
                      <a:pt x="1020" y="1734"/>
                    </a:lnTo>
                    <a:lnTo>
                      <a:pt x="1050" y="1740"/>
                    </a:lnTo>
                    <a:lnTo>
                      <a:pt x="1098" y="1746"/>
                    </a:lnTo>
                    <a:lnTo>
                      <a:pt x="1158" y="1746"/>
                    </a:lnTo>
                    <a:lnTo>
                      <a:pt x="1158" y="1752"/>
                    </a:lnTo>
                    <a:lnTo>
                      <a:pt x="1152" y="1758"/>
                    </a:lnTo>
                    <a:lnTo>
                      <a:pt x="1152" y="1770"/>
                    </a:lnTo>
                    <a:lnTo>
                      <a:pt x="1146" y="1788"/>
                    </a:lnTo>
                    <a:lnTo>
                      <a:pt x="1146" y="1800"/>
                    </a:lnTo>
                    <a:lnTo>
                      <a:pt x="1152" y="1812"/>
                    </a:lnTo>
                    <a:lnTo>
                      <a:pt x="1164" y="1818"/>
                    </a:lnTo>
                    <a:lnTo>
                      <a:pt x="1170" y="1824"/>
                    </a:lnTo>
                    <a:lnTo>
                      <a:pt x="1194" y="1836"/>
                    </a:lnTo>
                    <a:lnTo>
                      <a:pt x="1206" y="1848"/>
                    </a:lnTo>
                    <a:lnTo>
                      <a:pt x="1212" y="1860"/>
                    </a:lnTo>
                    <a:lnTo>
                      <a:pt x="1224" y="1896"/>
                    </a:lnTo>
                    <a:lnTo>
                      <a:pt x="1224" y="1908"/>
                    </a:lnTo>
                    <a:lnTo>
                      <a:pt x="1218" y="1920"/>
                    </a:lnTo>
                    <a:lnTo>
                      <a:pt x="1218" y="1944"/>
                    </a:lnTo>
                    <a:lnTo>
                      <a:pt x="1212" y="1950"/>
                    </a:lnTo>
                    <a:lnTo>
                      <a:pt x="1212" y="1956"/>
                    </a:lnTo>
                    <a:lnTo>
                      <a:pt x="1218" y="1968"/>
                    </a:lnTo>
                    <a:lnTo>
                      <a:pt x="1212" y="1980"/>
                    </a:lnTo>
                    <a:lnTo>
                      <a:pt x="1206" y="1986"/>
                    </a:lnTo>
                    <a:lnTo>
                      <a:pt x="1200" y="1998"/>
                    </a:lnTo>
                    <a:lnTo>
                      <a:pt x="1200" y="2022"/>
                    </a:lnTo>
                    <a:lnTo>
                      <a:pt x="1206" y="2028"/>
                    </a:lnTo>
                    <a:lnTo>
                      <a:pt x="1218" y="2034"/>
                    </a:lnTo>
                    <a:lnTo>
                      <a:pt x="1212" y="2040"/>
                    </a:lnTo>
                    <a:lnTo>
                      <a:pt x="1200" y="2046"/>
                    </a:lnTo>
                    <a:lnTo>
                      <a:pt x="1194" y="2052"/>
                    </a:lnTo>
                    <a:lnTo>
                      <a:pt x="1194" y="2064"/>
                    </a:lnTo>
                    <a:lnTo>
                      <a:pt x="1200" y="2070"/>
                    </a:lnTo>
                    <a:lnTo>
                      <a:pt x="1212" y="2076"/>
                    </a:lnTo>
                    <a:lnTo>
                      <a:pt x="1212" y="2112"/>
                    </a:lnTo>
                    <a:lnTo>
                      <a:pt x="1224" y="2112"/>
                    </a:lnTo>
                    <a:lnTo>
                      <a:pt x="1224" y="2130"/>
                    </a:lnTo>
                    <a:lnTo>
                      <a:pt x="1218" y="2142"/>
                    </a:lnTo>
                    <a:lnTo>
                      <a:pt x="1218" y="2184"/>
                    </a:lnTo>
                    <a:lnTo>
                      <a:pt x="1224" y="2196"/>
                    </a:lnTo>
                    <a:lnTo>
                      <a:pt x="1230" y="2202"/>
                    </a:lnTo>
                    <a:lnTo>
                      <a:pt x="1266" y="2214"/>
                    </a:lnTo>
                    <a:lnTo>
                      <a:pt x="1308" y="2220"/>
                    </a:lnTo>
                    <a:lnTo>
                      <a:pt x="1380" y="2220"/>
                    </a:lnTo>
                    <a:lnTo>
                      <a:pt x="1392" y="2226"/>
                    </a:lnTo>
                    <a:lnTo>
                      <a:pt x="1398" y="2232"/>
                    </a:lnTo>
                    <a:lnTo>
                      <a:pt x="1398" y="2256"/>
                    </a:lnTo>
                    <a:lnTo>
                      <a:pt x="1404" y="2274"/>
                    </a:lnTo>
                    <a:lnTo>
                      <a:pt x="1404" y="2298"/>
                    </a:lnTo>
                    <a:lnTo>
                      <a:pt x="1410" y="2316"/>
                    </a:lnTo>
                    <a:lnTo>
                      <a:pt x="1410" y="2334"/>
                    </a:lnTo>
                    <a:lnTo>
                      <a:pt x="1422" y="2358"/>
                    </a:lnTo>
                    <a:lnTo>
                      <a:pt x="1434" y="2364"/>
                    </a:lnTo>
                    <a:lnTo>
                      <a:pt x="1446" y="2364"/>
                    </a:lnTo>
                    <a:lnTo>
                      <a:pt x="1464" y="2346"/>
                    </a:lnTo>
                    <a:lnTo>
                      <a:pt x="1476" y="2346"/>
                    </a:lnTo>
                    <a:lnTo>
                      <a:pt x="1488" y="2352"/>
                    </a:lnTo>
                    <a:lnTo>
                      <a:pt x="1500" y="2364"/>
                    </a:lnTo>
                    <a:lnTo>
                      <a:pt x="1506" y="2376"/>
                    </a:lnTo>
                    <a:lnTo>
                      <a:pt x="1506" y="2394"/>
                    </a:lnTo>
                    <a:lnTo>
                      <a:pt x="1500" y="2412"/>
                    </a:lnTo>
                    <a:lnTo>
                      <a:pt x="1500" y="2442"/>
                    </a:lnTo>
                    <a:lnTo>
                      <a:pt x="1494" y="2448"/>
                    </a:lnTo>
                    <a:lnTo>
                      <a:pt x="1494" y="2454"/>
                    </a:lnTo>
                    <a:lnTo>
                      <a:pt x="1488" y="2466"/>
                    </a:lnTo>
                    <a:lnTo>
                      <a:pt x="1488" y="2478"/>
                    </a:lnTo>
                    <a:lnTo>
                      <a:pt x="1494" y="2496"/>
                    </a:lnTo>
                    <a:lnTo>
                      <a:pt x="1506" y="2490"/>
                    </a:lnTo>
                    <a:lnTo>
                      <a:pt x="1512" y="2484"/>
                    </a:lnTo>
                    <a:lnTo>
                      <a:pt x="1530" y="2484"/>
                    </a:lnTo>
                    <a:lnTo>
                      <a:pt x="1536" y="2490"/>
                    </a:lnTo>
                    <a:lnTo>
                      <a:pt x="1548" y="2514"/>
                    </a:lnTo>
                    <a:lnTo>
                      <a:pt x="1548" y="2526"/>
                    </a:lnTo>
                    <a:lnTo>
                      <a:pt x="1554" y="2526"/>
                    </a:lnTo>
                    <a:lnTo>
                      <a:pt x="1560" y="2532"/>
                    </a:lnTo>
                    <a:lnTo>
                      <a:pt x="1560" y="2562"/>
                    </a:lnTo>
                    <a:lnTo>
                      <a:pt x="1566" y="2580"/>
                    </a:lnTo>
                    <a:lnTo>
                      <a:pt x="1566" y="2616"/>
                    </a:lnTo>
                    <a:lnTo>
                      <a:pt x="1512" y="2634"/>
                    </a:lnTo>
                    <a:lnTo>
                      <a:pt x="1506" y="2640"/>
                    </a:lnTo>
                    <a:lnTo>
                      <a:pt x="1500" y="2652"/>
                    </a:lnTo>
                    <a:lnTo>
                      <a:pt x="1500" y="2670"/>
                    </a:lnTo>
                    <a:lnTo>
                      <a:pt x="1464" y="2670"/>
                    </a:lnTo>
                    <a:lnTo>
                      <a:pt x="1464" y="2688"/>
                    </a:lnTo>
                    <a:lnTo>
                      <a:pt x="1458" y="2694"/>
                    </a:lnTo>
                    <a:lnTo>
                      <a:pt x="1452" y="2718"/>
                    </a:lnTo>
                    <a:lnTo>
                      <a:pt x="1428" y="2724"/>
                    </a:lnTo>
                    <a:lnTo>
                      <a:pt x="1428" y="2736"/>
                    </a:lnTo>
                    <a:lnTo>
                      <a:pt x="1422" y="2748"/>
                    </a:lnTo>
                    <a:lnTo>
                      <a:pt x="1422" y="2760"/>
                    </a:lnTo>
                    <a:lnTo>
                      <a:pt x="1404" y="2778"/>
                    </a:lnTo>
                    <a:lnTo>
                      <a:pt x="1392" y="2778"/>
                    </a:lnTo>
                    <a:lnTo>
                      <a:pt x="1392" y="2802"/>
                    </a:lnTo>
                    <a:lnTo>
                      <a:pt x="1386" y="2808"/>
                    </a:lnTo>
                    <a:lnTo>
                      <a:pt x="1380" y="2820"/>
                    </a:lnTo>
                    <a:lnTo>
                      <a:pt x="1374" y="2826"/>
                    </a:lnTo>
                    <a:lnTo>
                      <a:pt x="1356" y="2826"/>
                    </a:lnTo>
                    <a:lnTo>
                      <a:pt x="1350" y="2832"/>
                    </a:lnTo>
                    <a:lnTo>
                      <a:pt x="1350" y="2844"/>
                    </a:lnTo>
                    <a:lnTo>
                      <a:pt x="1344" y="2856"/>
                    </a:lnTo>
                    <a:lnTo>
                      <a:pt x="1344" y="2868"/>
                    </a:lnTo>
                    <a:lnTo>
                      <a:pt x="1368" y="2868"/>
                    </a:lnTo>
                    <a:lnTo>
                      <a:pt x="1374" y="2862"/>
                    </a:lnTo>
                    <a:lnTo>
                      <a:pt x="1386" y="2856"/>
                    </a:lnTo>
                    <a:lnTo>
                      <a:pt x="1398" y="2856"/>
                    </a:lnTo>
                    <a:lnTo>
                      <a:pt x="1404" y="2862"/>
                    </a:lnTo>
                    <a:lnTo>
                      <a:pt x="1428" y="2874"/>
                    </a:lnTo>
                    <a:lnTo>
                      <a:pt x="1434" y="2886"/>
                    </a:lnTo>
                    <a:lnTo>
                      <a:pt x="1446" y="2892"/>
                    </a:lnTo>
                    <a:lnTo>
                      <a:pt x="1452" y="2898"/>
                    </a:lnTo>
                    <a:lnTo>
                      <a:pt x="1458" y="2910"/>
                    </a:lnTo>
                    <a:lnTo>
                      <a:pt x="1470" y="2922"/>
                    </a:lnTo>
                    <a:lnTo>
                      <a:pt x="1470" y="2934"/>
                    </a:lnTo>
                    <a:lnTo>
                      <a:pt x="1482" y="2934"/>
                    </a:lnTo>
                    <a:lnTo>
                      <a:pt x="1482" y="2928"/>
                    </a:lnTo>
                    <a:lnTo>
                      <a:pt x="1494" y="2916"/>
                    </a:lnTo>
                    <a:lnTo>
                      <a:pt x="1500" y="2916"/>
                    </a:lnTo>
                    <a:lnTo>
                      <a:pt x="1512" y="2922"/>
                    </a:lnTo>
                    <a:lnTo>
                      <a:pt x="1518" y="2934"/>
                    </a:lnTo>
                    <a:lnTo>
                      <a:pt x="1536" y="2952"/>
                    </a:lnTo>
                    <a:lnTo>
                      <a:pt x="1554" y="2952"/>
                    </a:lnTo>
                    <a:lnTo>
                      <a:pt x="1572" y="2970"/>
                    </a:lnTo>
                    <a:lnTo>
                      <a:pt x="1578" y="2970"/>
                    </a:lnTo>
                    <a:lnTo>
                      <a:pt x="1578" y="2982"/>
                    </a:lnTo>
                    <a:lnTo>
                      <a:pt x="1584" y="2988"/>
                    </a:lnTo>
                    <a:lnTo>
                      <a:pt x="1596" y="2994"/>
                    </a:lnTo>
                    <a:lnTo>
                      <a:pt x="1614" y="3000"/>
                    </a:lnTo>
                    <a:lnTo>
                      <a:pt x="1626" y="3000"/>
                    </a:lnTo>
                    <a:lnTo>
                      <a:pt x="1632" y="3012"/>
                    </a:lnTo>
                    <a:lnTo>
                      <a:pt x="1638" y="3018"/>
                    </a:lnTo>
                    <a:lnTo>
                      <a:pt x="1644" y="3030"/>
                    </a:lnTo>
                    <a:lnTo>
                      <a:pt x="1662" y="3048"/>
                    </a:lnTo>
                    <a:lnTo>
                      <a:pt x="1668" y="3048"/>
                    </a:lnTo>
                    <a:lnTo>
                      <a:pt x="1680" y="3054"/>
                    </a:lnTo>
                    <a:lnTo>
                      <a:pt x="1686" y="3054"/>
                    </a:lnTo>
                    <a:lnTo>
                      <a:pt x="1686" y="3066"/>
                    </a:lnTo>
                    <a:lnTo>
                      <a:pt x="1674" y="3090"/>
                    </a:lnTo>
                    <a:lnTo>
                      <a:pt x="1668" y="3096"/>
                    </a:lnTo>
                    <a:lnTo>
                      <a:pt x="1668" y="3120"/>
                    </a:lnTo>
                    <a:lnTo>
                      <a:pt x="1674" y="3120"/>
                    </a:lnTo>
                    <a:lnTo>
                      <a:pt x="1674" y="3150"/>
                    </a:lnTo>
                    <a:lnTo>
                      <a:pt x="1692" y="3150"/>
                    </a:lnTo>
                    <a:lnTo>
                      <a:pt x="1692" y="3144"/>
                    </a:lnTo>
                    <a:lnTo>
                      <a:pt x="1698" y="3132"/>
                    </a:lnTo>
                    <a:lnTo>
                      <a:pt x="1710" y="3126"/>
                    </a:lnTo>
                    <a:lnTo>
                      <a:pt x="1716" y="3114"/>
                    </a:lnTo>
                    <a:lnTo>
                      <a:pt x="1728" y="3102"/>
                    </a:lnTo>
                    <a:lnTo>
                      <a:pt x="1734" y="3090"/>
                    </a:lnTo>
                    <a:lnTo>
                      <a:pt x="1734" y="3060"/>
                    </a:lnTo>
                    <a:lnTo>
                      <a:pt x="1728" y="3054"/>
                    </a:lnTo>
                    <a:lnTo>
                      <a:pt x="1728" y="3048"/>
                    </a:lnTo>
                    <a:lnTo>
                      <a:pt x="1746" y="3018"/>
                    </a:lnTo>
                    <a:lnTo>
                      <a:pt x="1734" y="3012"/>
                    </a:lnTo>
                    <a:lnTo>
                      <a:pt x="1728" y="3000"/>
                    </a:lnTo>
                    <a:lnTo>
                      <a:pt x="1728" y="2988"/>
                    </a:lnTo>
                    <a:lnTo>
                      <a:pt x="1740" y="2976"/>
                    </a:lnTo>
                    <a:lnTo>
                      <a:pt x="1746" y="2976"/>
                    </a:lnTo>
                    <a:lnTo>
                      <a:pt x="1746" y="2952"/>
                    </a:lnTo>
                    <a:lnTo>
                      <a:pt x="1764" y="2952"/>
                    </a:lnTo>
                    <a:lnTo>
                      <a:pt x="1776" y="2940"/>
                    </a:lnTo>
                    <a:lnTo>
                      <a:pt x="1776" y="2904"/>
                    </a:lnTo>
                    <a:lnTo>
                      <a:pt x="1782" y="2898"/>
                    </a:lnTo>
                    <a:lnTo>
                      <a:pt x="1788" y="2886"/>
                    </a:lnTo>
                    <a:lnTo>
                      <a:pt x="1800" y="2874"/>
                    </a:lnTo>
                    <a:lnTo>
                      <a:pt x="1812" y="2868"/>
                    </a:lnTo>
                    <a:lnTo>
                      <a:pt x="1818" y="2862"/>
                    </a:lnTo>
                    <a:lnTo>
                      <a:pt x="1824" y="2862"/>
                    </a:lnTo>
                    <a:lnTo>
                      <a:pt x="1824" y="2898"/>
                    </a:lnTo>
                    <a:lnTo>
                      <a:pt x="1818" y="2904"/>
                    </a:lnTo>
                    <a:lnTo>
                      <a:pt x="1818" y="2910"/>
                    </a:lnTo>
                    <a:lnTo>
                      <a:pt x="1812" y="2916"/>
                    </a:lnTo>
                    <a:lnTo>
                      <a:pt x="1812" y="2934"/>
                    </a:lnTo>
                    <a:lnTo>
                      <a:pt x="1800" y="2940"/>
                    </a:lnTo>
                    <a:lnTo>
                      <a:pt x="1800" y="2952"/>
                    </a:lnTo>
                    <a:lnTo>
                      <a:pt x="1776" y="2982"/>
                    </a:lnTo>
                    <a:lnTo>
                      <a:pt x="1746" y="3006"/>
                    </a:lnTo>
                    <a:lnTo>
                      <a:pt x="1752" y="3012"/>
                    </a:lnTo>
                    <a:lnTo>
                      <a:pt x="1770" y="3012"/>
                    </a:lnTo>
                    <a:lnTo>
                      <a:pt x="1770" y="2994"/>
                    </a:lnTo>
                    <a:lnTo>
                      <a:pt x="1776" y="2988"/>
                    </a:lnTo>
                    <a:lnTo>
                      <a:pt x="1788" y="2988"/>
                    </a:lnTo>
                    <a:lnTo>
                      <a:pt x="1794" y="2982"/>
                    </a:lnTo>
                    <a:lnTo>
                      <a:pt x="1800" y="2982"/>
                    </a:lnTo>
                    <a:lnTo>
                      <a:pt x="1812" y="2964"/>
                    </a:lnTo>
                    <a:lnTo>
                      <a:pt x="1824" y="2940"/>
                    </a:lnTo>
                    <a:lnTo>
                      <a:pt x="1848" y="2880"/>
                    </a:lnTo>
                    <a:lnTo>
                      <a:pt x="1860" y="2832"/>
                    </a:lnTo>
                    <a:lnTo>
                      <a:pt x="1872" y="2808"/>
                    </a:lnTo>
                    <a:lnTo>
                      <a:pt x="1878" y="2790"/>
                    </a:lnTo>
                    <a:lnTo>
                      <a:pt x="1884" y="2778"/>
                    </a:lnTo>
                    <a:lnTo>
                      <a:pt x="1896" y="2772"/>
                    </a:lnTo>
                    <a:lnTo>
                      <a:pt x="1902" y="2760"/>
                    </a:lnTo>
                    <a:lnTo>
                      <a:pt x="1926" y="2736"/>
                    </a:lnTo>
                    <a:lnTo>
                      <a:pt x="1926" y="2724"/>
                    </a:lnTo>
                    <a:lnTo>
                      <a:pt x="1920" y="2718"/>
                    </a:lnTo>
                    <a:lnTo>
                      <a:pt x="1938" y="2706"/>
                    </a:lnTo>
                    <a:lnTo>
                      <a:pt x="1932" y="2670"/>
                    </a:lnTo>
                    <a:lnTo>
                      <a:pt x="1938" y="2646"/>
                    </a:lnTo>
                    <a:lnTo>
                      <a:pt x="1926" y="2640"/>
                    </a:lnTo>
                    <a:lnTo>
                      <a:pt x="1932" y="2634"/>
                    </a:lnTo>
                    <a:lnTo>
                      <a:pt x="1938" y="2622"/>
                    </a:lnTo>
                    <a:lnTo>
                      <a:pt x="1938" y="2610"/>
                    </a:lnTo>
                    <a:lnTo>
                      <a:pt x="1932" y="2604"/>
                    </a:lnTo>
                    <a:lnTo>
                      <a:pt x="1920" y="2598"/>
                    </a:lnTo>
                    <a:lnTo>
                      <a:pt x="1914" y="2592"/>
                    </a:lnTo>
                    <a:lnTo>
                      <a:pt x="1914" y="2556"/>
                    </a:lnTo>
                    <a:lnTo>
                      <a:pt x="1896" y="2544"/>
                    </a:lnTo>
                    <a:lnTo>
                      <a:pt x="1920" y="2544"/>
                    </a:lnTo>
                    <a:lnTo>
                      <a:pt x="1914" y="2520"/>
                    </a:lnTo>
                    <a:lnTo>
                      <a:pt x="1902" y="2508"/>
                    </a:lnTo>
                    <a:lnTo>
                      <a:pt x="1908" y="2508"/>
                    </a:lnTo>
                    <a:lnTo>
                      <a:pt x="1920" y="2502"/>
                    </a:lnTo>
                    <a:lnTo>
                      <a:pt x="1920" y="2490"/>
                    </a:lnTo>
                    <a:lnTo>
                      <a:pt x="1914" y="2490"/>
                    </a:lnTo>
                    <a:lnTo>
                      <a:pt x="1902" y="2484"/>
                    </a:lnTo>
                    <a:lnTo>
                      <a:pt x="1896" y="2478"/>
                    </a:lnTo>
                    <a:lnTo>
                      <a:pt x="1920" y="2460"/>
                    </a:lnTo>
                    <a:lnTo>
                      <a:pt x="1932" y="2472"/>
                    </a:lnTo>
                    <a:lnTo>
                      <a:pt x="1944" y="2478"/>
                    </a:lnTo>
                    <a:lnTo>
                      <a:pt x="1950" y="2478"/>
                    </a:lnTo>
                    <a:lnTo>
                      <a:pt x="1950" y="2448"/>
                    </a:lnTo>
                    <a:lnTo>
                      <a:pt x="1962" y="2424"/>
                    </a:lnTo>
                    <a:lnTo>
                      <a:pt x="1974" y="2418"/>
                    </a:lnTo>
                    <a:lnTo>
                      <a:pt x="1980" y="2418"/>
                    </a:lnTo>
                    <a:lnTo>
                      <a:pt x="2004" y="2406"/>
                    </a:lnTo>
                    <a:lnTo>
                      <a:pt x="2010" y="2394"/>
                    </a:lnTo>
                    <a:lnTo>
                      <a:pt x="2010" y="2382"/>
                    </a:lnTo>
                    <a:lnTo>
                      <a:pt x="2016" y="2376"/>
                    </a:lnTo>
                    <a:lnTo>
                      <a:pt x="2028" y="2376"/>
                    </a:lnTo>
                    <a:lnTo>
                      <a:pt x="2034" y="2370"/>
                    </a:lnTo>
                    <a:lnTo>
                      <a:pt x="2046" y="2370"/>
                    </a:lnTo>
                    <a:lnTo>
                      <a:pt x="2046" y="2358"/>
                    </a:lnTo>
                    <a:lnTo>
                      <a:pt x="2070" y="2358"/>
                    </a:lnTo>
                    <a:lnTo>
                      <a:pt x="2070" y="2340"/>
                    </a:lnTo>
                    <a:lnTo>
                      <a:pt x="2118" y="2340"/>
                    </a:lnTo>
                    <a:lnTo>
                      <a:pt x="2124" y="2358"/>
                    </a:lnTo>
                    <a:lnTo>
                      <a:pt x="2136" y="2352"/>
                    </a:lnTo>
                    <a:lnTo>
                      <a:pt x="2118" y="2334"/>
                    </a:lnTo>
                    <a:lnTo>
                      <a:pt x="2136" y="2316"/>
                    </a:lnTo>
                    <a:lnTo>
                      <a:pt x="2142" y="2316"/>
                    </a:lnTo>
                    <a:lnTo>
                      <a:pt x="2154" y="2310"/>
                    </a:lnTo>
                    <a:lnTo>
                      <a:pt x="2178" y="2310"/>
                    </a:lnTo>
                    <a:lnTo>
                      <a:pt x="2160" y="2292"/>
                    </a:lnTo>
                    <a:lnTo>
                      <a:pt x="2172" y="2286"/>
                    </a:lnTo>
                    <a:lnTo>
                      <a:pt x="2178" y="2280"/>
                    </a:lnTo>
                    <a:lnTo>
                      <a:pt x="2190" y="2280"/>
                    </a:lnTo>
                    <a:lnTo>
                      <a:pt x="2190" y="2304"/>
                    </a:lnTo>
                    <a:lnTo>
                      <a:pt x="2196" y="2304"/>
                    </a:lnTo>
                    <a:lnTo>
                      <a:pt x="2196" y="2298"/>
                    </a:lnTo>
                    <a:lnTo>
                      <a:pt x="2202" y="2286"/>
                    </a:lnTo>
                    <a:lnTo>
                      <a:pt x="2208" y="2280"/>
                    </a:lnTo>
                    <a:lnTo>
                      <a:pt x="2244" y="2286"/>
                    </a:lnTo>
                    <a:lnTo>
                      <a:pt x="2244" y="2280"/>
                    </a:lnTo>
                    <a:lnTo>
                      <a:pt x="2250" y="2274"/>
                    </a:lnTo>
                    <a:lnTo>
                      <a:pt x="2250" y="2268"/>
                    </a:lnTo>
                    <a:lnTo>
                      <a:pt x="2256" y="2262"/>
                    </a:lnTo>
                    <a:lnTo>
                      <a:pt x="2268" y="2256"/>
                    </a:lnTo>
                    <a:lnTo>
                      <a:pt x="2274" y="2256"/>
                    </a:lnTo>
                    <a:lnTo>
                      <a:pt x="2280" y="2262"/>
                    </a:lnTo>
                    <a:lnTo>
                      <a:pt x="2280" y="2286"/>
                    </a:lnTo>
                    <a:lnTo>
                      <a:pt x="2346" y="2280"/>
                    </a:lnTo>
                    <a:lnTo>
                      <a:pt x="2352" y="2262"/>
                    </a:lnTo>
                    <a:lnTo>
                      <a:pt x="2346" y="2250"/>
                    </a:lnTo>
                    <a:lnTo>
                      <a:pt x="2352" y="2244"/>
                    </a:lnTo>
                    <a:lnTo>
                      <a:pt x="2358" y="2232"/>
                    </a:lnTo>
                    <a:lnTo>
                      <a:pt x="2370" y="2220"/>
                    </a:lnTo>
                    <a:lnTo>
                      <a:pt x="2406" y="2202"/>
                    </a:lnTo>
                    <a:lnTo>
                      <a:pt x="2418" y="2202"/>
                    </a:lnTo>
                    <a:lnTo>
                      <a:pt x="2412" y="2190"/>
                    </a:lnTo>
                    <a:lnTo>
                      <a:pt x="2412" y="2112"/>
                    </a:lnTo>
                    <a:lnTo>
                      <a:pt x="2442" y="2082"/>
                    </a:lnTo>
                    <a:lnTo>
                      <a:pt x="2442" y="2058"/>
                    </a:lnTo>
                    <a:lnTo>
                      <a:pt x="2460" y="2052"/>
                    </a:lnTo>
                    <a:lnTo>
                      <a:pt x="2460" y="2022"/>
                    </a:lnTo>
                    <a:lnTo>
                      <a:pt x="2466" y="2022"/>
                    </a:lnTo>
                    <a:lnTo>
                      <a:pt x="2472" y="2016"/>
                    </a:lnTo>
                    <a:lnTo>
                      <a:pt x="2478" y="2016"/>
                    </a:lnTo>
                    <a:lnTo>
                      <a:pt x="2478" y="2010"/>
                    </a:lnTo>
                    <a:lnTo>
                      <a:pt x="2484" y="2004"/>
                    </a:lnTo>
                    <a:lnTo>
                      <a:pt x="2484" y="1956"/>
                    </a:lnTo>
                    <a:lnTo>
                      <a:pt x="2478" y="1944"/>
                    </a:lnTo>
                    <a:lnTo>
                      <a:pt x="2478" y="1926"/>
                    </a:lnTo>
                    <a:lnTo>
                      <a:pt x="2472" y="1908"/>
                    </a:lnTo>
                    <a:lnTo>
                      <a:pt x="2484" y="1884"/>
                    </a:lnTo>
                    <a:lnTo>
                      <a:pt x="2514" y="1854"/>
                    </a:lnTo>
                    <a:lnTo>
                      <a:pt x="2514" y="1848"/>
                    </a:lnTo>
                    <a:lnTo>
                      <a:pt x="2508" y="1836"/>
                    </a:lnTo>
                    <a:lnTo>
                      <a:pt x="2508" y="1830"/>
                    </a:lnTo>
                    <a:lnTo>
                      <a:pt x="2502" y="1818"/>
                    </a:lnTo>
                    <a:lnTo>
                      <a:pt x="2508" y="1764"/>
                    </a:lnTo>
                    <a:lnTo>
                      <a:pt x="2508" y="1758"/>
                    </a:lnTo>
                    <a:lnTo>
                      <a:pt x="2514" y="1752"/>
                    </a:lnTo>
                    <a:lnTo>
                      <a:pt x="2514" y="1722"/>
                    </a:lnTo>
                    <a:lnTo>
                      <a:pt x="2520" y="1710"/>
                    </a:lnTo>
                    <a:lnTo>
                      <a:pt x="2520" y="1680"/>
                    </a:lnTo>
                    <a:lnTo>
                      <a:pt x="2508" y="1644"/>
                    </a:lnTo>
                    <a:lnTo>
                      <a:pt x="2502" y="1608"/>
                    </a:lnTo>
                    <a:lnTo>
                      <a:pt x="2502" y="1596"/>
                    </a:lnTo>
                    <a:lnTo>
                      <a:pt x="2508" y="1560"/>
                    </a:lnTo>
                    <a:lnTo>
                      <a:pt x="2508" y="1548"/>
                    </a:lnTo>
                    <a:lnTo>
                      <a:pt x="2502" y="1536"/>
                    </a:lnTo>
                    <a:lnTo>
                      <a:pt x="2502" y="1500"/>
                    </a:lnTo>
                    <a:lnTo>
                      <a:pt x="2508" y="1488"/>
                    </a:lnTo>
                    <a:lnTo>
                      <a:pt x="2520" y="1476"/>
                    </a:lnTo>
                    <a:lnTo>
                      <a:pt x="2508" y="1458"/>
                    </a:lnTo>
                    <a:lnTo>
                      <a:pt x="2520" y="1446"/>
                    </a:lnTo>
                    <a:lnTo>
                      <a:pt x="2532" y="1446"/>
                    </a:lnTo>
                    <a:lnTo>
                      <a:pt x="2532" y="1452"/>
                    </a:lnTo>
                    <a:lnTo>
                      <a:pt x="2538" y="1464"/>
                    </a:lnTo>
                    <a:lnTo>
                      <a:pt x="2544" y="1470"/>
                    </a:lnTo>
                    <a:lnTo>
                      <a:pt x="2556" y="1464"/>
                    </a:lnTo>
                    <a:lnTo>
                      <a:pt x="2562" y="1452"/>
                    </a:lnTo>
                    <a:lnTo>
                      <a:pt x="2574" y="1446"/>
                    </a:lnTo>
                    <a:lnTo>
                      <a:pt x="2580" y="1434"/>
                    </a:lnTo>
                    <a:lnTo>
                      <a:pt x="2586" y="1428"/>
                    </a:lnTo>
                    <a:lnTo>
                      <a:pt x="2592" y="1416"/>
                    </a:lnTo>
                    <a:lnTo>
                      <a:pt x="2592" y="1404"/>
                    </a:lnTo>
                    <a:lnTo>
                      <a:pt x="2598" y="1386"/>
                    </a:lnTo>
                    <a:lnTo>
                      <a:pt x="2598" y="1374"/>
                    </a:lnTo>
                    <a:lnTo>
                      <a:pt x="2604" y="1356"/>
                    </a:lnTo>
                    <a:lnTo>
                      <a:pt x="2604" y="1344"/>
                    </a:lnTo>
                    <a:lnTo>
                      <a:pt x="2610" y="1338"/>
                    </a:lnTo>
                    <a:lnTo>
                      <a:pt x="2616" y="1338"/>
                    </a:lnTo>
                    <a:lnTo>
                      <a:pt x="2628" y="1326"/>
                    </a:lnTo>
                    <a:lnTo>
                      <a:pt x="2634" y="1314"/>
                    </a:lnTo>
                    <a:lnTo>
                      <a:pt x="2640" y="1308"/>
                    </a:lnTo>
                    <a:lnTo>
                      <a:pt x="2640" y="1296"/>
                    </a:lnTo>
                    <a:lnTo>
                      <a:pt x="2652" y="1290"/>
                    </a:lnTo>
                    <a:lnTo>
                      <a:pt x="2658" y="1284"/>
                    </a:lnTo>
                    <a:lnTo>
                      <a:pt x="2670" y="1284"/>
                    </a:lnTo>
                    <a:lnTo>
                      <a:pt x="2682" y="1272"/>
                    </a:lnTo>
                    <a:lnTo>
                      <a:pt x="2682" y="1254"/>
                    </a:lnTo>
                    <a:lnTo>
                      <a:pt x="2688" y="1254"/>
                    </a:lnTo>
                    <a:lnTo>
                      <a:pt x="2724" y="1218"/>
                    </a:lnTo>
                    <a:lnTo>
                      <a:pt x="2736" y="1188"/>
                    </a:lnTo>
                    <a:lnTo>
                      <a:pt x="2754" y="1158"/>
                    </a:lnTo>
                    <a:lnTo>
                      <a:pt x="2760" y="1134"/>
                    </a:lnTo>
                    <a:lnTo>
                      <a:pt x="2766" y="1122"/>
                    </a:lnTo>
                    <a:lnTo>
                      <a:pt x="2772" y="1116"/>
                    </a:lnTo>
                    <a:lnTo>
                      <a:pt x="2778" y="1104"/>
                    </a:lnTo>
                    <a:lnTo>
                      <a:pt x="2784" y="1098"/>
                    </a:lnTo>
                    <a:lnTo>
                      <a:pt x="2784" y="1080"/>
                    </a:lnTo>
                    <a:lnTo>
                      <a:pt x="2778" y="1068"/>
                    </a:lnTo>
                    <a:lnTo>
                      <a:pt x="2778" y="100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36" name="Argentin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70101F8-1C13-4617-9889-24D475C0F0B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431871" y="5312998"/>
                <a:ext cx="483967" cy="1096504"/>
              </a:xfrm>
              <a:custGeom>
                <a:avLst/>
                <a:gdLst>
                  <a:gd name="T0" fmla="*/ 2147483647 w 1092"/>
                  <a:gd name="T1" fmla="*/ 2147483647 h 2442"/>
                  <a:gd name="T2" fmla="*/ 2147483647 w 1092"/>
                  <a:gd name="T3" fmla="*/ 2147483647 h 2442"/>
                  <a:gd name="T4" fmla="*/ 2147483647 w 1092"/>
                  <a:gd name="T5" fmla="*/ 2147483647 h 2442"/>
                  <a:gd name="T6" fmla="*/ 2147483647 w 1092"/>
                  <a:gd name="T7" fmla="*/ 2147483647 h 2442"/>
                  <a:gd name="T8" fmla="*/ 2147483647 w 1092"/>
                  <a:gd name="T9" fmla="*/ 2147483647 h 2442"/>
                  <a:gd name="T10" fmla="*/ 2147483647 w 1092"/>
                  <a:gd name="T11" fmla="*/ 2147483647 h 2442"/>
                  <a:gd name="T12" fmla="*/ 2147483647 w 1092"/>
                  <a:gd name="T13" fmla="*/ 2147483647 h 2442"/>
                  <a:gd name="T14" fmla="*/ 2147483647 w 1092"/>
                  <a:gd name="T15" fmla="*/ 2147483647 h 2442"/>
                  <a:gd name="T16" fmla="*/ 2147483647 w 1092"/>
                  <a:gd name="T17" fmla="*/ 2147483647 h 2442"/>
                  <a:gd name="T18" fmla="*/ 2147483647 w 1092"/>
                  <a:gd name="T19" fmla="*/ 2147483647 h 2442"/>
                  <a:gd name="T20" fmla="*/ 2147483647 w 1092"/>
                  <a:gd name="T21" fmla="*/ 0 h 2442"/>
                  <a:gd name="T22" fmla="*/ 2147483647 w 1092"/>
                  <a:gd name="T23" fmla="*/ 2147483647 h 2442"/>
                  <a:gd name="T24" fmla="*/ 2147483647 w 1092"/>
                  <a:gd name="T25" fmla="*/ 2147483647 h 2442"/>
                  <a:gd name="T26" fmla="*/ 2147483647 w 1092"/>
                  <a:gd name="T27" fmla="*/ 2147483647 h 2442"/>
                  <a:gd name="T28" fmla="*/ 2147483647 w 1092"/>
                  <a:gd name="T29" fmla="*/ 2147483647 h 2442"/>
                  <a:gd name="T30" fmla="*/ 2147483647 w 1092"/>
                  <a:gd name="T31" fmla="*/ 2147483647 h 2442"/>
                  <a:gd name="T32" fmla="*/ 2147483647 w 1092"/>
                  <a:gd name="T33" fmla="*/ 2147483647 h 2442"/>
                  <a:gd name="T34" fmla="*/ 2147483647 w 1092"/>
                  <a:gd name="T35" fmla="*/ 2147483647 h 2442"/>
                  <a:gd name="T36" fmla="*/ 2147483647 w 1092"/>
                  <a:gd name="T37" fmla="*/ 2147483647 h 2442"/>
                  <a:gd name="T38" fmla="*/ 2147483647 w 1092"/>
                  <a:gd name="T39" fmla="*/ 2147483647 h 2442"/>
                  <a:gd name="T40" fmla="*/ 2147483647 w 1092"/>
                  <a:gd name="T41" fmla="*/ 2147483647 h 2442"/>
                  <a:gd name="T42" fmla="*/ 2147483647 w 1092"/>
                  <a:gd name="T43" fmla="*/ 2147483647 h 2442"/>
                  <a:gd name="T44" fmla="*/ 2147483647 w 1092"/>
                  <a:gd name="T45" fmla="*/ 2147483647 h 2442"/>
                  <a:gd name="T46" fmla="*/ 2147483647 w 1092"/>
                  <a:gd name="T47" fmla="*/ 2147483647 h 2442"/>
                  <a:gd name="T48" fmla="*/ 2147483647 w 1092"/>
                  <a:gd name="T49" fmla="*/ 2147483647 h 2442"/>
                  <a:gd name="T50" fmla="*/ 2147483647 w 1092"/>
                  <a:gd name="T51" fmla="*/ 2147483647 h 2442"/>
                  <a:gd name="T52" fmla="*/ 2147483647 w 1092"/>
                  <a:gd name="T53" fmla="*/ 2147483647 h 2442"/>
                  <a:gd name="T54" fmla="*/ 2147483647 w 1092"/>
                  <a:gd name="T55" fmla="*/ 2147483647 h 2442"/>
                  <a:gd name="T56" fmla="*/ 2147483647 w 1092"/>
                  <a:gd name="T57" fmla="*/ 2147483647 h 2442"/>
                  <a:gd name="T58" fmla="*/ 2147483647 w 1092"/>
                  <a:gd name="T59" fmla="*/ 2147483647 h 2442"/>
                  <a:gd name="T60" fmla="*/ 2147483647 w 1092"/>
                  <a:gd name="T61" fmla="*/ 2147483647 h 2442"/>
                  <a:gd name="T62" fmla="*/ 2147483647 w 1092"/>
                  <a:gd name="T63" fmla="*/ 2147483647 h 2442"/>
                  <a:gd name="T64" fmla="*/ 2147483647 w 1092"/>
                  <a:gd name="T65" fmla="*/ 2147483647 h 2442"/>
                  <a:gd name="T66" fmla="*/ 2147483647 w 1092"/>
                  <a:gd name="T67" fmla="*/ 2147483647 h 2442"/>
                  <a:gd name="T68" fmla="*/ 2147483647 w 1092"/>
                  <a:gd name="T69" fmla="*/ 2147483647 h 2442"/>
                  <a:gd name="T70" fmla="*/ 2147483647 w 1092"/>
                  <a:gd name="T71" fmla="*/ 2147483647 h 2442"/>
                  <a:gd name="T72" fmla="*/ 2147483647 w 1092"/>
                  <a:gd name="T73" fmla="*/ 2147483647 h 2442"/>
                  <a:gd name="T74" fmla="*/ 2147483647 w 1092"/>
                  <a:gd name="T75" fmla="*/ 2147483647 h 2442"/>
                  <a:gd name="T76" fmla="*/ 2147483647 w 1092"/>
                  <a:gd name="T77" fmla="*/ 2147483647 h 2442"/>
                  <a:gd name="T78" fmla="*/ 2147483647 w 1092"/>
                  <a:gd name="T79" fmla="*/ 2147483647 h 2442"/>
                  <a:gd name="T80" fmla="*/ 2147483647 w 1092"/>
                  <a:gd name="T81" fmla="*/ 2147483647 h 2442"/>
                  <a:gd name="T82" fmla="*/ 2147483647 w 1092"/>
                  <a:gd name="T83" fmla="*/ 2147483647 h 2442"/>
                  <a:gd name="T84" fmla="*/ 2147483647 w 1092"/>
                  <a:gd name="T85" fmla="*/ 2147483647 h 2442"/>
                  <a:gd name="T86" fmla="*/ 2147483647 w 1092"/>
                  <a:gd name="T87" fmla="*/ 2147483647 h 2442"/>
                  <a:gd name="T88" fmla="*/ 2147483647 w 1092"/>
                  <a:gd name="T89" fmla="*/ 2147483647 h 2442"/>
                  <a:gd name="T90" fmla="*/ 2147483647 w 1092"/>
                  <a:gd name="T91" fmla="*/ 2147483647 h 2442"/>
                  <a:gd name="T92" fmla="*/ 2147483647 w 1092"/>
                  <a:gd name="T93" fmla="*/ 2147483647 h 2442"/>
                  <a:gd name="T94" fmla="*/ 2147483647 w 1092"/>
                  <a:gd name="T95" fmla="*/ 2147483647 h 2442"/>
                  <a:gd name="T96" fmla="*/ 2147483647 w 1092"/>
                  <a:gd name="T97" fmla="*/ 2147483647 h 2442"/>
                  <a:gd name="T98" fmla="*/ 2147483647 w 1092"/>
                  <a:gd name="T99" fmla="*/ 2147483647 h 2442"/>
                  <a:gd name="T100" fmla="*/ 2147483647 w 1092"/>
                  <a:gd name="T101" fmla="*/ 2147483647 h 2442"/>
                  <a:gd name="T102" fmla="*/ 2147483647 w 1092"/>
                  <a:gd name="T103" fmla="*/ 2147483647 h 2442"/>
                  <a:gd name="T104" fmla="*/ 2147483647 w 1092"/>
                  <a:gd name="T105" fmla="*/ 2147483647 h 2442"/>
                  <a:gd name="T106" fmla="*/ 2147483647 w 1092"/>
                  <a:gd name="T107" fmla="*/ 2147483647 h 2442"/>
                  <a:gd name="T108" fmla="*/ 2147483647 w 1092"/>
                  <a:gd name="T109" fmla="*/ 2147483647 h 2442"/>
                  <a:gd name="T110" fmla="*/ 2147483647 w 1092"/>
                  <a:gd name="T111" fmla="*/ 2147483647 h 2442"/>
                  <a:gd name="T112" fmla="*/ 2147483647 w 1092"/>
                  <a:gd name="T113" fmla="*/ 2147483647 h 244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092"/>
                  <a:gd name="T172" fmla="*/ 0 h 2442"/>
                  <a:gd name="T173" fmla="*/ 1092 w 1092"/>
                  <a:gd name="T174" fmla="*/ 2442 h 244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092" h="2442">
                    <a:moveTo>
                      <a:pt x="954" y="534"/>
                    </a:moveTo>
                    <a:lnTo>
                      <a:pt x="978" y="528"/>
                    </a:lnTo>
                    <a:lnTo>
                      <a:pt x="984" y="504"/>
                    </a:lnTo>
                    <a:lnTo>
                      <a:pt x="990" y="498"/>
                    </a:lnTo>
                    <a:lnTo>
                      <a:pt x="990" y="480"/>
                    </a:lnTo>
                    <a:lnTo>
                      <a:pt x="1026" y="480"/>
                    </a:lnTo>
                    <a:lnTo>
                      <a:pt x="1026" y="462"/>
                    </a:lnTo>
                    <a:lnTo>
                      <a:pt x="1032" y="450"/>
                    </a:lnTo>
                    <a:lnTo>
                      <a:pt x="1038" y="444"/>
                    </a:lnTo>
                    <a:lnTo>
                      <a:pt x="1092" y="426"/>
                    </a:lnTo>
                    <a:lnTo>
                      <a:pt x="1092" y="390"/>
                    </a:lnTo>
                    <a:lnTo>
                      <a:pt x="1086" y="372"/>
                    </a:lnTo>
                    <a:lnTo>
                      <a:pt x="1086" y="342"/>
                    </a:lnTo>
                    <a:lnTo>
                      <a:pt x="1080" y="336"/>
                    </a:lnTo>
                    <a:lnTo>
                      <a:pt x="1074" y="336"/>
                    </a:lnTo>
                    <a:lnTo>
                      <a:pt x="1074" y="324"/>
                    </a:lnTo>
                    <a:lnTo>
                      <a:pt x="1062" y="300"/>
                    </a:lnTo>
                    <a:lnTo>
                      <a:pt x="1056" y="294"/>
                    </a:lnTo>
                    <a:lnTo>
                      <a:pt x="1038" y="294"/>
                    </a:lnTo>
                    <a:lnTo>
                      <a:pt x="1032" y="300"/>
                    </a:lnTo>
                    <a:lnTo>
                      <a:pt x="1020" y="306"/>
                    </a:lnTo>
                    <a:lnTo>
                      <a:pt x="1020" y="384"/>
                    </a:lnTo>
                    <a:lnTo>
                      <a:pt x="1008" y="390"/>
                    </a:lnTo>
                    <a:lnTo>
                      <a:pt x="1002" y="402"/>
                    </a:lnTo>
                    <a:lnTo>
                      <a:pt x="990" y="408"/>
                    </a:lnTo>
                    <a:lnTo>
                      <a:pt x="984" y="414"/>
                    </a:lnTo>
                    <a:lnTo>
                      <a:pt x="978" y="414"/>
                    </a:lnTo>
                    <a:lnTo>
                      <a:pt x="966" y="426"/>
                    </a:lnTo>
                    <a:lnTo>
                      <a:pt x="954" y="450"/>
                    </a:lnTo>
                    <a:lnTo>
                      <a:pt x="948" y="456"/>
                    </a:lnTo>
                    <a:lnTo>
                      <a:pt x="948" y="450"/>
                    </a:lnTo>
                    <a:lnTo>
                      <a:pt x="942" y="444"/>
                    </a:lnTo>
                    <a:lnTo>
                      <a:pt x="930" y="444"/>
                    </a:lnTo>
                    <a:lnTo>
                      <a:pt x="924" y="450"/>
                    </a:lnTo>
                    <a:lnTo>
                      <a:pt x="924" y="468"/>
                    </a:lnTo>
                    <a:lnTo>
                      <a:pt x="912" y="450"/>
                    </a:lnTo>
                    <a:lnTo>
                      <a:pt x="852" y="450"/>
                    </a:lnTo>
                    <a:lnTo>
                      <a:pt x="834" y="444"/>
                    </a:lnTo>
                    <a:lnTo>
                      <a:pt x="822" y="438"/>
                    </a:lnTo>
                    <a:lnTo>
                      <a:pt x="816" y="432"/>
                    </a:lnTo>
                    <a:lnTo>
                      <a:pt x="804" y="426"/>
                    </a:lnTo>
                    <a:lnTo>
                      <a:pt x="798" y="426"/>
                    </a:lnTo>
                    <a:lnTo>
                      <a:pt x="786" y="432"/>
                    </a:lnTo>
                    <a:lnTo>
                      <a:pt x="762" y="432"/>
                    </a:lnTo>
                    <a:lnTo>
                      <a:pt x="756" y="426"/>
                    </a:lnTo>
                    <a:lnTo>
                      <a:pt x="756" y="414"/>
                    </a:lnTo>
                    <a:lnTo>
                      <a:pt x="762" y="402"/>
                    </a:lnTo>
                    <a:lnTo>
                      <a:pt x="768" y="396"/>
                    </a:lnTo>
                    <a:lnTo>
                      <a:pt x="774" y="384"/>
                    </a:lnTo>
                    <a:lnTo>
                      <a:pt x="780" y="378"/>
                    </a:lnTo>
                    <a:lnTo>
                      <a:pt x="780" y="342"/>
                    </a:lnTo>
                    <a:lnTo>
                      <a:pt x="798" y="342"/>
                    </a:lnTo>
                    <a:lnTo>
                      <a:pt x="804" y="336"/>
                    </a:lnTo>
                    <a:lnTo>
                      <a:pt x="804" y="330"/>
                    </a:lnTo>
                    <a:lnTo>
                      <a:pt x="798" y="318"/>
                    </a:lnTo>
                    <a:lnTo>
                      <a:pt x="792" y="312"/>
                    </a:lnTo>
                    <a:lnTo>
                      <a:pt x="798" y="300"/>
                    </a:lnTo>
                    <a:lnTo>
                      <a:pt x="804" y="294"/>
                    </a:lnTo>
                    <a:lnTo>
                      <a:pt x="804" y="282"/>
                    </a:lnTo>
                    <a:lnTo>
                      <a:pt x="810" y="276"/>
                    </a:lnTo>
                    <a:lnTo>
                      <a:pt x="804" y="270"/>
                    </a:lnTo>
                    <a:lnTo>
                      <a:pt x="792" y="264"/>
                    </a:lnTo>
                    <a:lnTo>
                      <a:pt x="774" y="258"/>
                    </a:lnTo>
                    <a:lnTo>
                      <a:pt x="762" y="252"/>
                    </a:lnTo>
                    <a:lnTo>
                      <a:pt x="750" y="252"/>
                    </a:lnTo>
                    <a:lnTo>
                      <a:pt x="744" y="246"/>
                    </a:lnTo>
                    <a:lnTo>
                      <a:pt x="708" y="228"/>
                    </a:lnTo>
                    <a:lnTo>
                      <a:pt x="690" y="216"/>
                    </a:lnTo>
                    <a:lnTo>
                      <a:pt x="678" y="210"/>
                    </a:lnTo>
                    <a:lnTo>
                      <a:pt x="672" y="204"/>
                    </a:lnTo>
                    <a:lnTo>
                      <a:pt x="666" y="204"/>
                    </a:lnTo>
                    <a:lnTo>
                      <a:pt x="660" y="198"/>
                    </a:lnTo>
                    <a:lnTo>
                      <a:pt x="648" y="192"/>
                    </a:lnTo>
                    <a:lnTo>
                      <a:pt x="642" y="186"/>
                    </a:lnTo>
                    <a:lnTo>
                      <a:pt x="630" y="180"/>
                    </a:lnTo>
                    <a:lnTo>
                      <a:pt x="600" y="180"/>
                    </a:lnTo>
                    <a:lnTo>
                      <a:pt x="564" y="162"/>
                    </a:lnTo>
                    <a:lnTo>
                      <a:pt x="558" y="156"/>
                    </a:lnTo>
                    <a:lnTo>
                      <a:pt x="552" y="156"/>
                    </a:lnTo>
                    <a:lnTo>
                      <a:pt x="546" y="138"/>
                    </a:lnTo>
                    <a:lnTo>
                      <a:pt x="534" y="132"/>
                    </a:lnTo>
                    <a:lnTo>
                      <a:pt x="516" y="114"/>
                    </a:lnTo>
                    <a:lnTo>
                      <a:pt x="492" y="102"/>
                    </a:lnTo>
                    <a:lnTo>
                      <a:pt x="486" y="96"/>
                    </a:lnTo>
                    <a:lnTo>
                      <a:pt x="480" y="84"/>
                    </a:lnTo>
                    <a:lnTo>
                      <a:pt x="468" y="78"/>
                    </a:lnTo>
                    <a:lnTo>
                      <a:pt x="462" y="66"/>
                    </a:lnTo>
                    <a:lnTo>
                      <a:pt x="456" y="60"/>
                    </a:lnTo>
                    <a:lnTo>
                      <a:pt x="456" y="54"/>
                    </a:lnTo>
                    <a:lnTo>
                      <a:pt x="438" y="36"/>
                    </a:lnTo>
                    <a:lnTo>
                      <a:pt x="402" y="12"/>
                    </a:lnTo>
                    <a:lnTo>
                      <a:pt x="330" y="18"/>
                    </a:lnTo>
                    <a:lnTo>
                      <a:pt x="318" y="72"/>
                    </a:lnTo>
                    <a:lnTo>
                      <a:pt x="288" y="24"/>
                    </a:lnTo>
                    <a:lnTo>
                      <a:pt x="234" y="24"/>
                    </a:lnTo>
                    <a:lnTo>
                      <a:pt x="216" y="18"/>
                    </a:lnTo>
                    <a:lnTo>
                      <a:pt x="204" y="18"/>
                    </a:lnTo>
                    <a:lnTo>
                      <a:pt x="180" y="6"/>
                    </a:lnTo>
                    <a:lnTo>
                      <a:pt x="174" y="0"/>
                    </a:lnTo>
                    <a:lnTo>
                      <a:pt x="162" y="24"/>
                    </a:lnTo>
                    <a:lnTo>
                      <a:pt x="138" y="30"/>
                    </a:lnTo>
                    <a:lnTo>
                      <a:pt x="138" y="48"/>
                    </a:lnTo>
                    <a:lnTo>
                      <a:pt x="126" y="48"/>
                    </a:lnTo>
                    <a:lnTo>
                      <a:pt x="126" y="78"/>
                    </a:lnTo>
                    <a:lnTo>
                      <a:pt x="114" y="78"/>
                    </a:lnTo>
                    <a:lnTo>
                      <a:pt x="126" y="96"/>
                    </a:lnTo>
                    <a:lnTo>
                      <a:pt x="114" y="180"/>
                    </a:lnTo>
                    <a:lnTo>
                      <a:pt x="108" y="180"/>
                    </a:lnTo>
                    <a:lnTo>
                      <a:pt x="102" y="186"/>
                    </a:lnTo>
                    <a:lnTo>
                      <a:pt x="90" y="192"/>
                    </a:lnTo>
                    <a:lnTo>
                      <a:pt x="72" y="198"/>
                    </a:lnTo>
                    <a:lnTo>
                      <a:pt x="60" y="210"/>
                    </a:lnTo>
                    <a:lnTo>
                      <a:pt x="48" y="216"/>
                    </a:lnTo>
                    <a:lnTo>
                      <a:pt x="42" y="228"/>
                    </a:lnTo>
                    <a:lnTo>
                      <a:pt x="36" y="234"/>
                    </a:lnTo>
                    <a:lnTo>
                      <a:pt x="36" y="240"/>
                    </a:lnTo>
                    <a:lnTo>
                      <a:pt x="42" y="246"/>
                    </a:lnTo>
                    <a:lnTo>
                      <a:pt x="54" y="252"/>
                    </a:lnTo>
                    <a:lnTo>
                      <a:pt x="66" y="252"/>
                    </a:lnTo>
                    <a:lnTo>
                      <a:pt x="66" y="258"/>
                    </a:lnTo>
                    <a:lnTo>
                      <a:pt x="42" y="282"/>
                    </a:lnTo>
                    <a:lnTo>
                      <a:pt x="42" y="300"/>
                    </a:lnTo>
                    <a:lnTo>
                      <a:pt x="48" y="306"/>
                    </a:lnTo>
                    <a:lnTo>
                      <a:pt x="60" y="312"/>
                    </a:lnTo>
                    <a:lnTo>
                      <a:pt x="72" y="324"/>
                    </a:lnTo>
                    <a:lnTo>
                      <a:pt x="78" y="336"/>
                    </a:lnTo>
                    <a:lnTo>
                      <a:pt x="72" y="342"/>
                    </a:lnTo>
                    <a:lnTo>
                      <a:pt x="66" y="354"/>
                    </a:lnTo>
                    <a:lnTo>
                      <a:pt x="54" y="366"/>
                    </a:lnTo>
                    <a:lnTo>
                      <a:pt x="48" y="366"/>
                    </a:lnTo>
                    <a:lnTo>
                      <a:pt x="54" y="366"/>
                    </a:lnTo>
                    <a:lnTo>
                      <a:pt x="60" y="372"/>
                    </a:lnTo>
                    <a:lnTo>
                      <a:pt x="84" y="384"/>
                    </a:lnTo>
                    <a:lnTo>
                      <a:pt x="90" y="396"/>
                    </a:lnTo>
                    <a:lnTo>
                      <a:pt x="90" y="408"/>
                    </a:lnTo>
                    <a:lnTo>
                      <a:pt x="78" y="414"/>
                    </a:lnTo>
                    <a:lnTo>
                      <a:pt x="72" y="420"/>
                    </a:lnTo>
                    <a:lnTo>
                      <a:pt x="54" y="420"/>
                    </a:lnTo>
                    <a:lnTo>
                      <a:pt x="54" y="432"/>
                    </a:lnTo>
                    <a:lnTo>
                      <a:pt x="48" y="450"/>
                    </a:lnTo>
                    <a:lnTo>
                      <a:pt x="48" y="462"/>
                    </a:lnTo>
                    <a:lnTo>
                      <a:pt x="42" y="474"/>
                    </a:lnTo>
                    <a:lnTo>
                      <a:pt x="42" y="486"/>
                    </a:lnTo>
                    <a:lnTo>
                      <a:pt x="30" y="498"/>
                    </a:lnTo>
                    <a:lnTo>
                      <a:pt x="24" y="510"/>
                    </a:lnTo>
                    <a:lnTo>
                      <a:pt x="18" y="516"/>
                    </a:lnTo>
                    <a:lnTo>
                      <a:pt x="18" y="582"/>
                    </a:lnTo>
                    <a:lnTo>
                      <a:pt x="6" y="594"/>
                    </a:lnTo>
                    <a:lnTo>
                      <a:pt x="6" y="606"/>
                    </a:lnTo>
                    <a:lnTo>
                      <a:pt x="18" y="630"/>
                    </a:lnTo>
                    <a:lnTo>
                      <a:pt x="30" y="666"/>
                    </a:lnTo>
                    <a:lnTo>
                      <a:pt x="36" y="678"/>
                    </a:lnTo>
                    <a:lnTo>
                      <a:pt x="36" y="684"/>
                    </a:lnTo>
                    <a:lnTo>
                      <a:pt x="12" y="684"/>
                    </a:lnTo>
                    <a:lnTo>
                      <a:pt x="18" y="738"/>
                    </a:lnTo>
                    <a:lnTo>
                      <a:pt x="6" y="744"/>
                    </a:lnTo>
                    <a:lnTo>
                      <a:pt x="0" y="744"/>
                    </a:lnTo>
                    <a:lnTo>
                      <a:pt x="0" y="768"/>
                    </a:lnTo>
                    <a:lnTo>
                      <a:pt x="6" y="774"/>
                    </a:lnTo>
                    <a:lnTo>
                      <a:pt x="6" y="780"/>
                    </a:lnTo>
                    <a:lnTo>
                      <a:pt x="18" y="786"/>
                    </a:lnTo>
                    <a:lnTo>
                      <a:pt x="36" y="804"/>
                    </a:lnTo>
                    <a:lnTo>
                      <a:pt x="36" y="816"/>
                    </a:lnTo>
                    <a:lnTo>
                      <a:pt x="30" y="822"/>
                    </a:lnTo>
                    <a:lnTo>
                      <a:pt x="30" y="828"/>
                    </a:lnTo>
                    <a:lnTo>
                      <a:pt x="48" y="846"/>
                    </a:lnTo>
                    <a:lnTo>
                      <a:pt x="60" y="876"/>
                    </a:lnTo>
                    <a:lnTo>
                      <a:pt x="66" y="888"/>
                    </a:lnTo>
                    <a:lnTo>
                      <a:pt x="60" y="894"/>
                    </a:lnTo>
                    <a:lnTo>
                      <a:pt x="60" y="906"/>
                    </a:lnTo>
                    <a:lnTo>
                      <a:pt x="72" y="918"/>
                    </a:lnTo>
                    <a:lnTo>
                      <a:pt x="96" y="918"/>
                    </a:lnTo>
                    <a:lnTo>
                      <a:pt x="102" y="960"/>
                    </a:lnTo>
                    <a:lnTo>
                      <a:pt x="108" y="972"/>
                    </a:lnTo>
                    <a:lnTo>
                      <a:pt x="114" y="978"/>
                    </a:lnTo>
                    <a:lnTo>
                      <a:pt x="120" y="990"/>
                    </a:lnTo>
                    <a:lnTo>
                      <a:pt x="120" y="996"/>
                    </a:lnTo>
                    <a:lnTo>
                      <a:pt x="102" y="1014"/>
                    </a:lnTo>
                    <a:lnTo>
                      <a:pt x="102" y="1038"/>
                    </a:lnTo>
                    <a:lnTo>
                      <a:pt x="96" y="1056"/>
                    </a:lnTo>
                    <a:lnTo>
                      <a:pt x="96" y="1086"/>
                    </a:lnTo>
                    <a:lnTo>
                      <a:pt x="84" y="1086"/>
                    </a:lnTo>
                    <a:lnTo>
                      <a:pt x="90" y="1092"/>
                    </a:lnTo>
                    <a:lnTo>
                      <a:pt x="96" y="1104"/>
                    </a:lnTo>
                    <a:lnTo>
                      <a:pt x="102" y="1110"/>
                    </a:lnTo>
                    <a:lnTo>
                      <a:pt x="108" y="1122"/>
                    </a:lnTo>
                    <a:lnTo>
                      <a:pt x="114" y="1128"/>
                    </a:lnTo>
                    <a:lnTo>
                      <a:pt x="114" y="1140"/>
                    </a:lnTo>
                    <a:lnTo>
                      <a:pt x="108" y="1152"/>
                    </a:lnTo>
                    <a:lnTo>
                      <a:pt x="108" y="1158"/>
                    </a:lnTo>
                    <a:lnTo>
                      <a:pt x="102" y="1176"/>
                    </a:lnTo>
                    <a:lnTo>
                      <a:pt x="78" y="1182"/>
                    </a:lnTo>
                    <a:lnTo>
                      <a:pt x="78" y="1188"/>
                    </a:lnTo>
                    <a:lnTo>
                      <a:pt x="84" y="1194"/>
                    </a:lnTo>
                    <a:lnTo>
                      <a:pt x="84" y="1206"/>
                    </a:lnTo>
                    <a:lnTo>
                      <a:pt x="90" y="1224"/>
                    </a:lnTo>
                    <a:lnTo>
                      <a:pt x="96" y="1236"/>
                    </a:lnTo>
                    <a:lnTo>
                      <a:pt x="96" y="1284"/>
                    </a:lnTo>
                    <a:lnTo>
                      <a:pt x="126" y="1308"/>
                    </a:lnTo>
                    <a:lnTo>
                      <a:pt x="126" y="1326"/>
                    </a:lnTo>
                    <a:lnTo>
                      <a:pt x="132" y="1326"/>
                    </a:lnTo>
                    <a:lnTo>
                      <a:pt x="150" y="1344"/>
                    </a:lnTo>
                    <a:lnTo>
                      <a:pt x="150" y="1350"/>
                    </a:lnTo>
                    <a:lnTo>
                      <a:pt x="144" y="1362"/>
                    </a:lnTo>
                    <a:lnTo>
                      <a:pt x="132" y="1368"/>
                    </a:lnTo>
                    <a:lnTo>
                      <a:pt x="126" y="1374"/>
                    </a:lnTo>
                    <a:lnTo>
                      <a:pt x="120" y="1374"/>
                    </a:lnTo>
                    <a:lnTo>
                      <a:pt x="132" y="1416"/>
                    </a:lnTo>
                    <a:lnTo>
                      <a:pt x="114" y="1428"/>
                    </a:lnTo>
                    <a:lnTo>
                      <a:pt x="132" y="1446"/>
                    </a:lnTo>
                    <a:lnTo>
                      <a:pt x="132" y="1452"/>
                    </a:lnTo>
                    <a:lnTo>
                      <a:pt x="126" y="1464"/>
                    </a:lnTo>
                    <a:lnTo>
                      <a:pt x="126" y="1470"/>
                    </a:lnTo>
                    <a:lnTo>
                      <a:pt x="144" y="1482"/>
                    </a:lnTo>
                    <a:lnTo>
                      <a:pt x="144" y="1494"/>
                    </a:lnTo>
                    <a:lnTo>
                      <a:pt x="138" y="1500"/>
                    </a:lnTo>
                    <a:lnTo>
                      <a:pt x="138" y="1530"/>
                    </a:lnTo>
                    <a:lnTo>
                      <a:pt x="144" y="1536"/>
                    </a:lnTo>
                    <a:lnTo>
                      <a:pt x="150" y="1548"/>
                    </a:lnTo>
                    <a:lnTo>
                      <a:pt x="150" y="1572"/>
                    </a:lnTo>
                    <a:lnTo>
                      <a:pt x="156" y="1584"/>
                    </a:lnTo>
                    <a:lnTo>
                      <a:pt x="174" y="1602"/>
                    </a:lnTo>
                    <a:lnTo>
                      <a:pt x="186" y="1608"/>
                    </a:lnTo>
                    <a:lnTo>
                      <a:pt x="198" y="1620"/>
                    </a:lnTo>
                    <a:lnTo>
                      <a:pt x="192" y="1620"/>
                    </a:lnTo>
                    <a:lnTo>
                      <a:pt x="180" y="1626"/>
                    </a:lnTo>
                    <a:lnTo>
                      <a:pt x="174" y="1632"/>
                    </a:lnTo>
                    <a:lnTo>
                      <a:pt x="174" y="1644"/>
                    </a:lnTo>
                    <a:lnTo>
                      <a:pt x="180" y="1656"/>
                    </a:lnTo>
                    <a:lnTo>
                      <a:pt x="180" y="1674"/>
                    </a:lnTo>
                    <a:lnTo>
                      <a:pt x="186" y="1686"/>
                    </a:lnTo>
                    <a:lnTo>
                      <a:pt x="186" y="1698"/>
                    </a:lnTo>
                    <a:lnTo>
                      <a:pt x="192" y="1704"/>
                    </a:lnTo>
                    <a:lnTo>
                      <a:pt x="216" y="1716"/>
                    </a:lnTo>
                    <a:lnTo>
                      <a:pt x="210" y="1746"/>
                    </a:lnTo>
                    <a:lnTo>
                      <a:pt x="216" y="1746"/>
                    </a:lnTo>
                    <a:lnTo>
                      <a:pt x="228" y="1752"/>
                    </a:lnTo>
                    <a:lnTo>
                      <a:pt x="234" y="1758"/>
                    </a:lnTo>
                    <a:lnTo>
                      <a:pt x="234" y="1764"/>
                    </a:lnTo>
                    <a:lnTo>
                      <a:pt x="240" y="1776"/>
                    </a:lnTo>
                    <a:lnTo>
                      <a:pt x="240" y="1806"/>
                    </a:lnTo>
                    <a:lnTo>
                      <a:pt x="252" y="1818"/>
                    </a:lnTo>
                    <a:lnTo>
                      <a:pt x="282" y="1818"/>
                    </a:lnTo>
                    <a:lnTo>
                      <a:pt x="294" y="1824"/>
                    </a:lnTo>
                    <a:lnTo>
                      <a:pt x="294" y="1830"/>
                    </a:lnTo>
                    <a:lnTo>
                      <a:pt x="288" y="1836"/>
                    </a:lnTo>
                    <a:lnTo>
                      <a:pt x="276" y="1836"/>
                    </a:lnTo>
                    <a:lnTo>
                      <a:pt x="264" y="1842"/>
                    </a:lnTo>
                    <a:lnTo>
                      <a:pt x="246" y="1842"/>
                    </a:lnTo>
                    <a:lnTo>
                      <a:pt x="252" y="1848"/>
                    </a:lnTo>
                    <a:lnTo>
                      <a:pt x="258" y="1848"/>
                    </a:lnTo>
                    <a:lnTo>
                      <a:pt x="270" y="1854"/>
                    </a:lnTo>
                    <a:lnTo>
                      <a:pt x="276" y="1860"/>
                    </a:lnTo>
                    <a:lnTo>
                      <a:pt x="288" y="1860"/>
                    </a:lnTo>
                    <a:lnTo>
                      <a:pt x="312" y="1884"/>
                    </a:lnTo>
                    <a:lnTo>
                      <a:pt x="306" y="1890"/>
                    </a:lnTo>
                    <a:lnTo>
                      <a:pt x="300" y="1902"/>
                    </a:lnTo>
                    <a:lnTo>
                      <a:pt x="288" y="1914"/>
                    </a:lnTo>
                    <a:lnTo>
                      <a:pt x="312" y="1932"/>
                    </a:lnTo>
                    <a:lnTo>
                      <a:pt x="306" y="1956"/>
                    </a:lnTo>
                    <a:lnTo>
                      <a:pt x="330" y="1980"/>
                    </a:lnTo>
                    <a:lnTo>
                      <a:pt x="324" y="2016"/>
                    </a:lnTo>
                    <a:lnTo>
                      <a:pt x="336" y="2040"/>
                    </a:lnTo>
                    <a:lnTo>
                      <a:pt x="324" y="2046"/>
                    </a:lnTo>
                    <a:lnTo>
                      <a:pt x="318" y="2088"/>
                    </a:lnTo>
                    <a:lnTo>
                      <a:pt x="324" y="2088"/>
                    </a:lnTo>
                    <a:lnTo>
                      <a:pt x="348" y="2112"/>
                    </a:lnTo>
                    <a:lnTo>
                      <a:pt x="348" y="2118"/>
                    </a:lnTo>
                    <a:lnTo>
                      <a:pt x="342" y="2118"/>
                    </a:lnTo>
                    <a:lnTo>
                      <a:pt x="330" y="2124"/>
                    </a:lnTo>
                    <a:lnTo>
                      <a:pt x="324" y="2130"/>
                    </a:lnTo>
                    <a:lnTo>
                      <a:pt x="348" y="2154"/>
                    </a:lnTo>
                    <a:lnTo>
                      <a:pt x="348" y="2160"/>
                    </a:lnTo>
                    <a:lnTo>
                      <a:pt x="342" y="2166"/>
                    </a:lnTo>
                    <a:lnTo>
                      <a:pt x="336" y="2166"/>
                    </a:lnTo>
                    <a:lnTo>
                      <a:pt x="330" y="2172"/>
                    </a:lnTo>
                    <a:lnTo>
                      <a:pt x="324" y="2172"/>
                    </a:lnTo>
                    <a:lnTo>
                      <a:pt x="324" y="2196"/>
                    </a:lnTo>
                    <a:lnTo>
                      <a:pt x="312" y="2202"/>
                    </a:lnTo>
                    <a:lnTo>
                      <a:pt x="312" y="2214"/>
                    </a:lnTo>
                    <a:lnTo>
                      <a:pt x="318" y="2226"/>
                    </a:lnTo>
                    <a:lnTo>
                      <a:pt x="324" y="2232"/>
                    </a:lnTo>
                    <a:lnTo>
                      <a:pt x="324" y="2268"/>
                    </a:lnTo>
                    <a:lnTo>
                      <a:pt x="354" y="2274"/>
                    </a:lnTo>
                    <a:lnTo>
                      <a:pt x="354" y="2280"/>
                    </a:lnTo>
                    <a:lnTo>
                      <a:pt x="360" y="2286"/>
                    </a:lnTo>
                    <a:lnTo>
                      <a:pt x="360" y="2298"/>
                    </a:lnTo>
                    <a:lnTo>
                      <a:pt x="366" y="2304"/>
                    </a:lnTo>
                    <a:lnTo>
                      <a:pt x="378" y="2310"/>
                    </a:lnTo>
                    <a:lnTo>
                      <a:pt x="384" y="2310"/>
                    </a:lnTo>
                    <a:lnTo>
                      <a:pt x="396" y="2298"/>
                    </a:lnTo>
                    <a:lnTo>
                      <a:pt x="414" y="2298"/>
                    </a:lnTo>
                    <a:lnTo>
                      <a:pt x="426" y="2304"/>
                    </a:lnTo>
                    <a:lnTo>
                      <a:pt x="438" y="2316"/>
                    </a:lnTo>
                    <a:lnTo>
                      <a:pt x="438" y="2340"/>
                    </a:lnTo>
                    <a:lnTo>
                      <a:pt x="456" y="2364"/>
                    </a:lnTo>
                    <a:lnTo>
                      <a:pt x="468" y="2382"/>
                    </a:lnTo>
                    <a:lnTo>
                      <a:pt x="504" y="2400"/>
                    </a:lnTo>
                    <a:lnTo>
                      <a:pt x="522" y="2418"/>
                    </a:lnTo>
                    <a:lnTo>
                      <a:pt x="534" y="2418"/>
                    </a:lnTo>
                    <a:lnTo>
                      <a:pt x="546" y="2412"/>
                    </a:lnTo>
                    <a:lnTo>
                      <a:pt x="642" y="2412"/>
                    </a:lnTo>
                    <a:lnTo>
                      <a:pt x="666" y="2430"/>
                    </a:lnTo>
                    <a:lnTo>
                      <a:pt x="660" y="2442"/>
                    </a:lnTo>
                    <a:lnTo>
                      <a:pt x="666" y="2424"/>
                    </a:lnTo>
                    <a:lnTo>
                      <a:pt x="672" y="2418"/>
                    </a:lnTo>
                    <a:lnTo>
                      <a:pt x="684" y="2418"/>
                    </a:lnTo>
                    <a:lnTo>
                      <a:pt x="690" y="2424"/>
                    </a:lnTo>
                    <a:lnTo>
                      <a:pt x="702" y="2424"/>
                    </a:lnTo>
                    <a:lnTo>
                      <a:pt x="714" y="2430"/>
                    </a:lnTo>
                    <a:lnTo>
                      <a:pt x="720" y="2436"/>
                    </a:lnTo>
                    <a:lnTo>
                      <a:pt x="678" y="2382"/>
                    </a:lnTo>
                    <a:lnTo>
                      <a:pt x="660" y="2382"/>
                    </a:lnTo>
                    <a:lnTo>
                      <a:pt x="666" y="2370"/>
                    </a:lnTo>
                    <a:lnTo>
                      <a:pt x="630" y="2340"/>
                    </a:lnTo>
                    <a:lnTo>
                      <a:pt x="630" y="2310"/>
                    </a:lnTo>
                    <a:lnTo>
                      <a:pt x="618" y="2298"/>
                    </a:lnTo>
                    <a:lnTo>
                      <a:pt x="624" y="2286"/>
                    </a:lnTo>
                    <a:lnTo>
                      <a:pt x="630" y="2286"/>
                    </a:lnTo>
                    <a:lnTo>
                      <a:pt x="642" y="2274"/>
                    </a:lnTo>
                    <a:lnTo>
                      <a:pt x="642" y="2268"/>
                    </a:lnTo>
                    <a:lnTo>
                      <a:pt x="636" y="2268"/>
                    </a:lnTo>
                    <a:lnTo>
                      <a:pt x="624" y="2262"/>
                    </a:lnTo>
                    <a:lnTo>
                      <a:pt x="606" y="2262"/>
                    </a:lnTo>
                    <a:lnTo>
                      <a:pt x="618" y="2250"/>
                    </a:lnTo>
                    <a:lnTo>
                      <a:pt x="618" y="2232"/>
                    </a:lnTo>
                    <a:lnTo>
                      <a:pt x="636" y="2256"/>
                    </a:lnTo>
                    <a:lnTo>
                      <a:pt x="648" y="2262"/>
                    </a:lnTo>
                    <a:lnTo>
                      <a:pt x="666" y="2262"/>
                    </a:lnTo>
                    <a:lnTo>
                      <a:pt x="672" y="2256"/>
                    </a:lnTo>
                    <a:lnTo>
                      <a:pt x="678" y="2244"/>
                    </a:lnTo>
                    <a:lnTo>
                      <a:pt x="678" y="2226"/>
                    </a:lnTo>
                    <a:lnTo>
                      <a:pt x="672" y="2208"/>
                    </a:lnTo>
                    <a:lnTo>
                      <a:pt x="666" y="2196"/>
                    </a:lnTo>
                    <a:lnTo>
                      <a:pt x="666" y="2178"/>
                    </a:lnTo>
                    <a:lnTo>
                      <a:pt x="678" y="2154"/>
                    </a:lnTo>
                    <a:lnTo>
                      <a:pt x="690" y="2142"/>
                    </a:lnTo>
                    <a:lnTo>
                      <a:pt x="708" y="2130"/>
                    </a:lnTo>
                    <a:lnTo>
                      <a:pt x="738" y="2100"/>
                    </a:lnTo>
                    <a:lnTo>
                      <a:pt x="726" y="2088"/>
                    </a:lnTo>
                    <a:lnTo>
                      <a:pt x="702" y="2088"/>
                    </a:lnTo>
                    <a:lnTo>
                      <a:pt x="726" y="2082"/>
                    </a:lnTo>
                    <a:lnTo>
                      <a:pt x="726" y="2064"/>
                    </a:lnTo>
                    <a:lnTo>
                      <a:pt x="714" y="2040"/>
                    </a:lnTo>
                    <a:lnTo>
                      <a:pt x="708" y="2034"/>
                    </a:lnTo>
                    <a:lnTo>
                      <a:pt x="696" y="2028"/>
                    </a:lnTo>
                    <a:lnTo>
                      <a:pt x="690" y="2028"/>
                    </a:lnTo>
                    <a:lnTo>
                      <a:pt x="684" y="2034"/>
                    </a:lnTo>
                    <a:lnTo>
                      <a:pt x="672" y="2016"/>
                    </a:lnTo>
                    <a:lnTo>
                      <a:pt x="642" y="2016"/>
                    </a:lnTo>
                    <a:lnTo>
                      <a:pt x="636" y="2010"/>
                    </a:lnTo>
                    <a:lnTo>
                      <a:pt x="624" y="2004"/>
                    </a:lnTo>
                    <a:lnTo>
                      <a:pt x="606" y="1992"/>
                    </a:lnTo>
                    <a:lnTo>
                      <a:pt x="582" y="1968"/>
                    </a:lnTo>
                    <a:lnTo>
                      <a:pt x="570" y="1950"/>
                    </a:lnTo>
                    <a:lnTo>
                      <a:pt x="564" y="1938"/>
                    </a:lnTo>
                    <a:lnTo>
                      <a:pt x="564" y="1926"/>
                    </a:lnTo>
                    <a:lnTo>
                      <a:pt x="570" y="1914"/>
                    </a:lnTo>
                    <a:lnTo>
                      <a:pt x="570" y="1908"/>
                    </a:lnTo>
                    <a:lnTo>
                      <a:pt x="576" y="1908"/>
                    </a:lnTo>
                    <a:lnTo>
                      <a:pt x="582" y="1902"/>
                    </a:lnTo>
                    <a:lnTo>
                      <a:pt x="594" y="1878"/>
                    </a:lnTo>
                    <a:lnTo>
                      <a:pt x="606" y="1878"/>
                    </a:lnTo>
                    <a:lnTo>
                      <a:pt x="612" y="1860"/>
                    </a:lnTo>
                    <a:lnTo>
                      <a:pt x="666" y="1860"/>
                    </a:lnTo>
                    <a:lnTo>
                      <a:pt x="654" y="1848"/>
                    </a:lnTo>
                    <a:lnTo>
                      <a:pt x="654" y="1824"/>
                    </a:lnTo>
                    <a:lnTo>
                      <a:pt x="666" y="1824"/>
                    </a:lnTo>
                    <a:lnTo>
                      <a:pt x="666" y="1794"/>
                    </a:lnTo>
                    <a:lnTo>
                      <a:pt x="660" y="1788"/>
                    </a:lnTo>
                    <a:lnTo>
                      <a:pt x="654" y="1776"/>
                    </a:lnTo>
                    <a:lnTo>
                      <a:pt x="642" y="1764"/>
                    </a:lnTo>
                    <a:lnTo>
                      <a:pt x="642" y="1746"/>
                    </a:lnTo>
                    <a:lnTo>
                      <a:pt x="648" y="1728"/>
                    </a:lnTo>
                    <a:lnTo>
                      <a:pt x="654" y="1716"/>
                    </a:lnTo>
                    <a:lnTo>
                      <a:pt x="666" y="1710"/>
                    </a:lnTo>
                    <a:lnTo>
                      <a:pt x="672" y="1704"/>
                    </a:lnTo>
                    <a:lnTo>
                      <a:pt x="684" y="1704"/>
                    </a:lnTo>
                    <a:lnTo>
                      <a:pt x="684" y="1692"/>
                    </a:lnTo>
                    <a:lnTo>
                      <a:pt x="660" y="1692"/>
                    </a:lnTo>
                    <a:lnTo>
                      <a:pt x="648" y="1686"/>
                    </a:lnTo>
                    <a:lnTo>
                      <a:pt x="642" y="1680"/>
                    </a:lnTo>
                    <a:lnTo>
                      <a:pt x="642" y="1674"/>
                    </a:lnTo>
                    <a:lnTo>
                      <a:pt x="654" y="1668"/>
                    </a:lnTo>
                    <a:lnTo>
                      <a:pt x="666" y="1668"/>
                    </a:lnTo>
                    <a:lnTo>
                      <a:pt x="702" y="1686"/>
                    </a:lnTo>
                    <a:lnTo>
                      <a:pt x="708" y="1692"/>
                    </a:lnTo>
                    <a:lnTo>
                      <a:pt x="714" y="1692"/>
                    </a:lnTo>
                    <a:lnTo>
                      <a:pt x="720" y="1686"/>
                    </a:lnTo>
                    <a:lnTo>
                      <a:pt x="732" y="1680"/>
                    </a:lnTo>
                    <a:lnTo>
                      <a:pt x="732" y="1656"/>
                    </a:lnTo>
                    <a:lnTo>
                      <a:pt x="726" y="1644"/>
                    </a:lnTo>
                    <a:lnTo>
                      <a:pt x="708" y="1626"/>
                    </a:lnTo>
                    <a:lnTo>
                      <a:pt x="696" y="1626"/>
                    </a:lnTo>
                    <a:lnTo>
                      <a:pt x="690" y="1632"/>
                    </a:lnTo>
                    <a:lnTo>
                      <a:pt x="690" y="1650"/>
                    </a:lnTo>
                    <a:lnTo>
                      <a:pt x="684" y="1656"/>
                    </a:lnTo>
                    <a:lnTo>
                      <a:pt x="666" y="1656"/>
                    </a:lnTo>
                    <a:lnTo>
                      <a:pt x="654" y="1650"/>
                    </a:lnTo>
                    <a:lnTo>
                      <a:pt x="648" y="1644"/>
                    </a:lnTo>
                    <a:lnTo>
                      <a:pt x="648" y="1638"/>
                    </a:lnTo>
                    <a:lnTo>
                      <a:pt x="612" y="1638"/>
                    </a:lnTo>
                    <a:lnTo>
                      <a:pt x="606" y="1632"/>
                    </a:lnTo>
                    <a:lnTo>
                      <a:pt x="606" y="1572"/>
                    </a:lnTo>
                    <a:lnTo>
                      <a:pt x="600" y="1566"/>
                    </a:lnTo>
                    <a:lnTo>
                      <a:pt x="594" y="1554"/>
                    </a:lnTo>
                    <a:lnTo>
                      <a:pt x="588" y="1536"/>
                    </a:lnTo>
                    <a:lnTo>
                      <a:pt x="588" y="1524"/>
                    </a:lnTo>
                    <a:lnTo>
                      <a:pt x="594" y="1518"/>
                    </a:lnTo>
                    <a:lnTo>
                      <a:pt x="600" y="1518"/>
                    </a:lnTo>
                    <a:lnTo>
                      <a:pt x="606" y="1524"/>
                    </a:lnTo>
                    <a:lnTo>
                      <a:pt x="618" y="1524"/>
                    </a:lnTo>
                    <a:lnTo>
                      <a:pt x="624" y="1530"/>
                    </a:lnTo>
                    <a:lnTo>
                      <a:pt x="636" y="1536"/>
                    </a:lnTo>
                    <a:lnTo>
                      <a:pt x="672" y="1548"/>
                    </a:lnTo>
                    <a:lnTo>
                      <a:pt x="690" y="1560"/>
                    </a:lnTo>
                    <a:lnTo>
                      <a:pt x="708" y="1560"/>
                    </a:lnTo>
                    <a:lnTo>
                      <a:pt x="726" y="1554"/>
                    </a:lnTo>
                    <a:lnTo>
                      <a:pt x="738" y="1542"/>
                    </a:lnTo>
                    <a:lnTo>
                      <a:pt x="750" y="1536"/>
                    </a:lnTo>
                    <a:lnTo>
                      <a:pt x="768" y="1530"/>
                    </a:lnTo>
                    <a:lnTo>
                      <a:pt x="774" y="1524"/>
                    </a:lnTo>
                    <a:lnTo>
                      <a:pt x="774" y="1512"/>
                    </a:lnTo>
                    <a:lnTo>
                      <a:pt x="762" y="1506"/>
                    </a:lnTo>
                    <a:lnTo>
                      <a:pt x="750" y="1494"/>
                    </a:lnTo>
                    <a:lnTo>
                      <a:pt x="738" y="1488"/>
                    </a:lnTo>
                    <a:lnTo>
                      <a:pt x="738" y="1464"/>
                    </a:lnTo>
                    <a:lnTo>
                      <a:pt x="744" y="1452"/>
                    </a:lnTo>
                    <a:lnTo>
                      <a:pt x="750" y="1446"/>
                    </a:lnTo>
                    <a:lnTo>
                      <a:pt x="750" y="1434"/>
                    </a:lnTo>
                    <a:lnTo>
                      <a:pt x="756" y="1422"/>
                    </a:lnTo>
                    <a:lnTo>
                      <a:pt x="744" y="1410"/>
                    </a:lnTo>
                    <a:lnTo>
                      <a:pt x="726" y="1410"/>
                    </a:lnTo>
                    <a:lnTo>
                      <a:pt x="720" y="1386"/>
                    </a:lnTo>
                    <a:lnTo>
                      <a:pt x="714" y="1380"/>
                    </a:lnTo>
                    <a:lnTo>
                      <a:pt x="714" y="1368"/>
                    </a:lnTo>
                    <a:lnTo>
                      <a:pt x="720" y="1362"/>
                    </a:lnTo>
                    <a:lnTo>
                      <a:pt x="726" y="1362"/>
                    </a:lnTo>
                    <a:lnTo>
                      <a:pt x="732" y="1374"/>
                    </a:lnTo>
                    <a:lnTo>
                      <a:pt x="738" y="1380"/>
                    </a:lnTo>
                    <a:lnTo>
                      <a:pt x="738" y="1386"/>
                    </a:lnTo>
                    <a:lnTo>
                      <a:pt x="744" y="1398"/>
                    </a:lnTo>
                    <a:lnTo>
                      <a:pt x="756" y="1398"/>
                    </a:lnTo>
                    <a:lnTo>
                      <a:pt x="750" y="1380"/>
                    </a:lnTo>
                    <a:lnTo>
                      <a:pt x="828" y="1386"/>
                    </a:lnTo>
                    <a:lnTo>
                      <a:pt x="834" y="1380"/>
                    </a:lnTo>
                    <a:lnTo>
                      <a:pt x="840" y="1380"/>
                    </a:lnTo>
                    <a:lnTo>
                      <a:pt x="846" y="1374"/>
                    </a:lnTo>
                    <a:lnTo>
                      <a:pt x="864" y="1368"/>
                    </a:lnTo>
                    <a:lnTo>
                      <a:pt x="894" y="1362"/>
                    </a:lnTo>
                    <a:lnTo>
                      <a:pt x="930" y="1350"/>
                    </a:lnTo>
                    <a:lnTo>
                      <a:pt x="972" y="1338"/>
                    </a:lnTo>
                    <a:lnTo>
                      <a:pt x="1002" y="1326"/>
                    </a:lnTo>
                    <a:lnTo>
                      <a:pt x="1014" y="1320"/>
                    </a:lnTo>
                    <a:lnTo>
                      <a:pt x="1014" y="1284"/>
                    </a:lnTo>
                    <a:lnTo>
                      <a:pt x="1032" y="1272"/>
                    </a:lnTo>
                    <a:lnTo>
                      <a:pt x="1044" y="1218"/>
                    </a:lnTo>
                    <a:lnTo>
                      <a:pt x="1038" y="1194"/>
                    </a:lnTo>
                    <a:lnTo>
                      <a:pt x="1038" y="1170"/>
                    </a:lnTo>
                    <a:lnTo>
                      <a:pt x="1032" y="1170"/>
                    </a:lnTo>
                    <a:lnTo>
                      <a:pt x="1026" y="1164"/>
                    </a:lnTo>
                    <a:lnTo>
                      <a:pt x="1002" y="1152"/>
                    </a:lnTo>
                    <a:lnTo>
                      <a:pt x="990" y="1152"/>
                    </a:lnTo>
                    <a:lnTo>
                      <a:pt x="984" y="1146"/>
                    </a:lnTo>
                    <a:lnTo>
                      <a:pt x="978" y="1146"/>
                    </a:lnTo>
                    <a:lnTo>
                      <a:pt x="972" y="1140"/>
                    </a:lnTo>
                    <a:lnTo>
                      <a:pt x="990" y="1122"/>
                    </a:lnTo>
                    <a:lnTo>
                      <a:pt x="990" y="1092"/>
                    </a:lnTo>
                    <a:lnTo>
                      <a:pt x="984" y="1080"/>
                    </a:lnTo>
                    <a:lnTo>
                      <a:pt x="978" y="1074"/>
                    </a:lnTo>
                    <a:lnTo>
                      <a:pt x="954" y="1062"/>
                    </a:lnTo>
                    <a:lnTo>
                      <a:pt x="918" y="1050"/>
                    </a:lnTo>
                    <a:lnTo>
                      <a:pt x="906" y="1044"/>
                    </a:lnTo>
                    <a:lnTo>
                      <a:pt x="888" y="1032"/>
                    </a:lnTo>
                    <a:lnTo>
                      <a:pt x="876" y="1020"/>
                    </a:lnTo>
                    <a:lnTo>
                      <a:pt x="876" y="1002"/>
                    </a:lnTo>
                    <a:lnTo>
                      <a:pt x="882" y="990"/>
                    </a:lnTo>
                    <a:lnTo>
                      <a:pt x="888" y="990"/>
                    </a:lnTo>
                    <a:lnTo>
                      <a:pt x="888" y="984"/>
                    </a:lnTo>
                    <a:lnTo>
                      <a:pt x="858" y="948"/>
                    </a:lnTo>
                    <a:lnTo>
                      <a:pt x="858" y="900"/>
                    </a:lnTo>
                    <a:lnTo>
                      <a:pt x="882" y="900"/>
                    </a:lnTo>
                    <a:lnTo>
                      <a:pt x="888" y="894"/>
                    </a:lnTo>
                    <a:lnTo>
                      <a:pt x="894" y="894"/>
                    </a:lnTo>
                    <a:lnTo>
                      <a:pt x="894" y="888"/>
                    </a:lnTo>
                    <a:lnTo>
                      <a:pt x="888" y="876"/>
                    </a:lnTo>
                    <a:lnTo>
                      <a:pt x="876" y="870"/>
                    </a:lnTo>
                    <a:lnTo>
                      <a:pt x="870" y="858"/>
                    </a:lnTo>
                    <a:lnTo>
                      <a:pt x="864" y="852"/>
                    </a:lnTo>
                    <a:lnTo>
                      <a:pt x="876" y="834"/>
                    </a:lnTo>
                    <a:lnTo>
                      <a:pt x="864" y="822"/>
                    </a:lnTo>
                    <a:lnTo>
                      <a:pt x="858" y="810"/>
                    </a:lnTo>
                    <a:lnTo>
                      <a:pt x="852" y="804"/>
                    </a:lnTo>
                    <a:lnTo>
                      <a:pt x="864" y="792"/>
                    </a:lnTo>
                    <a:lnTo>
                      <a:pt x="882" y="792"/>
                    </a:lnTo>
                    <a:lnTo>
                      <a:pt x="858" y="774"/>
                    </a:lnTo>
                    <a:lnTo>
                      <a:pt x="858" y="738"/>
                    </a:lnTo>
                    <a:lnTo>
                      <a:pt x="882" y="726"/>
                    </a:lnTo>
                    <a:lnTo>
                      <a:pt x="876" y="726"/>
                    </a:lnTo>
                    <a:lnTo>
                      <a:pt x="852" y="702"/>
                    </a:lnTo>
                    <a:lnTo>
                      <a:pt x="852" y="696"/>
                    </a:lnTo>
                    <a:lnTo>
                      <a:pt x="870" y="678"/>
                    </a:lnTo>
                    <a:lnTo>
                      <a:pt x="870" y="666"/>
                    </a:lnTo>
                    <a:lnTo>
                      <a:pt x="876" y="654"/>
                    </a:lnTo>
                    <a:lnTo>
                      <a:pt x="876" y="642"/>
                    </a:lnTo>
                    <a:lnTo>
                      <a:pt x="882" y="636"/>
                    </a:lnTo>
                    <a:lnTo>
                      <a:pt x="900" y="636"/>
                    </a:lnTo>
                    <a:lnTo>
                      <a:pt x="906" y="630"/>
                    </a:lnTo>
                    <a:lnTo>
                      <a:pt x="912" y="618"/>
                    </a:lnTo>
                    <a:lnTo>
                      <a:pt x="918" y="612"/>
                    </a:lnTo>
                    <a:lnTo>
                      <a:pt x="918" y="588"/>
                    </a:lnTo>
                    <a:lnTo>
                      <a:pt x="930" y="588"/>
                    </a:lnTo>
                    <a:lnTo>
                      <a:pt x="948" y="570"/>
                    </a:lnTo>
                    <a:lnTo>
                      <a:pt x="948" y="558"/>
                    </a:lnTo>
                    <a:lnTo>
                      <a:pt x="954" y="546"/>
                    </a:lnTo>
                    <a:lnTo>
                      <a:pt x="954" y="534"/>
                    </a:lnTo>
                    <a:close/>
                    <a:moveTo>
                      <a:pt x="930" y="1020"/>
                    </a:moveTo>
                    <a:lnTo>
                      <a:pt x="942" y="1020"/>
                    </a:lnTo>
                    <a:lnTo>
                      <a:pt x="930" y="1014"/>
                    </a:lnTo>
                    <a:lnTo>
                      <a:pt x="930" y="1020"/>
                    </a:lnTo>
                    <a:close/>
                  </a:path>
                </a:pathLst>
              </a:custGeom>
              <a:grpFill/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</p:grpSp>
        <p:grpSp>
          <p:nvGrpSpPr>
            <p:cNvPr id="207" name="North_America">
              <a:extLst>
                <a:ext uri="{FF2B5EF4-FFF2-40B4-BE49-F238E27FC236}">
                  <a16:creationId xmlns:a16="http://schemas.microsoft.com/office/drawing/2014/main" id="{F0092116-1B8F-4CC7-B0F7-EF8BA95FA400}"/>
                </a:ext>
              </a:extLst>
            </p:cNvPr>
            <p:cNvGrpSpPr/>
            <p:nvPr/>
          </p:nvGrpSpPr>
          <p:grpSpPr>
            <a:xfrm>
              <a:off x="247243" y="904486"/>
              <a:ext cx="4086360" cy="3021320"/>
              <a:chOff x="1066196" y="1708179"/>
              <a:chExt cx="3452414" cy="2552601"/>
            </a:xfrm>
            <a:solidFill>
              <a:srgbClr val="006B52"/>
            </a:solidFill>
          </p:grpSpPr>
          <p:sp>
            <p:nvSpPr>
              <p:cNvPr id="211" name="USA (Alaska)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C92EBCE-F598-49E5-8E9F-13758BC22FE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66196" y="2019948"/>
                <a:ext cx="1361048" cy="596965"/>
              </a:xfrm>
              <a:custGeom>
                <a:avLst/>
                <a:gdLst>
                  <a:gd name="T0" fmla="*/ 2147483647 w 3072"/>
                  <a:gd name="T1" fmla="*/ 2147483647 h 1332"/>
                  <a:gd name="T2" fmla="*/ 2147483647 w 3072"/>
                  <a:gd name="T3" fmla="*/ 2147483647 h 1332"/>
                  <a:gd name="T4" fmla="*/ 2147483647 w 3072"/>
                  <a:gd name="T5" fmla="*/ 2147483647 h 1332"/>
                  <a:gd name="T6" fmla="*/ 2147483647 w 3072"/>
                  <a:gd name="T7" fmla="*/ 2147483647 h 1332"/>
                  <a:gd name="T8" fmla="*/ 2147483647 w 3072"/>
                  <a:gd name="T9" fmla="*/ 2147483647 h 1332"/>
                  <a:gd name="T10" fmla="*/ 2147483647 w 3072"/>
                  <a:gd name="T11" fmla="*/ 2147483647 h 1332"/>
                  <a:gd name="T12" fmla="*/ 2147483647 w 3072"/>
                  <a:gd name="T13" fmla="*/ 2147483647 h 1332"/>
                  <a:gd name="T14" fmla="*/ 2147483647 w 3072"/>
                  <a:gd name="T15" fmla="*/ 2147483647 h 1332"/>
                  <a:gd name="T16" fmla="*/ 2147483647 w 3072"/>
                  <a:gd name="T17" fmla="*/ 2147483647 h 1332"/>
                  <a:gd name="T18" fmla="*/ 2147483647 w 3072"/>
                  <a:gd name="T19" fmla="*/ 2147483647 h 1332"/>
                  <a:gd name="T20" fmla="*/ 2147483647 w 3072"/>
                  <a:gd name="T21" fmla="*/ 2147483647 h 1332"/>
                  <a:gd name="T22" fmla="*/ 2147483647 w 3072"/>
                  <a:gd name="T23" fmla="*/ 0 h 1332"/>
                  <a:gd name="T24" fmla="*/ 2147483647 w 3072"/>
                  <a:gd name="T25" fmla="*/ 2147483647 h 1332"/>
                  <a:gd name="T26" fmla="*/ 2147483647 w 3072"/>
                  <a:gd name="T27" fmla="*/ 2147483647 h 1332"/>
                  <a:gd name="T28" fmla="*/ 2147483647 w 3072"/>
                  <a:gd name="T29" fmla="*/ 2147483647 h 1332"/>
                  <a:gd name="T30" fmla="*/ 2147483647 w 3072"/>
                  <a:gd name="T31" fmla="*/ 2147483647 h 1332"/>
                  <a:gd name="T32" fmla="*/ 2147483647 w 3072"/>
                  <a:gd name="T33" fmla="*/ 2147483647 h 1332"/>
                  <a:gd name="T34" fmla="*/ 2147483647 w 3072"/>
                  <a:gd name="T35" fmla="*/ 2147483647 h 1332"/>
                  <a:gd name="T36" fmla="*/ 2147483647 w 3072"/>
                  <a:gd name="T37" fmla="*/ 2147483647 h 1332"/>
                  <a:gd name="T38" fmla="*/ 2147483647 w 3072"/>
                  <a:gd name="T39" fmla="*/ 2147483647 h 1332"/>
                  <a:gd name="T40" fmla="*/ 2147483647 w 3072"/>
                  <a:gd name="T41" fmla="*/ 2147483647 h 1332"/>
                  <a:gd name="T42" fmla="*/ 2147483647 w 3072"/>
                  <a:gd name="T43" fmla="*/ 2147483647 h 1332"/>
                  <a:gd name="T44" fmla="*/ 2147483647 w 3072"/>
                  <a:gd name="T45" fmla="*/ 2147483647 h 1332"/>
                  <a:gd name="T46" fmla="*/ 2147483647 w 3072"/>
                  <a:gd name="T47" fmla="*/ 2147483647 h 1332"/>
                  <a:gd name="T48" fmla="*/ 2147483647 w 3072"/>
                  <a:gd name="T49" fmla="*/ 2147483647 h 1332"/>
                  <a:gd name="T50" fmla="*/ 2147483647 w 3072"/>
                  <a:gd name="T51" fmla="*/ 2147483647 h 1332"/>
                  <a:gd name="T52" fmla="*/ 2147483647 w 3072"/>
                  <a:gd name="T53" fmla="*/ 2147483647 h 1332"/>
                  <a:gd name="T54" fmla="*/ 2147483647 w 3072"/>
                  <a:gd name="T55" fmla="*/ 2147483647 h 1332"/>
                  <a:gd name="T56" fmla="*/ 2147483647 w 3072"/>
                  <a:gd name="T57" fmla="*/ 2147483647 h 1332"/>
                  <a:gd name="T58" fmla="*/ 2147483647 w 3072"/>
                  <a:gd name="T59" fmla="*/ 2147483647 h 1332"/>
                  <a:gd name="T60" fmla="*/ 2147483647 w 3072"/>
                  <a:gd name="T61" fmla="*/ 2147483647 h 1332"/>
                  <a:gd name="T62" fmla="*/ 2147483647 w 3072"/>
                  <a:gd name="T63" fmla="*/ 2147483647 h 1332"/>
                  <a:gd name="T64" fmla="*/ 2147483647 w 3072"/>
                  <a:gd name="T65" fmla="*/ 2147483647 h 1332"/>
                  <a:gd name="T66" fmla="*/ 2147483647 w 3072"/>
                  <a:gd name="T67" fmla="*/ 2147483647 h 1332"/>
                  <a:gd name="T68" fmla="*/ 2147483647 w 3072"/>
                  <a:gd name="T69" fmla="*/ 2147483647 h 1332"/>
                  <a:gd name="T70" fmla="*/ 2147483647 w 3072"/>
                  <a:gd name="T71" fmla="*/ 2147483647 h 1332"/>
                  <a:gd name="T72" fmla="*/ 2147483647 w 3072"/>
                  <a:gd name="T73" fmla="*/ 2147483647 h 1332"/>
                  <a:gd name="T74" fmla="*/ 2147483647 w 3072"/>
                  <a:gd name="T75" fmla="*/ 2147483647 h 1332"/>
                  <a:gd name="T76" fmla="*/ 2147483647 w 3072"/>
                  <a:gd name="T77" fmla="*/ 2147483647 h 1332"/>
                  <a:gd name="T78" fmla="*/ 2147483647 w 3072"/>
                  <a:gd name="T79" fmla="*/ 2147483647 h 1332"/>
                  <a:gd name="T80" fmla="*/ 2147483647 w 3072"/>
                  <a:gd name="T81" fmla="*/ 2147483647 h 1332"/>
                  <a:gd name="T82" fmla="*/ 2147483647 w 3072"/>
                  <a:gd name="T83" fmla="*/ 2147483647 h 1332"/>
                  <a:gd name="T84" fmla="*/ 2147483647 w 3072"/>
                  <a:gd name="T85" fmla="*/ 2147483647 h 1332"/>
                  <a:gd name="T86" fmla="*/ 2147483647 w 3072"/>
                  <a:gd name="T87" fmla="*/ 2147483647 h 1332"/>
                  <a:gd name="T88" fmla="*/ 2147483647 w 3072"/>
                  <a:gd name="T89" fmla="*/ 2147483647 h 1332"/>
                  <a:gd name="T90" fmla="*/ 2147483647 w 3072"/>
                  <a:gd name="T91" fmla="*/ 2147483647 h 1332"/>
                  <a:gd name="T92" fmla="*/ 2147483647 w 3072"/>
                  <a:gd name="T93" fmla="*/ 2147483647 h 1332"/>
                  <a:gd name="T94" fmla="*/ 2147483647 w 3072"/>
                  <a:gd name="T95" fmla="*/ 2147483647 h 1332"/>
                  <a:gd name="T96" fmla="*/ 2147483647 w 3072"/>
                  <a:gd name="T97" fmla="*/ 2147483647 h 1332"/>
                  <a:gd name="T98" fmla="*/ 2147483647 w 3072"/>
                  <a:gd name="T99" fmla="*/ 2147483647 h 1332"/>
                  <a:gd name="T100" fmla="*/ 2147483647 w 3072"/>
                  <a:gd name="T101" fmla="*/ 2147483647 h 1332"/>
                  <a:gd name="T102" fmla="*/ 2147483647 w 3072"/>
                  <a:gd name="T103" fmla="*/ 2147483647 h 1332"/>
                  <a:gd name="T104" fmla="*/ 2147483647 w 3072"/>
                  <a:gd name="T105" fmla="*/ 2147483647 h 1332"/>
                  <a:gd name="T106" fmla="*/ 2147483647 w 3072"/>
                  <a:gd name="T107" fmla="*/ 2147483647 h 1332"/>
                  <a:gd name="T108" fmla="*/ 2147483647 w 3072"/>
                  <a:gd name="T109" fmla="*/ 2147483647 h 1332"/>
                  <a:gd name="T110" fmla="*/ 2147483647 w 3072"/>
                  <a:gd name="T111" fmla="*/ 2147483647 h 1332"/>
                  <a:gd name="T112" fmla="*/ 2147483647 w 3072"/>
                  <a:gd name="T113" fmla="*/ 2147483647 h 1332"/>
                  <a:gd name="T114" fmla="*/ 2147483647 w 3072"/>
                  <a:gd name="T115" fmla="*/ 2147483647 h 1332"/>
                  <a:gd name="T116" fmla="*/ 2147483647 w 3072"/>
                  <a:gd name="T117" fmla="*/ 2147483647 h 1332"/>
                  <a:gd name="T118" fmla="*/ 2147483647 w 3072"/>
                  <a:gd name="T119" fmla="*/ 2147483647 h 1332"/>
                  <a:gd name="T120" fmla="*/ 2147483647 w 3072"/>
                  <a:gd name="T121" fmla="*/ 2147483647 h 133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072"/>
                  <a:gd name="T184" fmla="*/ 0 h 1332"/>
                  <a:gd name="T185" fmla="*/ 3072 w 3072"/>
                  <a:gd name="T186" fmla="*/ 1332 h 133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072" h="1332">
                    <a:moveTo>
                      <a:pt x="2454" y="930"/>
                    </a:moveTo>
                    <a:lnTo>
                      <a:pt x="2418" y="966"/>
                    </a:lnTo>
                    <a:lnTo>
                      <a:pt x="2400" y="1002"/>
                    </a:lnTo>
                    <a:lnTo>
                      <a:pt x="2412" y="1002"/>
                    </a:lnTo>
                    <a:lnTo>
                      <a:pt x="2448" y="984"/>
                    </a:lnTo>
                    <a:lnTo>
                      <a:pt x="2460" y="972"/>
                    </a:lnTo>
                    <a:lnTo>
                      <a:pt x="2460" y="954"/>
                    </a:lnTo>
                    <a:lnTo>
                      <a:pt x="2472" y="942"/>
                    </a:lnTo>
                    <a:lnTo>
                      <a:pt x="2460" y="930"/>
                    </a:lnTo>
                    <a:lnTo>
                      <a:pt x="2454" y="930"/>
                    </a:lnTo>
                    <a:close/>
                    <a:moveTo>
                      <a:pt x="2400" y="930"/>
                    </a:moveTo>
                    <a:lnTo>
                      <a:pt x="2388" y="930"/>
                    </a:lnTo>
                    <a:lnTo>
                      <a:pt x="2376" y="936"/>
                    </a:lnTo>
                    <a:lnTo>
                      <a:pt x="2364" y="948"/>
                    </a:lnTo>
                    <a:lnTo>
                      <a:pt x="2364" y="954"/>
                    </a:lnTo>
                    <a:lnTo>
                      <a:pt x="2370" y="966"/>
                    </a:lnTo>
                    <a:lnTo>
                      <a:pt x="2376" y="972"/>
                    </a:lnTo>
                    <a:lnTo>
                      <a:pt x="2406" y="972"/>
                    </a:lnTo>
                    <a:lnTo>
                      <a:pt x="2412" y="960"/>
                    </a:lnTo>
                    <a:lnTo>
                      <a:pt x="2418" y="954"/>
                    </a:lnTo>
                    <a:lnTo>
                      <a:pt x="2418" y="942"/>
                    </a:lnTo>
                    <a:lnTo>
                      <a:pt x="2406" y="936"/>
                    </a:lnTo>
                    <a:lnTo>
                      <a:pt x="2400" y="930"/>
                    </a:lnTo>
                    <a:close/>
                    <a:moveTo>
                      <a:pt x="2316" y="1188"/>
                    </a:moveTo>
                    <a:lnTo>
                      <a:pt x="2328" y="1188"/>
                    </a:lnTo>
                    <a:lnTo>
                      <a:pt x="2340" y="1152"/>
                    </a:lnTo>
                    <a:lnTo>
                      <a:pt x="2322" y="1158"/>
                    </a:lnTo>
                    <a:lnTo>
                      <a:pt x="2316" y="1188"/>
                    </a:lnTo>
                    <a:close/>
                    <a:moveTo>
                      <a:pt x="2388" y="1074"/>
                    </a:moveTo>
                    <a:lnTo>
                      <a:pt x="2370" y="1086"/>
                    </a:lnTo>
                    <a:lnTo>
                      <a:pt x="2382" y="1098"/>
                    </a:lnTo>
                    <a:lnTo>
                      <a:pt x="2388" y="1098"/>
                    </a:lnTo>
                    <a:lnTo>
                      <a:pt x="2382" y="1104"/>
                    </a:lnTo>
                    <a:lnTo>
                      <a:pt x="2376" y="1104"/>
                    </a:lnTo>
                    <a:lnTo>
                      <a:pt x="2364" y="1116"/>
                    </a:lnTo>
                    <a:lnTo>
                      <a:pt x="2358" y="1116"/>
                    </a:lnTo>
                    <a:lnTo>
                      <a:pt x="2352" y="1122"/>
                    </a:lnTo>
                    <a:lnTo>
                      <a:pt x="2352" y="1152"/>
                    </a:lnTo>
                    <a:lnTo>
                      <a:pt x="2358" y="1164"/>
                    </a:lnTo>
                    <a:lnTo>
                      <a:pt x="2358" y="1188"/>
                    </a:lnTo>
                    <a:lnTo>
                      <a:pt x="2370" y="1182"/>
                    </a:lnTo>
                    <a:lnTo>
                      <a:pt x="2376" y="1170"/>
                    </a:lnTo>
                    <a:lnTo>
                      <a:pt x="2388" y="1164"/>
                    </a:lnTo>
                    <a:lnTo>
                      <a:pt x="2394" y="1158"/>
                    </a:lnTo>
                    <a:lnTo>
                      <a:pt x="2394" y="1146"/>
                    </a:lnTo>
                    <a:lnTo>
                      <a:pt x="2382" y="1134"/>
                    </a:lnTo>
                    <a:lnTo>
                      <a:pt x="2394" y="1134"/>
                    </a:lnTo>
                    <a:lnTo>
                      <a:pt x="2412" y="1116"/>
                    </a:lnTo>
                    <a:lnTo>
                      <a:pt x="2412" y="1098"/>
                    </a:lnTo>
                    <a:lnTo>
                      <a:pt x="2388" y="1074"/>
                    </a:lnTo>
                    <a:close/>
                    <a:moveTo>
                      <a:pt x="2562" y="1080"/>
                    </a:moveTo>
                    <a:lnTo>
                      <a:pt x="2550" y="1080"/>
                    </a:lnTo>
                    <a:lnTo>
                      <a:pt x="2550" y="1074"/>
                    </a:lnTo>
                    <a:lnTo>
                      <a:pt x="2544" y="1068"/>
                    </a:lnTo>
                    <a:lnTo>
                      <a:pt x="2538" y="1068"/>
                    </a:lnTo>
                    <a:lnTo>
                      <a:pt x="2532" y="1062"/>
                    </a:lnTo>
                    <a:lnTo>
                      <a:pt x="2520" y="1056"/>
                    </a:lnTo>
                    <a:lnTo>
                      <a:pt x="2514" y="1050"/>
                    </a:lnTo>
                    <a:lnTo>
                      <a:pt x="2514" y="1044"/>
                    </a:lnTo>
                    <a:lnTo>
                      <a:pt x="2520" y="1032"/>
                    </a:lnTo>
                    <a:lnTo>
                      <a:pt x="2520" y="1020"/>
                    </a:lnTo>
                    <a:lnTo>
                      <a:pt x="2526" y="1008"/>
                    </a:lnTo>
                    <a:lnTo>
                      <a:pt x="2532" y="1002"/>
                    </a:lnTo>
                    <a:lnTo>
                      <a:pt x="2532" y="960"/>
                    </a:lnTo>
                    <a:lnTo>
                      <a:pt x="2550" y="924"/>
                    </a:lnTo>
                    <a:lnTo>
                      <a:pt x="2550" y="906"/>
                    </a:lnTo>
                    <a:lnTo>
                      <a:pt x="2544" y="894"/>
                    </a:lnTo>
                    <a:lnTo>
                      <a:pt x="2526" y="876"/>
                    </a:lnTo>
                    <a:lnTo>
                      <a:pt x="2538" y="864"/>
                    </a:lnTo>
                    <a:lnTo>
                      <a:pt x="2538" y="834"/>
                    </a:lnTo>
                    <a:lnTo>
                      <a:pt x="2544" y="828"/>
                    </a:lnTo>
                    <a:lnTo>
                      <a:pt x="2550" y="828"/>
                    </a:lnTo>
                    <a:lnTo>
                      <a:pt x="2556" y="822"/>
                    </a:lnTo>
                    <a:lnTo>
                      <a:pt x="2550" y="816"/>
                    </a:lnTo>
                    <a:lnTo>
                      <a:pt x="2532" y="810"/>
                    </a:lnTo>
                    <a:lnTo>
                      <a:pt x="2520" y="810"/>
                    </a:lnTo>
                    <a:lnTo>
                      <a:pt x="2502" y="816"/>
                    </a:lnTo>
                    <a:lnTo>
                      <a:pt x="2490" y="816"/>
                    </a:lnTo>
                    <a:lnTo>
                      <a:pt x="2484" y="822"/>
                    </a:lnTo>
                    <a:lnTo>
                      <a:pt x="2478" y="822"/>
                    </a:lnTo>
                    <a:lnTo>
                      <a:pt x="2478" y="834"/>
                    </a:lnTo>
                    <a:lnTo>
                      <a:pt x="2460" y="834"/>
                    </a:lnTo>
                    <a:lnTo>
                      <a:pt x="2454" y="840"/>
                    </a:lnTo>
                    <a:lnTo>
                      <a:pt x="2442" y="846"/>
                    </a:lnTo>
                    <a:lnTo>
                      <a:pt x="2430" y="846"/>
                    </a:lnTo>
                    <a:lnTo>
                      <a:pt x="2418" y="852"/>
                    </a:lnTo>
                    <a:lnTo>
                      <a:pt x="2406" y="852"/>
                    </a:lnTo>
                    <a:lnTo>
                      <a:pt x="2400" y="858"/>
                    </a:lnTo>
                    <a:lnTo>
                      <a:pt x="2394" y="858"/>
                    </a:lnTo>
                    <a:lnTo>
                      <a:pt x="2388" y="864"/>
                    </a:lnTo>
                    <a:lnTo>
                      <a:pt x="2376" y="870"/>
                    </a:lnTo>
                    <a:lnTo>
                      <a:pt x="2370" y="876"/>
                    </a:lnTo>
                    <a:lnTo>
                      <a:pt x="2364" y="876"/>
                    </a:lnTo>
                    <a:lnTo>
                      <a:pt x="2364" y="864"/>
                    </a:lnTo>
                    <a:lnTo>
                      <a:pt x="2382" y="846"/>
                    </a:lnTo>
                    <a:lnTo>
                      <a:pt x="2376" y="840"/>
                    </a:lnTo>
                    <a:lnTo>
                      <a:pt x="2364" y="834"/>
                    </a:lnTo>
                    <a:lnTo>
                      <a:pt x="2358" y="828"/>
                    </a:lnTo>
                    <a:lnTo>
                      <a:pt x="2358" y="810"/>
                    </a:lnTo>
                    <a:lnTo>
                      <a:pt x="2352" y="798"/>
                    </a:lnTo>
                    <a:lnTo>
                      <a:pt x="2352" y="792"/>
                    </a:lnTo>
                    <a:lnTo>
                      <a:pt x="2376" y="768"/>
                    </a:lnTo>
                    <a:lnTo>
                      <a:pt x="2340" y="768"/>
                    </a:lnTo>
                    <a:lnTo>
                      <a:pt x="2328" y="780"/>
                    </a:lnTo>
                    <a:lnTo>
                      <a:pt x="2274" y="780"/>
                    </a:lnTo>
                    <a:lnTo>
                      <a:pt x="2274" y="768"/>
                    </a:lnTo>
                    <a:lnTo>
                      <a:pt x="2280" y="756"/>
                    </a:lnTo>
                    <a:lnTo>
                      <a:pt x="2292" y="750"/>
                    </a:lnTo>
                    <a:lnTo>
                      <a:pt x="2298" y="744"/>
                    </a:lnTo>
                    <a:lnTo>
                      <a:pt x="3072" y="108"/>
                    </a:lnTo>
                    <a:lnTo>
                      <a:pt x="3054" y="108"/>
                    </a:lnTo>
                    <a:lnTo>
                      <a:pt x="3054" y="102"/>
                    </a:lnTo>
                    <a:lnTo>
                      <a:pt x="3048" y="90"/>
                    </a:lnTo>
                    <a:lnTo>
                      <a:pt x="3036" y="84"/>
                    </a:lnTo>
                    <a:lnTo>
                      <a:pt x="3030" y="78"/>
                    </a:lnTo>
                    <a:lnTo>
                      <a:pt x="3012" y="78"/>
                    </a:lnTo>
                    <a:lnTo>
                      <a:pt x="2988" y="84"/>
                    </a:lnTo>
                    <a:lnTo>
                      <a:pt x="2964" y="84"/>
                    </a:lnTo>
                    <a:lnTo>
                      <a:pt x="2928" y="96"/>
                    </a:lnTo>
                    <a:lnTo>
                      <a:pt x="2916" y="96"/>
                    </a:lnTo>
                    <a:lnTo>
                      <a:pt x="2892" y="84"/>
                    </a:lnTo>
                    <a:lnTo>
                      <a:pt x="2886" y="78"/>
                    </a:lnTo>
                    <a:lnTo>
                      <a:pt x="2874" y="72"/>
                    </a:lnTo>
                    <a:lnTo>
                      <a:pt x="2784" y="72"/>
                    </a:lnTo>
                    <a:lnTo>
                      <a:pt x="2772" y="66"/>
                    </a:lnTo>
                    <a:lnTo>
                      <a:pt x="2766" y="60"/>
                    </a:lnTo>
                    <a:lnTo>
                      <a:pt x="2748" y="60"/>
                    </a:lnTo>
                    <a:lnTo>
                      <a:pt x="2736" y="54"/>
                    </a:lnTo>
                    <a:lnTo>
                      <a:pt x="2598" y="54"/>
                    </a:lnTo>
                    <a:lnTo>
                      <a:pt x="2598" y="42"/>
                    </a:lnTo>
                    <a:lnTo>
                      <a:pt x="2604" y="36"/>
                    </a:lnTo>
                    <a:lnTo>
                      <a:pt x="2592" y="36"/>
                    </a:lnTo>
                    <a:lnTo>
                      <a:pt x="2574" y="30"/>
                    </a:lnTo>
                    <a:lnTo>
                      <a:pt x="2562" y="30"/>
                    </a:lnTo>
                    <a:lnTo>
                      <a:pt x="2550" y="24"/>
                    </a:lnTo>
                    <a:lnTo>
                      <a:pt x="2532" y="24"/>
                    </a:lnTo>
                    <a:lnTo>
                      <a:pt x="2520" y="30"/>
                    </a:lnTo>
                    <a:lnTo>
                      <a:pt x="2496" y="30"/>
                    </a:lnTo>
                    <a:lnTo>
                      <a:pt x="2490" y="36"/>
                    </a:lnTo>
                    <a:lnTo>
                      <a:pt x="2484" y="36"/>
                    </a:lnTo>
                    <a:lnTo>
                      <a:pt x="2514" y="0"/>
                    </a:lnTo>
                    <a:lnTo>
                      <a:pt x="2430" y="36"/>
                    </a:lnTo>
                    <a:lnTo>
                      <a:pt x="2460" y="0"/>
                    </a:lnTo>
                    <a:lnTo>
                      <a:pt x="2430" y="0"/>
                    </a:lnTo>
                    <a:lnTo>
                      <a:pt x="2418" y="6"/>
                    </a:lnTo>
                    <a:lnTo>
                      <a:pt x="2412" y="12"/>
                    </a:lnTo>
                    <a:lnTo>
                      <a:pt x="2358" y="30"/>
                    </a:lnTo>
                    <a:lnTo>
                      <a:pt x="2232" y="30"/>
                    </a:lnTo>
                    <a:lnTo>
                      <a:pt x="2214" y="36"/>
                    </a:lnTo>
                    <a:lnTo>
                      <a:pt x="2208" y="42"/>
                    </a:lnTo>
                    <a:lnTo>
                      <a:pt x="2184" y="54"/>
                    </a:lnTo>
                    <a:lnTo>
                      <a:pt x="2172" y="54"/>
                    </a:lnTo>
                    <a:lnTo>
                      <a:pt x="2166" y="60"/>
                    </a:lnTo>
                    <a:lnTo>
                      <a:pt x="2046" y="60"/>
                    </a:lnTo>
                    <a:lnTo>
                      <a:pt x="2004" y="72"/>
                    </a:lnTo>
                    <a:lnTo>
                      <a:pt x="1956" y="102"/>
                    </a:lnTo>
                    <a:lnTo>
                      <a:pt x="1902" y="132"/>
                    </a:lnTo>
                    <a:lnTo>
                      <a:pt x="1854" y="144"/>
                    </a:lnTo>
                    <a:lnTo>
                      <a:pt x="1758" y="156"/>
                    </a:lnTo>
                    <a:lnTo>
                      <a:pt x="1722" y="162"/>
                    </a:lnTo>
                    <a:lnTo>
                      <a:pt x="1704" y="162"/>
                    </a:lnTo>
                    <a:lnTo>
                      <a:pt x="1698" y="168"/>
                    </a:lnTo>
                    <a:lnTo>
                      <a:pt x="1644" y="186"/>
                    </a:lnTo>
                    <a:lnTo>
                      <a:pt x="1632" y="192"/>
                    </a:lnTo>
                    <a:lnTo>
                      <a:pt x="1620" y="192"/>
                    </a:lnTo>
                    <a:lnTo>
                      <a:pt x="1620" y="198"/>
                    </a:lnTo>
                    <a:lnTo>
                      <a:pt x="1626" y="204"/>
                    </a:lnTo>
                    <a:lnTo>
                      <a:pt x="1638" y="210"/>
                    </a:lnTo>
                    <a:lnTo>
                      <a:pt x="1650" y="222"/>
                    </a:lnTo>
                    <a:lnTo>
                      <a:pt x="1656" y="222"/>
                    </a:lnTo>
                    <a:lnTo>
                      <a:pt x="1662" y="234"/>
                    </a:lnTo>
                    <a:lnTo>
                      <a:pt x="1662" y="240"/>
                    </a:lnTo>
                    <a:lnTo>
                      <a:pt x="1668" y="252"/>
                    </a:lnTo>
                    <a:lnTo>
                      <a:pt x="1668" y="264"/>
                    </a:lnTo>
                    <a:lnTo>
                      <a:pt x="1662" y="264"/>
                    </a:lnTo>
                    <a:lnTo>
                      <a:pt x="1650" y="270"/>
                    </a:lnTo>
                    <a:lnTo>
                      <a:pt x="1644" y="282"/>
                    </a:lnTo>
                    <a:lnTo>
                      <a:pt x="1734" y="282"/>
                    </a:lnTo>
                    <a:lnTo>
                      <a:pt x="1704" y="318"/>
                    </a:lnTo>
                    <a:lnTo>
                      <a:pt x="1770" y="318"/>
                    </a:lnTo>
                    <a:lnTo>
                      <a:pt x="1764" y="336"/>
                    </a:lnTo>
                    <a:lnTo>
                      <a:pt x="1710" y="336"/>
                    </a:lnTo>
                    <a:lnTo>
                      <a:pt x="1698" y="348"/>
                    </a:lnTo>
                    <a:lnTo>
                      <a:pt x="1632" y="348"/>
                    </a:lnTo>
                    <a:lnTo>
                      <a:pt x="1614" y="354"/>
                    </a:lnTo>
                    <a:lnTo>
                      <a:pt x="1560" y="354"/>
                    </a:lnTo>
                    <a:lnTo>
                      <a:pt x="1554" y="348"/>
                    </a:lnTo>
                    <a:lnTo>
                      <a:pt x="1548" y="348"/>
                    </a:lnTo>
                    <a:lnTo>
                      <a:pt x="1554" y="342"/>
                    </a:lnTo>
                    <a:lnTo>
                      <a:pt x="1560" y="342"/>
                    </a:lnTo>
                    <a:lnTo>
                      <a:pt x="1572" y="330"/>
                    </a:lnTo>
                    <a:lnTo>
                      <a:pt x="1566" y="324"/>
                    </a:lnTo>
                    <a:lnTo>
                      <a:pt x="1458" y="324"/>
                    </a:lnTo>
                    <a:lnTo>
                      <a:pt x="1452" y="330"/>
                    </a:lnTo>
                    <a:lnTo>
                      <a:pt x="1452" y="348"/>
                    </a:lnTo>
                    <a:lnTo>
                      <a:pt x="1434" y="348"/>
                    </a:lnTo>
                    <a:lnTo>
                      <a:pt x="1422" y="354"/>
                    </a:lnTo>
                    <a:lnTo>
                      <a:pt x="1404" y="354"/>
                    </a:lnTo>
                    <a:lnTo>
                      <a:pt x="1386" y="360"/>
                    </a:lnTo>
                    <a:lnTo>
                      <a:pt x="1338" y="360"/>
                    </a:lnTo>
                    <a:lnTo>
                      <a:pt x="1308" y="366"/>
                    </a:lnTo>
                    <a:lnTo>
                      <a:pt x="1254" y="384"/>
                    </a:lnTo>
                    <a:lnTo>
                      <a:pt x="1254" y="390"/>
                    </a:lnTo>
                    <a:lnTo>
                      <a:pt x="1272" y="396"/>
                    </a:lnTo>
                    <a:lnTo>
                      <a:pt x="1284" y="402"/>
                    </a:lnTo>
                    <a:lnTo>
                      <a:pt x="1314" y="402"/>
                    </a:lnTo>
                    <a:lnTo>
                      <a:pt x="1272" y="420"/>
                    </a:lnTo>
                    <a:lnTo>
                      <a:pt x="1260" y="462"/>
                    </a:lnTo>
                    <a:lnTo>
                      <a:pt x="1272" y="462"/>
                    </a:lnTo>
                    <a:lnTo>
                      <a:pt x="1290" y="468"/>
                    </a:lnTo>
                    <a:lnTo>
                      <a:pt x="1338" y="468"/>
                    </a:lnTo>
                    <a:lnTo>
                      <a:pt x="1350" y="462"/>
                    </a:lnTo>
                    <a:lnTo>
                      <a:pt x="1362" y="462"/>
                    </a:lnTo>
                    <a:lnTo>
                      <a:pt x="1410" y="474"/>
                    </a:lnTo>
                    <a:lnTo>
                      <a:pt x="1422" y="456"/>
                    </a:lnTo>
                    <a:lnTo>
                      <a:pt x="1434" y="474"/>
                    </a:lnTo>
                    <a:lnTo>
                      <a:pt x="1446" y="468"/>
                    </a:lnTo>
                    <a:lnTo>
                      <a:pt x="1452" y="462"/>
                    </a:lnTo>
                    <a:lnTo>
                      <a:pt x="1476" y="450"/>
                    </a:lnTo>
                    <a:lnTo>
                      <a:pt x="1482" y="444"/>
                    </a:lnTo>
                    <a:lnTo>
                      <a:pt x="1494" y="444"/>
                    </a:lnTo>
                    <a:lnTo>
                      <a:pt x="1506" y="450"/>
                    </a:lnTo>
                    <a:lnTo>
                      <a:pt x="1524" y="450"/>
                    </a:lnTo>
                    <a:lnTo>
                      <a:pt x="1536" y="444"/>
                    </a:lnTo>
                    <a:lnTo>
                      <a:pt x="1542" y="438"/>
                    </a:lnTo>
                    <a:lnTo>
                      <a:pt x="1554" y="432"/>
                    </a:lnTo>
                    <a:lnTo>
                      <a:pt x="1560" y="432"/>
                    </a:lnTo>
                    <a:lnTo>
                      <a:pt x="1566" y="426"/>
                    </a:lnTo>
                    <a:lnTo>
                      <a:pt x="1566" y="450"/>
                    </a:lnTo>
                    <a:lnTo>
                      <a:pt x="1560" y="462"/>
                    </a:lnTo>
                    <a:lnTo>
                      <a:pt x="1554" y="468"/>
                    </a:lnTo>
                    <a:lnTo>
                      <a:pt x="1500" y="468"/>
                    </a:lnTo>
                    <a:lnTo>
                      <a:pt x="1506" y="498"/>
                    </a:lnTo>
                    <a:lnTo>
                      <a:pt x="1494" y="504"/>
                    </a:lnTo>
                    <a:lnTo>
                      <a:pt x="1488" y="516"/>
                    </a:lnTo>
                    <a:lnTo>
                      <a:pt x="1476" y="522"/>
                    </a:lnTo>
                    <a:lnTo>
                      <a:pt x="1464" y="534"/>
                    </a:lnTo>
                    <a:lnTo>
                      <a:pt x="1446" y="540"/>
                    </a:lnTo>
                    <a:lnTo>
                      <a:pt x="1380" y="540"/>
                    </a:lnTo>
                    <a:lnTo>
                      <a:pt x="1362" y="522"/>
                    </a:lnTo>
                    <a:lnTo>
                      <a:pt x="1344" y="534"/>
                    </a:lnTo>
                    <a:lnTo>
                      <a:pt x="1344" y="546"/>
                    </a:lnTo>
                    <a:lnTo>
                      <a:pt x="1338" y="546"/>
                    </a:lnTo>
                    <a:lnTo>
                      <a:pt x="1332" y="552"/>
                    </a:lnTo>
                    <a:lnTo>
                      <a:pt x="1320" y="558"/>
                    </a:lnTo>
                    <a:lnTo>
                      <a:pt x="1302" y="564"/>
                    </a:lnTo>
                    <a:lnTo>
                      <a:pt x="1290" y="570"/>
                    </a:lnTo>
                    <a:lnTo>
                      <a:pt x="1266" y="570"/>
                    </a:lnTo>
                    <a:lnTo>
                      <a:pt x="1242" y="558"/>
                    </a:lnTo>
                    <a:lnTo>
                      <a:pt x="1236" y="558"/>
                    </a:lnTo>
                    <a:lnTo>
                      <a:pt x="1140" y="606"/>
                    </a:lnTo>
                    <a:lnTo>
                      <a:pt x="1122" y="624"/>
                    </a:lnTo>
                    <a:lnTo>
                      <a:pt x="1116" y="606"/>
                    </a:lnTo>
                    <a:lnTo>
                      <a:pt x="1080" y="624"/>
                    </a:lnTo>
                    <a:lnTo>
                      <a:pt x="1068" y="624"/>
                    </a:lnTo>
                    <a:lnTo>
                      <a:pt x="1044" y="636"/>
                    </a:lnTo>
                    <a:lnTo>
                      <a:pt x="1020" y="660"/>
                    </a:lnTo>
                    <a:lnTo>
                      <a:pt x="990" y="648"/>
                    </a:lnTo>
                    <a:lnTo>
                      <a:pt x="990" y="672"/>
                    </a:lnTo>
                    <a:lnTo>
                      <a:pt x="984" y="666"/>
                    </a:lnTo>
                    <a:lnTo>
                      <a:pt x="972" y="666"/>
                    </a:lnTo>
                    <a:lnTo>
                      <a:pt x="966" y="672"/>
                    </a:lnTo>
                    <a:lnTo>
                      <a:pt x="966" y="690"/>
                    </a:lnTo>
                    <a:lnTo>
                      <a:pt x="954" y="708"/>
                    </a:lnTo>
                    <a:lnTo>
                      <a:pt x="1014" y="684"/>
                    </a:lnTo>
                    <a:lnTo>
                      <a:pt x="990" y="702"/>
                    </a:lnTo>
                    <a:lnTo>
                      <a:pt x="990" y="714"/>
                    </a:lnTo>
                    <a:lnTo>
                      <a:pt x="972" y="726"/>
                    </a:lnTo>
                    <a:lnTo>
                      <a:pt x="1026" y="726"/>
                    </a:lnTo>
                    <a:lnTo>
                      <a:pt x="1032" y="732"/>
                    </a:lnTo>
                    <a:lnTo>
                      <a:pt x="1032" y="738"/>
                    </a:lnTo>
                    <a:lnTo>
                      <a:pt x="1020" y="744"/>
                    </a:lnTo>
                    <a:lnTo>
                      <a:pt x="984" y="744"/>
                    </a:lnTo>
                    <a:lnTo>
                      <a:pt x="960" y="750"/>
                    </a:lnTo>
                    <a:lnTo>
                      <a:pt x="972" y="738"/>
                    </a:lnTo>
                    <a:lnTo>
                      <a:pt x="960" y="732"/>
                    </a:lnTo>
                    <a:lnTo>
                      <a:pt x="954" y="732"/>
                    </a:lnTo>
                    <a:lnTo>
                      <a:pt x="948" y="738"/>
                    </a:lnTo>
                    <a:lnTo>
                      <a:pt x="936" y="744"/>
                    </a:lnTo>
                    <a:lnTo>
                      <a:pt x="930" y="750"/>
                    </a:lnTo>
                    <a:lnTo>
                      <a:pt x="924" y="750"/>
                    </a:lnTo>
                    <a:lnTo>
                      <a:pt x="918" y="756"/>
                    </a:lnTo>
                    <a:lnTo>
                      <a:pt x="924" y="756"/>
                    </a:lnTo>
                    <a:lnTo>
                      <a:pt x="930" y="762"/>
                    </a:lnTo>
                    <a:lnTo>
                      <a:pt x="930" y="768"/>
                    </a:lnTo>
                    <a:lnTo>
                      <a:pt x="924" y="774"/>
                    </a:lnTo>
                    <a:lnTo>
                      <a:pt x="924" y="780"/>
                    </a:lnTo>
                    <a:lnTo>
                      <a:pt x="918" y="792"/>
                    </a:lnTo>
                    <a:lnTo>
                      <a:pt x="918" y="804"/>
                    </a:lnTo>
                    <a:lnTo>
                      <a:pt x="990" y="804"/>
                    </a:lnTo>
                    <a:lnTo>
                      <a:pt x="1038" y="774"/>
                    </a:lnTo>
                    <a:lnTo>
                      <a:pt x="1104" y="750"/>
                    </a:lnTo>
                    <a:lnTo>
                      <a:pt x="1098" y="750"/>
                    </a:lnTo>
                    <a:lnTo>
                      <a:pt x="1092" y="756"/>
                    </a:lnTo>
                    <a:lnTo>
                      <a:pt x="1080" y="762"/>
                    </a:lnTo>
                    <a:lnTo>
                      <a:pt x="1062" y="768"/>
                    </a:lnTo>
                    <a:lnTo>
                      <a:pt x="1050" y="780"/>
                    </a:lnTo>
                    <a:lnTo>
                      <a:pt x="1038" y="786"/>
                    </a:lnTo>
                    <a:lnTo>
                      <a:pt x="1026" y="798"/>
                    </a:lnTo>
                    <a:lnTo>
                      <a:pt x="1026" y="816"/>
                    </a:lnTo>
                    <a:lnTo>
                      <a:pt x="1020" y="828"/>
                    </a:lnTo>
                    <a:lnTo>
                      <a:pt x="990" y="828"/>
                    </a:lnTo>
                    <a:lnTo>
                      <a:pt x="978" y="834"/>
                    </a:lnTo>
                    <a:lnTo>
                      <a:pt x="972" y="852"/>
                    </a:lnTo>
                    <a:lnTo>
                      <a:pt x="966" y="864"/>
                    </a:lnTo>
                    <a:lnTo>
                      <a:pt x="954" y="870"/>
                    </a:lnTo>
                    <a:lnTo>
                      <a:pt x="942" y="882"/>
                    </a:lnTo>
                    <a:lnTo>
                      <a:pt x="930" y="888"/>
                    </a:lnTo>
                    <a:lnTo>
                      <a:pt x="924" y="894"/>
                    </a:lnTo>
                    <a:lnTo>
                      <a:pt x="978" y="888"/>
                    </a:lnTo>
                    <a:lnTo>
                      <a:pt x="972" y="906"/>
                    </a:lnTo>
                    <a:lnTo>
                      <a:pt x="978" y="894"/>
                    </a:lnTo>
                    <a:lnTo>
                      <a:pt x="990" y="888"/>
                    </a:lnTo>
                    <a:lnTo>
                      <a:pt x="1002" y="876"/>
                    </a:lnTo>
                    <a:lnTo>
                      <a:pt x="1026" y="864"/>
                    </a:lnTo>
                    <a:lnTo>
                      <a:pt x="1038" y="864"/>
                    </a:lnTo>
                    <a:lnTo>
                      <a:pt x="1050" y="870"/>
                    </a:lnTo>
                    <a:lnTo>
                      <a:pt x="1056" y="870"/>
                    </a:lnTo>
                    <a:lnTo>
                      <a:pt x="1056" y="876"/>
                    </a:lnTo>
                    <a:lnTo>
                      <a:pt x="1050" y="876"/>
                    </a:lnTo>
                    <a:lnTo>
                      <a:pt x="1074" y="870"/>
                    </a:lnTo>
                    <a:lnTo>
                      <a:pt x="1068" y="876"/>
                    </a:lnTo>
                    <a:lnTo>
                      <a:pt x="1068" y="906"/>
                    </a:lnTo>
                    <a:lnTo>
                      <a:pt x="1074" y="912"/>
                    </a:lnTo>
                    <a:lnTo>
                      <a:pt x="1092" y="912"/>
                    </a:lnTo>
                    <a:lnTo>
                      <a:pt x="1098" y="900"/>
                    </a:lnTo>
                    <a:lnTo>
                      <a:pt x="1110" y="894"/>
                    </a:lnTo>
                    <a:lnTo>
                      <a:pt x="1116" y="888"/>
                    </a:lnTo>
                    <a:lnTo>
                      <a:pt x="1122" y="876"/>
                    </a:lnTo>
                    <a:lnTo>
                      <a:pt x="1164" y="858"/>
                    </a:lnTo>
                    <a:lnTo>
                      <a:pt x="1176" y="870"/>
                    </a:lnTo>
                    <a:lnTo>
                      <a:pt x="1146" y="870"/>
                    </a:lnTo>
                    <a:lnTo>
                      <a:pt x="1140" y="876"/>
                    </a:lnTo>
                    <a:lnTo>
                      <a:pt x="1140" y="882"/>
                    </a:lnTo>
                    <a:lnTo>
                      <a:pt x="1134" y="888"/>
                    </a:lnTo>
                    <a:lnTo>
                      <a:pt x="1134" y="894"/>
                    </a:lnTo>
                    <a:lnTo>
                      <a:pt x="1152" y="894"/>
                    </a:lnTo>
                    <a:lnTo>
                      <a:pt x="1164" y="888"/>
                    </a:lnTo>
                    <a:lnTo>
                      <a:pt x="1182" y="888"/>
                    </a:lnTo>
                    <a:lnTo>
                      <a:pt x="1200" y="882"/>
                    </a:lnTo>
                    <a:lnTo>
                      <a:pt x="1218" y="882"/>
                    </a:lnTo>
                    <a:lnTo>
                      <a:pt x="1224" y="876"/>
                    </a:lnTo>
                    <a:lnTo>
                      <a:pt x="1230" y="876"/>
                    </a:lnTo>
                    <a:lnTo>
                      <a:pt x="1272" y="858"/>
                    </a:lnTo>
                    <a:lnTo>
                      <a:pt x="1224" y="882"/>
                    </a:lnTo>
                    <a:lnTo>
                      <a:pt x="1224" y="894"/>
                    </a:lnTo>
                    <a:lnTo>
                      <a:pt x="1212" y="894"/>
                    </a:lnTo>
                    <a:lnTo>
                      <a:pt x="1200" y="900"/>
                    </a:lnTo>
                    <a:lnTo>
                      <a:pt x="1188" y="900"/>
                    </a:lnTo>
                    <a:lnTo>
                      <a:pt x="1176" y="906"/>
                    </a:lnTo>
                    <a:lnTo>
                      <a:pt x="1170" y="912"/>
                    </a:lnTo>
                    <a:lnTo>
                      <a:pt x="1158" y="918"/>
                    </a:lnTo>
                    <a:lnTo>
                      <a:pt x="1152" y="930"/>
                    </a:lnTo>
                    <a:lnTo>
                      <a:pt x="1122" y="930"/>
                    </a:lnTo>
                    <a:lnTo>
                      <a:pt x="1086" y="960"/>
                    </a:lnTo>
                    <a:lnTo>
                      <a:pt x="1086" y="978"/>
                    </a:lnTo>
                    <a:lnTo>
                      <a:pt x="1038" y="978"/>
                    </a:lnTo>
                    <a:lnTo>
                      <a:pt x="1032" y="984"/>
                    </a:lnTo>
                    <a:lnTo>
                      <a:pt x="1020" y="984"/>
                    </a:lnTo>
                    <a:lnTo>
                      <a:pt x="1002" y="990"/>
                    </a:lnTo>
                    <a:lnTo>
                      <a:pt x="990" y="996"/>
                    </a:lnTo>
                    <a:lnTo>
                      <a:pt x="978" y="996"/>
                    </a:lnTo>
                    <a:lnTo>
                      <a:pt x="966" y="1008"/>
                    </a:lnTo>
                    <a:lnTo>
                      <a:pt x="966" y="1020"/>
                    </a:lnTo>
                    <a:lnTo>
                      <a:pt x="960" y="1026"/>
                    </a:lnTo>
                    <a:lnTo>
                      <a:pt x="960" y="1038"/>
                    </a:lnTo>
                    <a:lnTo>
                      <a:pt x="876" y="1038"/>
                    </a:lnTo>
                    <a:lnTo>
                      <a:pt x="858" y="1044"/>
                    </a:lnTo>
                    <a:lnTo>
                      <a:pt x="828" y="1062"/>
                    </a:lnTo>
                    <a:lnTo>
                      <a:pt x="804" y="1080"/>
                    </a:lnTo>
                    <a:lnTo>
                      <a:pt x="780" y="1092"/>
                    </a:lnTo>
                    <a:lnTo>
                      <a:pt x="774" y="1098"/>
                    </a:lnTo>
                    <a:lnTo>
                      <a:pt x="750" y="1104"/>
                    </a:lnTo>
                    <a:lnTo>
                      <a:pt x="738" y="1122"/>
                    </a:lnTo>
                    <a:lnTo>
                      <a:pt x="732" y="1104"/>
                    </a:lnTo>
                    <a:lnTo>
                      <a:pt x="672" y="1104"/>
                    </a:lnTo>
                    <a:lnTo>
                      <a:pt x="648" y="1116"/>
                    </a:lnTo>
                    <a:lnTo>
                      <a:pt x="630" y="1122"/>
                    </a:lnTo>
                    <a:lnTo>
                      <a:pt x="624" y="1128"/>
                    </a:lnTo>
                    <a:lnTo>
                      <a:pt x="606" y="1128"/>
                    </a:lnTo>
                    <a:lnTo>
                      <a:pt x="606" y="1140"/>
                    </a:lnTo>
                    <a:lnTo>
                      <a:pt x="576" y="1146"/>
                    </a:lnTo>
                    <a:lnTo>
                      <a:pt x="564" y="1152"/>
                    </a:lnTo>
                    <a:lnTo>
                      <a:pt x="540" y="1152"/>
                    </a:lnTo>
                    <a:lnTo>
                      <a:pt x="516" y="1170"/>
                    </a:lnTo>
                    <a:lnTo>
                      <a:pt x="522" y="1182"/>
                    </a:lnTo>
                    <a:lnTo>
                      <a:pt x="540" y="1164"/>
                    </a:lnTo>
                    <a:lnTo>
                      <a:pt x="558" y="1176"/>
                    </a:lnTo>
                    <a:lnTo>
                      <a:pt x="582" y="1158"/>
                    </a:lnTo>
                    <a:lnTo>
                      <a:pt x="582" y="1170"/>
                    </a:lnTo>
                    <a:lnTo>
                      <a:pt x="594" y="1170"/>
                    </a:lnTo>
                    <a:lnTo>
                      <a:pt x="606" y="1164"/>
                    </a:lnTo>
                    <a:lnTo>
                      <a:pt x="618" y="1164"/>
                    </a:lnTo>
                    <a:lnTo>
                      <a:pt x="642" y="1140"/>
                    </a:lnTo>
                    <a:lnTo>
                      <a:pt x="654" y="1134"/>
                    </a:lnTo>
                    <a:lnTo>
                      <a:pt x="666" y="1122"/>
                    </a:lnTo>
                    <a:lnTo>
                      <a:pt x="684" y="1122"/>
                    </a:lnTo>
                    <a:lnTo>
                      <a:pt x="684" y="1134"/>
                    </a:lnTo>
                    <a:lnTo>
                      <a:pt x="690" y="1140"/>
                    </a:lnTo>
                    <a:lnTo>
                      <a:pt x="708" y="1140"/>
                    </a:lnTo>
                    <a:lnTo>
                      <a:pt x="732" y="1128"/>
                    </a:lnTo>
                    <a:lnTo>
                      <a:pt x="744" y="1128"/>
                    </a:lnTo>
                    <a:lnTo>
                      <a:pt x="756" y="1122"/>
                    </a:lnTo>
                    <a:lnTo>
                      <a:pt x="762" y="1116"/>
                    </a:lnTo>
                    <a:lnTo>
                      <a:pt x="768" y="1116"/>
                    </a:lnTo>
                    <a:lnTo>
                      <a:pt x="804" y="1128"/>
                    </a:lnTo>
                    <a:lnTo>
                      <a:pt x="822" y="1110"/>
                    </a:lnTo>
                    <a:lnTo>
                      <a:pt x="834" y="1110"/>
                    </a:lnTo>
                    <a:lnTo>
                      <a:pt x="852" y="1104"/>
                    </a:lnTo>
                    <a:lnTo>
                      <a:pt x="870" y="1104"/>
                    </a:lnTo>
                    <a:lnTo>
                      <a:pt x="894" y="1092"/>
                    </a:lnTo>
                    <a:lnTo>
                      <a:pt x="918" y="1068"/>
                    </a:lnTo>
                    <a:lnTo>
                      <a:pt x="942" y="1056"/>
                    </a:lnTo>
                    <a:lnTo>
                      <a:pt x="972" y="1056"/>
                    </a:lnTo>
                    <a:lnTo>
                      <a:pt x="978" y="1044"/>
                    </a:lnTo>
                    <a:lnTo>
                      <a:pt x="1014" y="1044"/>
                    </a:lnTo>
                    <a:lnTo>
                      <a:pt x="1026" y="1038"/>
                    </a:lnTo>
                    <a:lnTo>
                      <a:pt x="1032" y="1038"/>
                    </a:lnTo>
                    <a:lnTo>
                      <a:pt x="1038" y="1032"/>
                    </a:lnTo>
                    <a:lnTo>
                      <a:pt x="1050" y="1032"/>
                    </a:lnTo>
                    <a:lnTo>
                      <a:pt x="1086" y="1020"/>
                    </a:lnTo>
                    <a:lnTo>
                      <a:pt x="1110" y="1008"/>
                    </a:lnTo>
                    <a:lnTo>
                      <a:pt x="1122" y="996"/>
                    </a:lnTo>
                    <a:lnTo>
                      <a:pt x="1134" y="990"/>
                    </a:lnTo>
                    <a:lnTo>
                      <a:pt x="1140" y="984"/>
                    </a:lnTo>
                    <a:lnTo>
                      <a:pt x="1206" y="972"/>
                    </a:lnTo>
                    <a:lnTo>
                      <a:pt x="1260" y="942"/>
                    </a:lnTo>
                    <a:lnTo>
                      <a:pt x="1296" y="942"/>
                    </a:lnTo>
                    <a:lnTo>
                      <a:pt x="1314" y="936"/>
                    </a:lnTo>
                    <a:lnTo>
                      <a:pt x="1326" y="936"/>
                    </a:lnTo>
                    <a:lnTo>
                      <a:pt x="1338" y="930"/>
                    </a:lnTo>
                    <a:lnTo>
                      <a:pt x="1368" y="900"/>
                    </a:lnTo>
                    <a:lnTo>
                      <a:pt x="1380" y="900"/>
                    </a:lnTo>
                    <a:lnTo>
                      <a:pt x="1404" y="888"/>
                    </a:lnTo>
                    <a:lnTo>
                      <a:pt x="1416" y="888"/>
                    </a:lnTo>
                    <a:lnTo>
                      <a:pt x="1428" y="882"/>
                    </a:lnTo>
                    <a:lnTo>
                      <a:pt x="1434" y="876"/>
                    </a:lnTo>
                    <a:lnTo>
                      <a:pt x="1434" y="864"/>
                    </a:lnTo>
                    <a:lnTo>
                      <a:pt x="1422" y="864"/>
                    </a:lnTo>
                    <a:lnTo>
                      <a:pt x="1428" y="858"/>
                    </a:lnTo>
                    <a:lnTo>
                      <a:pt x="1452" y="846"/>
                    </a:lnTo>
                    <a:lnTo>
                      <a:pt x="1458" y="840"/>
                    </a:lnTo>
                    <a:lnTo>
                      <a:pt x="1470" y="834"/>
                    </a:lnTo>
                    <a:lnTo>
                      <a:pt x="1476" y="828"/>
                    </a:lnTo>
                    <a:lnTo>
                      <a:pt x="1488" y="828"/>
                    </a:lnTo>
                    <a:lnTo>
                      <a:pt x="1500" y="822"/>
                    </a:lnTo>
                    <a:lnTo>
                      <a:pt x="1512" y="822"/>
                    </a:lnTo>
                    <a:lnTo>
                      <a:pt x="1518" y="816"/>
                    </a:lnTo>
                    <a:lnTo>
                      <a:pt x="1524" y="816"/>
                    </a:lnTo>
                    <a:lnTo>
                      <a:pt x="1596" y="786"/>
                    </a:lnTo>
                    <a:lnTo>
                      <a:pt x="1590" y="768"/>
                    </a:lnTo>
                    <a:lnTo>
                      <a:pt x="1602" y="768"/>
                    </a:lnTo>
                    <a:lnTo>
                      <a:pt x="1608" y="774"/>
                    </a:lnTo>
                    <a:lnTo>
                      <a:pt x="1626" y="774"/>
                    </a:lnTo>
                    <a:lnTo>
                      <a:pt x="1638" y="762"/>
                    </a:lnTo>
                    <a:lnTo>
                      <a:pt x="1650" y="762"/>
                    </a:lnTo>
                    <a:lnTo>
                      <a:pt x="1674" y="750"/>
                    </a:lnTo>
                    <a:lnTo>
                      <a:pt x="1680" y="744"/>
                    </a:lnTo>
                    <a:lnTo>
                      <a:pt x="1704" y="732"/>
                    </a:lnTo>
                    <a:lnTo>
                      <a:pt x="1740" y="720"/>
                    </a:lnTo>
                    <a:lnTo>
                      <a:pt x="1770" y="708"/>
                    </a:lnTo>
                    <a:lnTo>
                      <a:pt x="1794" y="702"/>
                    </a:lnTo>
                    <a:lnTo>
                      <a:pt x="1812" y="702"/>
                    </a:lnTo>
                    <a:lnTo>
                      <a:pt x="1818" y="708"/>
                    </a:lnTo>
                    <a:lnTo>
                      <a:pt x="1842" y="720"/>
                    </a:lnTo>
                    <a:lnTo>
                      <a:pt x="1848" y="726"/>
                    </a:lnTo>
                    <a:lnTo>
                      <a:pt x="1812" y="726"/>
                    </a:lnTo>
                    <a:lnTo>
                      <a:pt x="1794" y="714"/>
                    </a:lnTo>
                    <a:lnTo>
                      <a:pt x="1758" y="738"/>
                    </a:lnTo>
                    <a:lnTo>
                      <a:pt x="1728" y="738"/>
                    </a:lnTo>
                    <a:lnTo>
                      <a:pt x="1722" y="744"/>
                    </a:lnTo>
                    <a:lnTo>
                      <a:pt x="1710" y="750"/>
                    </a:lnTo>
                    <a:lnTo>
                      <a:pt x="1704" y="762"/>
                    </a:lnTo>
                    <a:lnTo>
                      <a:pt x="1692" y="768"/>
                    </a:lnTo>
                    <a:lnTo>
                      <a:pt x="1686" y="774"/>
                    </a:lnTo>
                    <a:lnTo>
                      <a:pt x="1680" y="774"/>
                    </a:lnTo>
                    <a:lnTo>
                      <a:pt x="1668" y="780"/>
                    </a:lnTo>
                    <a:lnTo>
                      <a:pt x="1656" y="780"/>
                    </a:lnTo>
                    <a:lnTo>
                      <a:pt x="1638" y="786"/>
                    </a:lnTo>
                    <a:lnTo>
                      <a:pt x="1614" y="798"/>
                    </a:lnTo>
                    <a:lnTo>
                      <a:pt x="1614" y="804"/>
                    </a:lnTo>
                    <a:lnTo>
                      <a:pt x="1620" y="810"/>
                    </a:lnTo>
                    <a:lnTo>
                      <a:pt x="1632" y="816"/>
                    </a:lnTo>
                    <a:lnTo>
                      <a:pt x="1650" y="816"/>
                    </a:lnTo>
                    <a:lnTo>
                      <a:pt x="1644" y="816"/>
                    </a:lnTo>
                    <a:lnTo>
                      <a:pt x="1638" y="822"/>
                    </a:lnTo>
                    <a:lnTo>
                      <a:pt x="1632" y="822"/>
                    </a:lnTo>
                    <a:lnTo>
                      <a:pt x="1620" y="828"/>
                    </a:lnTo>
                    <a:lnTo>
                      <a:pt x="1572" y="828"/>
                    </a:lnTo>
                    <a:lnTo>
                      <a:pt x="1566" y="834"/>
                    </a:lnTo>
                    <a:lnTo>
                      <a:pt x="1560" y="834"/>
                    </a:lnTo>
                    <a:lnTo>
                      <a:pt x="1560" y="846"/>
                    </a:lnTo>
                    <a:lnTo>
                      <a:pt x="1572" y="858"/>
                    </a:lnTo>
                    <a:lnTo>
                      <a:pt x="1584" y="858"/>
                    </a:lnTo>
                    <a:lnTo>
                      <a:pt x="1596" y="852"/>
                    </a:lnTo>
                    <a:lnTo>
                      <a:pt x="1638" y="834"/>
                    </a:lnTo>
                    <a:lnTo>
                      <a:pt x="1680" y="810"/>
                    </a:lnTo>
                    <a:lnTo>
                      <a:pt x="1722" y="798"/>
                    </a:lnTo>
                    <a:lnTo>
                      <a:pt x="1788" y="798"/>
                    </a:lnTo>
                    <a:lnTo>
                      <a:pt x="1818" y="792"/>
                    </a:lnTo>
                    <a:lnTo>
                      <a:pt x="1824" y="786"/>
                    </a:lnTo>
                    <a:lnTo>
                      <a:pt x="1848" y="774"/>
                    </a:lnTo>
                    <a:lnTo>
                      <a:pt x="1854" y="762"/>
                    </a:lnTo>
                    <a:lnTo>
                      <a:pt x="1866" y="756"/>
                    </a:lnTo>
                    <a:lnTo>
                      <a:pt x="1872" y="750"/>
                    </a:lnTo>
                    <a:lnTo>
                      <a:pt x="1866" y="738"/>
                    </a:lnTo>
                    <a:lnTo>
                      <a:pt x="1878" y="732"/>
                    </a:lnTo>
                    <a:lnTo>
                      <a:pt x="1908" y="720"/>
                    </a:lnTo>
                    <a:lnTo>
                      <a:pt x="1944" y="714"/>
                    </a:lnTo>
                    <a:lnTo>
                      <a:pt x="1962" y="708"/>
                    </a:lnTo>
                    <a:lnTo>
                      <a:pt x="1968" y="708"/>
                    </a:lnTo>
                    <a:lnTo>
                      <a:pt x="1980" y="720"/>
                    </a:lnTo>
                    <a:lnTo>
                      <a:pt x="1980" y="726"/>
                    </a:lnTo>
                    <a:lnTo>
                      <a:pt x="2046" y="702"/>
                    </a:lnTo>
                    <a:lnTo>
                      <a:pt x="2004" y="738"/>
                    </a:lnTo>
                    <a:lnTo>
                      <a:pt x="2022" y="744"/>
                    </a:lnTo>
                    <a:lnTo>
                      <a:pt x="2022" y="762"/>
                    </a:lnTo>
                    <a:lnTo>
                      <a:pt x="2028" y="762"/>
                    </a:lnTo>
                    <a:lnTo>
                      <a:pt x="2034" y="756"/>
                    </a:lnTo>
                    <a:lnTo>
                      <a:pt x="2094" y="726"/>
                    </a:lnTo>
                    <a:lnTo>
                      <a:pt x="2082" y="732"/>
                    </a:lnTo>
                    <a:lnTo>
                      <a:pt x="2076" y="744"/>
                    </a:lnTo>
                    <a:lnTo>
                      <a:pt x="2064" y="750"/>
                    </a:lnTo>
                    <a:lnTo>
                      <a:pt x="2058" y="762"/>
                    </a:lnTo>
                    <a:lnTo>
                      <a:pt x="2046" y="774"/>
                    </a:lnTo>
                    <a:lnTo>
                      <a:pt x="2052" y="780"/>
                    </a:lnTo>
                    <a:lnTo>
                      <a:pt x="2064" y="780"/>
                    </a:lnTo>
                    <a:lnTo>
                      <a:pt x="2076" y="786"/>
                    </a:lnTo>
                    <a:lnTo>
                      <a:pt x="2106" y="786"/>
                    </a:lnTo>
                    <a:lnTo>
                      <a:pt x="2208" y="798"/>
                    </a:lnTo>
                    <a:lnTo>
                      <a:pt x="2238" y="780"/>
                    </a:lnTo>
                    <a:lnTo>
                      <a:pt x="2232" y="786"/>
                    </a:lnTo>
                    <a:lnTo>
                      <a:pt x="2232" y="810"/>
                    </a:lnTo>
                    <a:lnTo>
                      <a:pt x="2298" y="810"/>
                    </a:lnTo>
                    <a:lnTo>
                      <a:pt x="2334" y="804"/>
                    </a:lnTo>
                    <a:lnTo>
                      <a:pt x="2328" y="804"/>
                    </a:lnTo>
                    <a:lnTo>
                      <a:pt x="2322" y="810"/>
                    </a:lnTo>
                    <a:lnTo>
                      <a:pt x="2310" y="810"/>
                    </a:lnTo>
                    <a:lnTo>
                      <a:pt x="2286" y="822"/>
                    </a:lnTo>
                    <a:lnTo>
                      <a:pt x="2280" y="828"/>
                    </a:lnTo>
                    <a:lnTo>
                      <a:pt x="2280" y="834"/>
                    </a:lnTo>
                    <a:lnTo>
                      <a:pt x="2292" y="846"/>
                    </a:lnTo>
                    <a:lnTo>
                      <a:pt x="2304" y="852"/>
                    </a:lnTo>
                    <a:lnTo>
                      <a:pt x="2310" y="858"/>
                    </a:lnTo>
                    <a:lnTo>
                      <a:pt x="2310" y="882"/>
                    </a:lnTo>
                    <a:lnTo>
                      <a:pt x="2316" y="888"/>
                    </a:lnTo>
                    <a:lnTo>
                      <a:pt x="2316" y="900"/>
                    </a:lnTo>
                    <a:lnTo>
                      <a:pt x="2322" y="912"/>
                    </a:lnTo>
                    <a:lnTo>
                      <a:pt x="2358" y="912"/>
                    </a:lnTo>
                    <a:lnTo>
                      <a:pt x="2370" y="906"/>
                    </a:lnTo>
                    <a:lnTo>
                      <a:pt x="2388" y="906"/>
                    </a:lnTo>
                    <a:lnTo>
                      <a:pt x="2382" y="876"/>
                    </a:lnTo>
                    <a:lnTo>
                      <a:pt x="2400" y="870"/>
                    </a:lnTo>
                    <a:lnTo>
                      <a:pt x="2412" y="888"/>
                    </a:lnTo>
                    <a:lnTo>
                      <a:pt x="2442" y="876"/>
                    </a:lnTo>
                    <a:lnTo>
                      <a:pt x="2430" y="888"/>
                    </a:lnTo>
                    <a:lnTo>
                      <a:pt x="2430" y="900"/>
                    </a:lnTo>
                    <a:lnTo>
                      <a:pt x="2424" y="906"/>
                    </a:lnTo>
                    <a:lnTo>
                      <a:pt x="2424" y="912"/>
                    </a:lnTo>
                    <a:lnTo>
                      <a:pt x="2430" y="918"/>
                    </a:lnTo>
                    <a:lnTo>
                      <a:pt x="2436" y="918"/>
                    </a:lnTo>
                    <a:lnTo>
                      <a:pt x="2448" y="912"/>
                    </a:lnTo>
                    <a:lnTo>
                      <a:pt x="2454" y="906"/>
                    </a:lnTo>
                    <a:lnTo>
                      <a:pt x="2460" y="894"/>
                    </a:lnTo>
                    <a:lnTo>
                      <a:pt x="2466" y="888"/>
                    </a:lnTo>
                    <a:lnTo>
                      <a:pt x="2472" y="876"/>
                    </a:lnTo>
                    <a:lnTo>
                      <a:pt x="2502" y="834"/>
                    </a:lnTo>
                    <a:lnTo>
                      <a:pt x="2478" y="900"/>
                    </a:lnTo>
                    <a:lnTo>
                      <a:pt x="2484" y="924"/>
                    </a:lnTo>
                    <a:lnTo>
                      <a:pt x="2520" y="912"/>
                    </a:lnTo>
                    <a:lnTo>
                      <a:pt x="2496" y="936"/>
                    </a:lnTo>
                    <a:lnTo>
                      <a:pt x="2520" y="954"/>
                    </a:lnTo>
                    <a:lnTo>
                      <a:pt x="2502" y="954"/>
                    </a:lnTo>
                    <a:lnTo>
                      <a:pt x="2502" y="972"/>
                    </a:lnTo>
                    <a:lnTo>
                      <a:pt x="2472" y="990"/>
                    </a:lnTo>
                    <a:lnTo>
                      <a:pt x="2454" y="1002"/>
                    </a:lnTo>
                    <a:lnTo>
                      <a:pt x="2484" y="1020"/>
                    </a:lnTo>
                    <a:lnTo>
                      <a:pt x="2478" y="1050"/>
                    </a:lnTo>
                    <a:lnTo>
                      <a:pt x="2460" y="1068"/>
                    </a:lnTo>
                    <a:lnTo>
                      <a:pt x="2478" y="1080"/>
                    </a:lnTo>
                    <a:lnTo>
                      <a:pt x="2460" y="1098"/>
                    </a:lnTo>
                    <a:lnTo>
                      <a:pt x="2490" y="1098"/>
                    </a:lnTo>
                    <a:lnTo>
                      <a:pt x="2526" y="1086"/>
                    </a:lnTo>
                    <a:lnTo>
                      <a:pt x="2496" y="1122"/>
                    </a:lnTo>
                    <a:lnTo>
                      <a:pt x="2478" y="1140"/>
                    </a:lnTo>
                    <a:lnTo>
                      <a:pt x="2502" y="1146"/>
                    </a:lnTo>
                    <a:lnTo>
                      <a:pt x="2454" y="1164"/>
                    </a:lnTo>
                    <a:lnTo>
                      <a:pt x="2436" y="1176"/>
                    </a:lnTo>
                    <a:lnTo>
                      <a:pt x="2454" y="1188"/>
                    </a:lnTo>
                    <a:lnTo>
                      <a:pt x="2454" y="1200"/>
                    </a:lnTo>
                    <a:lnTo>
                      <a:pt x="2472" y="1188"/>
                    </a:lnTo>
                    <a:lnTo>
                      <a:pt x="2490" y="1182"/>
                    </a:lnTo>
                    <a:lnTo>
                      <a:pt x="2502" y="1170"/>
                    </a:lnTo>
                    <a:lnTo>
                      <a:pt x="2514" y="1164"/>
                    </a:lnTo>
                    <a:lnTo>
                      <a:pt x="2532" y="1146"/>
                    </a:lnTo>
                    <a:lnTo>
                      <a:pt x="2538" y="1134"/>
                    </a:lnTo>
                    <a:lnTo>
                      <a:pt x="2538" y="1122"/>
                    </a:lnTo>
                    <a:lnTo>
                      <a:pt x="2550" y="1116"/>
                    </a:lnTo>
                    <a:lnTo>
                      <a:pt x="2562" y="1104"/>
                    </a:lnTo>
                    <a:lnTo>
                      <a:pt x="2574" y="1098"/>
                    </a:lnTo>
                    <a:lnTo>
                      <a:pt x="2574" y="1086"/>
                    </a:lnTo>
                    <a:lnTo>
                      <a:pt x="2568" y="1080"/>
                    </a:lnTo>
                    <a:lnTo>
                      <a:pt x="2562" y="1080"/>
                    </a:lnTo>
                    <a:close/>
                    <a:moveTo>
                      <a:pt x="2394" y="1056"/>
                    </a:moveTo>
                    <a:lnTo>
                      <a:pt x="2400" y="1062"/>
                    </a:lnTo>
                    <a:lnTo>
                      <a:pt x="2418" y="1062"/>
                    </a:lnTo>
                    <a:lnTo>
                      <a:pt x="2436" y="1044"/>
                    </a:lnTo>
                    <a:lnTo>
                      <a:pt x="2460" y="1038"/>
                    </a:lnTo>
                    <a:lnTo>
                      <a:pt x="2454" y="1020"/>
                    </a:lnTo>
                    <a:lnTo>
                      <a:pt x="2430" y="1020"/>
                    </a:lnTo>
                    <a:lnTo>
                      <a:pt x="2418" y="1026"/>
                    </a:lnTo>
                    <a:lnTo>
                      <a:pt x="2412" y="1032"/>
                    </a:lnTo>
                    <a:lnTo>
                      <a:pt x="2406" y="1044"/>
                    </a:lnTo>
                    <a:lnTo>
                      <a:pt x="2394" y="1050"/>
                    </a:lnTo>
                    <a:lnTo>
                      <a:pt x="2394" y="1056"/>
                    </a:lnTo>
                    <a:close/>
                    <a:moveTo>
                      <a:pt x="2376" y="984"/>
                    </a:moveTo>
                    <a:lnTo>
                      <a:pt x="2358" y="984"/>
                    </a:lnTo>
                    <a:lnTo>
                      <a:pt x="2346" y="990"/>
                    </a:lnTo>
                    <a:lnTo>
                      <a:pt x="2334" y="1002"/>
                    </a:lnTo>
                    <a:lnTo>
                      <a:pt x="2334" y="1014"/>
                    </a:lnTo>
                    <a:lnTo>
                      <a:pt x="2322" y="1026"/>
                    </a:lnTo>
                    <a:lnTo>
                      <a:pt x="2322" y="1044"/>
                    </a:lnTo>
                    <a:lnTo>
                      <a:pt x="2310" y="1056"/>
                    </a:lnTo>
                    <a:lnTo>
                      <a:pt x="2310" y="1074"/>
                    </a:lnTo>
                    <a:lnTo>
                      <a:pt x="2316" y="1080"/>
                    </a:lnTo>
                    <a:lnTo>
                      <a:pt x="2322" y="1074"/>
                    </a:lnTo>
                    <a:lnTo>
                      <a:pt x="2328" y="1062"/>
                    </a:lnTo>
                    <a:lnTo>
                      <a:pt x="2340" y="1050"/>
                    </a:lnTo>
                    <a:lnTo>
                      <a:pt x="2352" y="1044"/>
                    </a:lnTo>
                    <a:lnTo>
                      <a:pt x="2376" y="1020"/>
                    </a:lnTo>
                    <a:lnTo>
                      <a:pt x="2382" y="1008"/>
                    </a:lnTo>
                    <a:lnTo>
                      <a:pt x="2382" y="990"/>
                    </a:lnTo>
                    <a:lnTo>
                      <a:pt x="2376" y="984"/>
                    </a:lnTo>
                    <a:close/>
                    <a:moveTo>
                      <a:pt x="786" y="810"/>
                    </a:moveTo>
                    <a:lnTo>
                      <a:pt x="798" y="810"/>
                    </a:lnTo>
                    <a:lnTo>
                      <a:pt x="834" y="798"/>
                    </a:lnTo>
                    <a:lnTo>
                      <a:pt x="858" y="786"/>
                    </a:lnTo>
                    <a:lnTo>
                      <a:pt x="864" y="780"/>
                    </a:lnTo>
                    <a:lnTo>
                      <a:pt x="870" y="780"/>
                    </a:lnTo>
                    <a:lnTo>
                      <a:pt x="864" y="774"/>
                    </a:lnTo>
                    <a:lnTo>
                      <a:pt x="828" y="762"/>
                    </a:lnTo>
                    <a:lnTo>
                      <a:pt x="810" y="762"/>
                    </a:lnTo>
                    <a:lnTo>
                      <a:pt x="798" y="768"/>
                    </a:lnTo>
                    <a:lnTo>
                      <a:pt x="792" y="774"/>
                    </a:lnTo>
                    <a:lnTo>
                      <a:pt x="786" y="768"/>
                    </a:lnTo>
                    <a:lnTo>
                      <a:pt x="774" y="768"/>
                    </a:lnTo>
                    <a:lnTo>
                      <a:pt x="768" y="774"/>
                    </a:lnTo>
                    <a:lnTo>
                      <a:pt x="768" y="804"/>
                    </a:lnTo>
                    <a:lnTo>
                      <a:pt x="774" y="810"/>
                    </a:lnTo>
                    <a:lnTo>
                      <a:pt x="786" y="810"/>
                    </a:lnTo>
                    <a:close/>
                    <a:moveTo>
                      <a:pt x="0" y="1332"/>
                    </a:moveTo>
                    <a:lnTo>
                      <a:pt x="60" y="1320"/>
                    </a:lnTo>
                    <a:lnTo>
                      <a:pt x="72" y="1302"/>
                    </a:lnTo>
                    <a:lnTo>
                      <a:pt x="132" y="1296"/>
                    </a:lnTo>
                    <a:lnTo>
                      <a:pt x="114" y="1272"/>
                    </a:lnTo>
                    <a:lnTo>
                      <a:pt x="0" y="1332"/>
                    </a:lnTo>
                    <a:close/>
                    <a:moveTo>
                      <a:pt x="1362" y="954"/>
                    </a:moveTo>
                    <a:lnTo>
                      <a:pt x="1350" y="954"/>
                    </a:lnTo>
                    <a:lnTo>
                      <a:pt x="1338" y="960"/>
                    </a:lnTo>
                    <a:lnTo>
                      <a:pt x="1332" y="954"/>
                    </a:lnTo>
                    <a:lnTo>
                      <a:pt x="1314" y="954"/>
                    </a:lnTo>
                    <a:lnTo>
                      <a:pt x="1314" y="978"/>
                    </a:lnTo>
                    <a:lnTo>
                      <a:pt x="1290" y="996"/>
                    </a:lnTo>
                    <a:lnTo>
                      <a:pt x="1290" y="972"/>
                    </a:lnTo>
                    <a:lnTo>
                      <a:pt x="1278" y="966"/>
                    </a:lnTo>
                    <a:lnTo>
                      <a:pt x="1272" y="966"/>
                    </a:lnTo>
                    <a:lnTo>
                      <a:pt x="1248" y="978"/>
                    </a:lnTo>
                    <a:lnTo>
                      <a:pt x="1242" y="978"/>
                    </a:lnTo>
                    <a:lnTo>
                      <a:pt x="1230" y="990"/>
                    </a:lnTo>
                    <a:lnTo>
                      <a:pt x="1224" y="1002"/>
                    </a:lnTo>
                    <a:lnTo>
                      <a:pt x="1218" y="1008"/>
                    </a:lnTo>
                    <a:lnTo>
                      <a:pt x="1218" y="1014"/>
                    </a:lnTo>
                    <a:lnTo>
                      <a:pt x="1224" y="1014"/>
                    </a:lnTo>
                    <a:lnTo>
                      <a:pt x="1230" y="1020"/>
                    </a:lnTo>
                    <a:lnTo>
                      <a:pt x="1278" y="1020"/>
                    </a:lnTo>
                    <a:lnTo>
                      <a:pt x="1296" y="1014"/>
                    </a:lnTo>
                    <a:lnTo>
                      <a:pt x="1308" y="1014"/>
                    </a:lnTo>
                    <a:lnTo>
                      <a:pt x="1320" y="1008"/>
                    </a:lnTo>
                    <a:lnTo>
                      <a:pt x="1320" y="996"/>
                    </a:lnTo>
                    <a:lnTo>
                      <a:pt x="1350" y="990"/>
                    </a:lnTo>
                    <a:lnTo>
                      <a:pt x="1350" y="984"/>
                    </a:lnTo>
                    <a:lnTo>
                      <a:pt x="1386" y="978"/>
                    </a:lnTo>
                    <a:lnTo>
                      <a:pt x="1398" y="954"/>
                    </a:lnTo>
                    <a:lnTo>
                      <a:pt x="1380" y="960"/>
                    </a:lnTo>
                    <a:lnTo>
                      <a:pt x="1374" y="954"/>
                    </a:lnTo>
                    <a:lnTo>
                      <a:pt x="1362" y="954"/>
                    </a:lnTo>
                    <a:close/>
                    <a:moveTo>
                      <a:pt x="162" y="1290"/>
                    </a:moveTo>
                    <a:lnTo>
                      <a:pt x="204" y="1290"/>
                    </a:lnTo>
                    <a:lnTo>
                      <a:pt x="240" y="1260"/>
                    </a:lnTo>
                    <a:lnTo>
                      <a:pt x="228" y="1242"/>
                    </a:lnTo>
                    <a:lnTo>
                      <a:pt x="162" y="1290"/>
                    </a:lnTo>
                    <a:close/>
                    <a:moveTo>
                      <a:pt x="2466" y="1140"/>
                    </a:moveTo>
                    <a:lnTo>
                      <a:pt x="2472" y="1128"/>
                    </a:lnTo>
                    <a:lnTo>
                      <a:pt x="2454" y="1110"/>
                    </a:lnTo>
                    <a:lnTo>
                      <a:pt x="2448" y="1110"/>
                    </a:lnTo>
                    <a:lnTo>
                      <a:pt x="2436" y="1122"/>
                    </a:lnTo>
                    <a:lnTo>
                      <a:pt x="2430" y="1134"/>
                    </a:lnTo>
                    <a:lnTo>
                      <a:pt x="2424" y="1152"/>
                    </a:lnTo>
                    <a:lnTo>
                      <a:pt x="2418" y="1164"/>
                    </a:lnTo>
                    <a:lnTo>
                      <a:pt x="2418" y="1176"/>
                    </a:lnTo>
                    <a:lnTo>
                      <a:pt x="2436" y="1158"/>
                    </a:lnTo>
                    <a:lnTo>
                      <a:pt x="2454" y="1158"/>
                    </a:lnTo>
                    <a:lnTo>
                      <a:pt x="2460" y="1152"/>
                    </a:lnTo>
                    <a:lnTo>
                      <a:pt x="2466" y="1140"/>
                    </a:lnTo>
                    <a:close/>
                    <a:moveTo>
                      <a:pt x="1428" y="912"/>
                    </a:moveTo>
                    <a:lnTo>
                      <a:pt x="1404" y="924"/>
                    </a:lnTo>
                    <a:lnTo>
                      <a:pt x="1386" y="942"/>
                    </a:lnTo>
                    <a:lnTo>
                      <a:pt x="1386" y="948"/>
                    </a:lnTo>
                    <a:lnTo>
                      <a:pt x="1398" y="954"/>
                    </a:lnTo>
                    <a:lnTo>
                      <a:pt x="1410" y="954"/>
                    </a:lnTo>
                    <a:lnTo>
                      <a:pt x="1422" y="948"/>
                    </a:lnTo>
                    <a:lnTo>
                      <a:pt x="1428" y="948"/>
                    </a:lnTo>
                    <a:lnTo>
                      <a:pt x="1440" y="942"/>
                    </a:lnTo>
                    <a:lnTo>
                      <a:pt x="1446" y="930"/>
                    </a:lnTo>
                    <a:lnTo>
                      <a:pt x="1470" y="930"/>
                    </a:lnTo>
                    <a:lnTo>
                      <a:pt x="1470" y="924"/>
                    </a:lnTo>
                    <a:lnTo>
                      <a:pt x="1458" y="912"/>
                    </a:lnTo>
                    <a:lnTo>
                      <a:pt x="1452" y="912"/>
                    </a:lnTo>
                    <a:lnTo>
                      <a:pt x="1440" y="906"/>
                    </a:lnTo>
                    <a:lnTo>
                      <a:pt x="1428" y="912"/>
                    </a:lnTo>
                    <a:close/>
                    <a:moveTo>
                      <a:pt x="498" y="1164"/>
                    </a:moveTo>
                    <a:lnTo>
                      <a:pt x="486" y="1164"/>
                    </a:lnTo>
                    <a:lnTo>
                      <a:pt x="474" y="1170"/>
                    </a:lnTo>
                    <a:lnTo>
                      <a:pt x="462" y="1170"/>
                    </a:lnTo>
                    <a:lnTo>
                      <a:pt x="450" y="1176"/>
                    </a:lnTo>
                    <a:lnTo>
                      <a:pt x="444" y="1182"/>
                    </a:lnTo>
                    <a:lnTo>
                      <a:pt x="432" y="1182"/>
                    </a:lnTo>
                    <a:lnTo>
                      <a:pt x="426" y="1188"/>
                    </a:lnTo>
                    <a:lnTo>
                      <a:pt x="414" y="1188"/>
                    </a:lnTo>
                    <a:lnTo>
                      <a:pt x="390" y="1200"/>
                    </a:lnTo>
                    <a:lnTo>
                      <a:pt x="384" y="1206"/>
                    </a:lnTo>
                    <a:lnTo>
                      <a:pt x="384" y="1218"/>
                    </a:lnTo>
                    <a:lnTo>
                      <a:pt x="402" y="1218"/>
                    </a:lnTo>
                    <a:lnTo>
                      <a:pt x="420" y="1212"/>
                    </a:lnTo>
                    <a:lnTo>
                      <a:pt x="432" y="1206"/>
                    </a:lnTo>
                    <a:lnTo>
                      <a:pt x="504" y="1206"/>
                    </a:lnTo>
                    <a:lnTo>
                      <a:pt x="510" y="1200"/>
                    </a:lnTo>
                    <a:lnTo>
                      <a:pt x="510" y="1176"/>
                    </a:lnTo>
                    <a:lnTo>
                      <a:pt x="498" y="1164"/>
                    </a:lnTo>
                    <a:close/>
                    <a:moveTo>
                      <a:pt x="330" y="1242"/>
                    </a:moveTo>
                    <a:lnTo>
                      <a:pt x="330" y="1224"/>
                    </a:lnTo>
                    <a:lnTo>
                      <a:pt x="276" y="1242"/>
                    </a:lnTo>
                    <a:lnTo>
                      <a:pt x="330" y="124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2" name="US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48276D9-FE2E-492E-9F39-895118D15E3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957255" y="2739139"/>
                <a:ext cx="1734946" cy="871535"/>
              </a:xfrm>
              <a:custGeom>
                <a:avLst/>
                <a:gdLst>
                  <a:gd name="T0" fmla="*/ 2147483647 w 3918"/>
                  <a:gd name="T1" fmla="*/ 2147483647 h 1944"/>
                  <a:gd name="T2" fmla="*/ 2147483647 w 3918"/>
                  <a:gd name="T3" fmla="*/ 2147483647 h 1944"/>
                  <a:gd name="T4" fmla="*/ 2147483647 w 3918"/>
                  <a:gd name="T5" fmla="*/ 2147483647 h 1944"/>
                  <a:gd name="T6" fmla="*/ 2147483647 w 3918"/>
                  <a:gd name="T7" fmla="*/ 2147483647 h 1944"/>
                  <a:gd name="T8" fmla="*/ 2147483647 w 3918"/>
                  <a:gd name="T9" fmla="*/ 2147483647 h 1944"/>
                  <a:gd name="T10" fmla="*/ 2147483647 w 3918"/>
                  <a:gd name="T11" fmla="*/ 2147483647 h 1944"/>
                  <a:gd name="T12" fmla="*/ 2147483647 w 3918"/>
                  <a:gd name="T13" fmla="*/ 2147483647 h 1944"/>
                  <a:gd name="T14" fmla="*/ 2147483647 w 3918"/>
                  <a:gd name="T15" fmla="*/ 2147483647 h 1944"/>
                  <a:gd name="T16" fmla="*/ 2147483647 w 3918"/>
                  <a:gd name="T17" fmla="*/ 2147483647 h 1944"/>
                  <a:gd name="T18" fmla="*/ 2147483647 w 3918"/>
                  <a:gd name="T19" fmla="*/ 2147483647 h 1944"/>
                  <a:gd name="T20" fmla="*/ 2147483647 w 3918"/>
                  <a:gd name="T21" fmla="*/ 2147483647 h 1944"/>
                  <a:gd name="T22" fmla="*/ 2147483647 w 3918"/>
                  <a:gd name="T23" fmla="*/ 2147483647 h 1944"/>
                  <a:gd name="T24" fmla="*/ 2147483647 w 3918"/>
                  <a:gd name="T25" fmla="*/ 2147483647 h 1944"/>
                  <a:gd name="T26" fmla="*/ 2147483647 w 3918"/>
                  <a:gd name="T27" fmla="*/ 2147483647 h 1944"/>
                  <a:gd name="T28" fmla="*/ 2147483647 w 3918"/>
                  <a:gd name="T29" fmla="*/ 2147483647 h 1944"/>
                  <a:gd name="T30" fmla="*/ 2147483647 w 3918"/>
                  <a:gd name="T31" fmla="*/ 2147483647 h 1944"/>
                  <a:gd name="T32" fmla="*/ 2147483647 w 3918"/>
                  <a:gd name="T33" fmla="*/ 2147483647 h 1944"/>
                  <a:gd name="T34" fmla="*/ 2147483647 w 3918"/>
                  <a:gd name="T35" fmla="*/ 2147483647 h 1944"/>
                  <a:gd name="T36" fmla="*/ 2147483647 w 3918"/>
                  <a:gd name="T37" fmla="*/ 2147483647 h 1944"/>
                  <a:gd name="T38" fmla="*/ 2147483647 w 3918"/>
                  <a:gd name="T39" fmla="*/ 2147483647 h 1944"/>
                  <a:gd name="T40" fmla="*/ 2147483647 w 3918"/>
                  <a:gd name="T41" fmla="*/ 2147483647 h 1944"/>
                  <a:gd name="T42" fmla="*/ 2147483647 w 3918"/>
                  <a:gd name="T43" fmla="*/ 2147483647 h 1944"/>
                  <a:gd name="T44" fmla="*/ 2147483647 w 3918"/>
                  <a:gd name="T45" fmla="*/ 2147483647 h 1944"/>
                  <a:gd name="T46" fmla="*/ 2147483647 w 3918"/>
                  <a:gd name="T47" fmla="*/ 2147483647 h 1944"/>
                  <a:gd name="T48" fmla="*/ 2147483647 w 3918"/>
                  <a:gd name="T49" fmla="*/ 2147483647 h 1944"/>
                  <a:gd name="T50" fmla="*/ 2147483647 w 3918"/>
                  <a:gd name="T51" fmla="*/ 2147483647 h 1944"/>
                  <a:gd name="T52" fmla="*/ 2147483647 w 3918"/>
                  <a:gd name="T53" fmla="*/ 2147483647 h 1944"/>
                  <a:gd name="T54" fmla="*/ 2147483647 w 3918"/>
                  <a:gd name="T55" fmla="*/ 2147483647 h 1944"/>
                  <a:gd name="T56" fmla="*/ 2147483647 w 3918"/>
                  <a:gd name="T57" fmla="*/ 2147483647 h 1944"/>
                  <a:gd name="T58" fmla="*/ 2147483647 w 3918"/>
                  <a:gd name="T59" fmla="*/ 2147483647 h 1944"/>
                  <a:gd name="T60" fmla="*/ 2147483647 w 3918"/>
                  <a:gd name="T61" fmla="*/ 2147483647 h 1944"/>
                  <a:gd name="T62" fmla="*/ 2147483647 w 3918"/>
                  <a:gd name="T63" fmla="*/ 2147483647 h 1944"/>
                  <a:gd name="T64" fmla="*/ 2147483647 w 3918"/>
                  <a:gd name="T65" fmla="*/ 2147483647 h 1944"/>
                  <a:gd name="T66" fmla="*/ 2147483647 w 3918"/>
                  <a:gd name="T67" fmla="*/ 2147483647 h 1944"/>
                  <a:gd name="T68" fmla="*/ 2147483647 w 3918"/>
                  <a:gd name="T69" fmla="*/ 2147483647 h 1944"/>
                  <a:gd name="T70" fmla="*/ 2147483647 w 3918"/>
                  <a:gd name="T71" fmla="*/ 2147483647 h 1944"/>
                  <a:gd name="T72" fmla="*/ 2147483647 w 3918"/>
                  <a:gd name="T73" fmla="*/ 2147483647 h 1944"/>
                  <a:gd name="T74" fmla="*/ 2147483647 w 3918"/>
                  <a:gd name="T75" fmla="*/ 2147483647 h 1944"/>
                  <a:gd name="T76" fmla="*/ 2147483647 w 3918"/>
                  <a:gd name="T77" fmla="*/ 2147483647 h 1944"/>
                  <a:gd name="T78" fmla="*/ 2147483647 w 3918"/>
                  <a:gd name="T79" fmla="*/ 2147483647 h 1944"/>
                  <a:gd name="T80" fmla="*/ 2147483647 w 3918"/>
                  <a:gd name="T81" fmla="*/ 2147483647 h 1944"/>
                  <a:gd name="T82" fmla="*/ 2147483647 w 3918"/>
                  <a:gd name="T83" fmla="*/ 2147483647 h 1944"/>
                  <a:gd name="T84" fmla="*/ 2147483647 w 3918"/>
                  <a:gd name="T85" fmla="*/ 2147483647 h 1944"/>
                  <a:gd name="T86" fmla="*/ 2147483647 w 3918"/>
                  <a:gd name="T87" fmla="*/ 2147483647 h 1944"/>
                  <a:gd name="T88" fmla="*/ 2147483647 w 3918"/>
                  <a:gd name="T89" fmla="*/ 2147483647 h 1944"/>
                  <a:gd name="T90" fmla="*/ 2147483647 w 3918"/>
                  <a:gd name="T91" fmla="*/ 2147483647 h 1944"/>
                  <a:gd name="T92" fmla="*/ 2147483647 w 3918"/>
                  <a:gd name="T93" fmla="*/ 2147483647 h 1944"/>
                  <a:gd name="T94" fmla="*/ 2147483647 w 3918"/>
                  <a:gd name="T95" fmla="*/ 2147483647 h 1944"/>
                  <a:gd name="T96" fmla="*/ 2147483647 w 3918"/>
                  <a:gd name="T97" fmla="*/ 2147483647 h 1944"/>
                  <a:gd name="T98" fmla="*/ 2147483647 w 3918"/>
                  <a:gd name="T99" fmla="*/ 2147483647 h 1944"/>
                  <a:gd name="T100" fmla="*/ 2147483647 w 3918"/>
                  <a:gd name="T101" fmla="*/ 2147483647 h 1944"/>
                  <a:gd name="T102" fmla="*/ 2147483647 w 3918"/>
                  <a:gd name="T103" fmla="*/ 2147483647 h 1944"/>
                  <a:gd name="T104" fmla="*/ 2147483647 w 3918"/>
                  <a:gd name="T105" fmla="*/ 2147483647 h 1944"/>
                  <a:gd name="T106" fmla="*/ 2147483647 w 3918"/>
                  <a:gd name="T107" fmla="*/ 2147483647 h 1944"/>
                  <a:gd name="T108" fmla="*/ 2147483647 w 3918"/>
                  <a:gd name="T109" fmla="*/ 2147483647 h 1944"/>
                  <a:gd name="T110" fmla="*/ 2147483647 w 3918"/>
                  <a:gd name="T111" fmla="*/ 2147483647 h 1944"/>
                  <a:gd name="T112" fmla="*/ 2147483647 w 3918"/>
                  <a:gd name="T113" fmla="*/ 2147483647 h 1944"/>
                  <a:gd name="T114" fmla="*/ 2147483647 w 3918"/>
                  <a:gd name="T115" fmla="*/ 2147483647 h 1944"/>
                  <a:gd name="T116" fmla="*/ 2147483647 w 3918"/>
                  <a:gd name="T117" fmla="*/ 2147483647 h 1944"/>
                  <a:gd name="T118" fmla="*/ 2147483647 w 3918"/>
                  <a:gd name="T119" fmla="*/ 2147483647 h 1944"/>
                  <a:gd name="T120" fmla="*/ 2147483647 w 3918"/>
                  <a:gd name="T121" fmla="*/ 2147483647 h 1944"/>
                  <a:gd name="T122" fmla="*/ 2147483647 w 3918"/>
                  <a:gd name="T123" fmla="*/ 2147483647 h 1944"/>
                  <a:gd name="T124" fmla="*/ 2147483647 w 3918"/>
                  <a:gd name="T125" fmla="*/ 2147483647 h 19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18"/>
                  <a:gd name="T190" fmla="*/ 0 h 1944"/>
                  <a:gd name="T191" fmla="*/ 3918 w 3918"/>
                  <a:gd name="T192" fmla="*/ 1944 h 194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18" h="1944">
                    <a:moveTo>
                      <a:pt x="3858" y="168"/>
                    </a:moveTo>
                    <a:lnTo>
                      <a:pt x="3852" y="168"/>
                    </a:lnTo>
                    <a:lnTo>
                      <a:pt x="3846" y="162"/>
                    </a:lnTo>
                    <a:lnTo>
                      <a:pt x="3846" y="156"/>
                    </a:lnTo>
                    <a:lnTo>
                      <a:pt x="3840" y="150"/>
                    </a:lnTo>
                    <a:lnTo>
                      <a:pt x="3828" y="150"/>
                    </a:lnTo>
                    <a:lnTo>
                      <a:pt x="3804" y="174"/>
                    </a:lnTo>
                    <a:lnTo>
                      <a:pt x="3798" y="186"/>
                    </a:lnTo>
                    <a:lnTo>
                      <a:pt x="3756" y="210"/>
                    </a:lnTo>
                    <a:lnTo>
                      <a:pt x="3756" y="234"/>
                    </a:lnTo>
                    <a:lnTo>
                      <a:pt x="3744" y="246"/>
                    </a:lnTo>
                    <a:lnTo>
                      <a:pt x="3738" y="246"/>
                    </a:lnTo>
                    <a:lnTo>
                      <a:pt x="3726" y="258"/>
                    </a:lnTo>
                    <a:lnTo>
                      <a:pt x="3720" y="270"/>
                    </a:lnTo>
                    <a:lnTo>
                      <a:pt x="3720" y="294"/>
                    </a:lnTo>
                    <a:lnTo>
                      <a:pt x="3714" y="294"/>
                    </a:lnTo>
                    <a:lnTo>
                      <a:pt x="3708" y="288"/>
                    </a:lnTo>
                    <a:lnTo>
                      <a:pt x="3696" y="288"/>
                    </a:lnTo>
                    <a:lnTo>
                      <a:pt x="3690" y="294"/>
                    </a:lnTo>
                    <a:lnTo>
                      <a:pt x="3678" y="300"/>
                    </a:lnTo>
                    <a:lnTo>
                      <a:pt x="3666" y="312"/>
                    </a:lnTo>
                    <a:lnTo>
                      <a:pt x="3666" y="318"/>
                    </a:lnTo>
                    <a:lnTo>
                      <a:pt x="3660" y="318"/>
                    </a:lnTo>
                    <a:lnTo>
                      <a:pt x="3648" y="324"/>
                    </a:lnTo>
                    <a:lnTo>
                      <a:pt x="3630" y="324"/>
                    </a:lnTo>
                    <a:lnTo>
                      <a:pt x="3618" y="336"/>
                    </a:lnTo>
                    <a:lnTo>
                      <a:pt x="3618" y="342"/>
                    </a:lnTo>
                    <a:lnTo>
                      <a:pt x="3384" y="342"/>
                    </a:lnTo>
                    <a:lnTo>
                      <a:pt x="3372" y="354"/>
                    </a:lnTo>
                    <a:lnTo>
                      <a:pt x="3360" y="360"/>
                    </a:lnTo>
                    <a:lnTo>
                      <a:pt x="3336" y="384"/>
                    </a:lnTo>
                    <a:lnTo>
                      <a:pt x="3324" y="390"/>
                    </a:lnTo>
                    <a:lnTo>
                      <a:pt x="3312" y="402"/>
                    </a:lnTo>
                    <a:lnTo>
                      <a:pt x="3282" y="402"/>
                    </a:lnTo>
                    <a:lnTo>
                      <a:pt x="3282" y="408"/>
                    </a:lnTo>
                    <a:lnTo>
                      <a:pt x="3276" y="408"/>
                    </a:lnTo>
                    <a:lnTo>
                      <a:pt x="3282" y="414"/>
                    </a:lnTo>
                    <a:lnTo>
                      <a:pt x="3282" y="420"/>
                    </a:lnTo>
                    <a:lnTo>
                      <a:pt x="3288" y="426"/>
                    </a:lnTo>
                    <a:lnTo>
                      <a:pt x="3282" y="432"/>
                    </a:lnTo>
                    <a:lnTo>
                      <a:pt x="3282" y="438"/>
                    </a:lnTo>
                    <a:lnTo>
                      <a:pt x="3276" y="444"/>
                    </a:lnTo>
                    <a:lnTo>
                      <a:pt x="3270" y="456"/>
                    </a:lnTo>
                    <a:lnTo>
                      <a:pt x="3264" y="462"/>
                    </a:lnTo>
                    <a:lnTo>
                      <a:pt x="3264" y="468"/>
                    </a:lnTo>
                    <a:lnTo>
                      <a:pt x="3246" y="468"/>
                    </a:lnTo>
                    <a:lnTo>
                      <a:pt x="3246" y="474"/>
                    </a:lnTo>
                    <a:lnTo>
                      <a:pt x="3240" y="474"/>
                    </a:lnTo>
                    <a:lnTo>
                      <a:pt x="3228" y="480"/>
                    </a:lnTo>
                    <a:lnTo>
                      <a:pt x="3204" y="480"/>
                    </a:lnTo>
                    <a:lnTo>
                      <a:pt x="3198" y="474"/>
                    </a:lnTo>
                    <a:lnTo>
                      <a:pt x="3186" y="486"/>
                    </a:lnTo>
                    <a:lnTo>
                      <a:pt x="3162" y="486"/>
                    </a:lnTo>
                    <a:lnTo>
                      <a:pt x="3150" y="480"/>
                    </a:lnTo>
                    <a:lnTo>
                      <a:pt x="3144" y="474"/>
                    </a:lnTo>
                    <a:lnTo>
                      <a:pt x="3114" y="474"/>
                    </a:lnTo>
                    <a:lnTo>
                      <a:pt x="3096" y="486"/>
                    </a:lnTo>
                    <a:lnTo>
                      <a:pt x="3078" y="492"/>
                    </a:lnTo>
                    <a:lnTo>
                      <a:pt x="3072" y="492"/>
                    </a:lnTo>
                    <a:lnTo>
                      <a:pt x="3072" y="516"/>
                    </a:lnTo>
                    <a:lnTo>
                      <a:pt x="3066" y="522"/>
                    </a:lnTo>
                    <a:lnTo>
                      <a:pt x="3078" y="522"/>
                    </a:lnTo>
                    <a:lnTo>
                      <a:pt x="3066" y="528"/>
                    </a:lnTo>
                    <a:lnTo>
                      <a:pt x="3036" y="546"/>
                    </a:lnTo>
                    <a:lnTo>
                      <a:pt x="3000" y="564"/>
                    </a:lnTo>
                    <a:lnTo>
                      <a:pt x="2964" y="576"/>
                    </a:lnTo>
                    <a:lnTo>
                      <a:pt x="2946" y="588"/>
                    </a:lnTo>
                    <a:lnTo>
                      <a:pt x="2934" y="594"/>
                    </a:lnTo>
                    <a:lnTo>
                      <a:pt x="2928" y="594"/>
                    </a:lnTo>
                    <a:lnTo>
                      <a:pt x="2856" y="618"/>
                    </a:lnTo>
                    <a:lnTo>
                      <a:pt x="2850" y="624"/>
                    </a:lnTo>
                    <a:lnTo>
                      <a:pt x="2838" y="624"/>
                    </a:lnTo>
                    <a:lnTo>
                      <a:pt x="2826" y="630"/>
                    </a:lnTo>
                    <a:lnTo>
                      <a:pt x="2808" y="630"/>
                    </a:lnTo>
                    <a:lnTo>
                      <a:pt x="2802" y="636"/>
                    </a:lnTo>
                    <a:lnTo>
                      <a:pt x="2778" y="636"/>
                    </a:lnTo>
                    <a:lnTo>
                      <a:pt x="2772" y="630"/>
                    </a:lnTo>
                    <a:lnTo>
                      <a:pt x="2772" y="624"/>
                    </a:lnTo>
                    <a:lnTo>
                      <a:pt x="2760" y="624"/>
                    </a:lnTo>
                    <a:lnTo>
                      <a:pt x="2748" y="618"/>
                    </a:lnTo>
                    <a:lnTo>
                      <a:pt x="2736" y="606"/>
                    </a:lnTo>
                    <a:lnTo>
                      <a:pt x="2742" y="606"/>
                    </a:lnTo>
                    <a:lnTo>
                      <a:pt x="2748" y="600"/>
                    </a:lnTo>
                    <a:lnTo>
                      <a:pt x="2772" y="588"/>
                    </a:lnTo>
                    <a:lnTo>
                      <a:pt x="2772" y="582"/>
                    </a:lnTo>
                    <a:lnTo>
                      <a:pt x="2796" y="558"/>
                    </a:lnTo>
                    <a:lnTo>
                      <a:pt x="2832" y="540"/>
                    </a:lnTo>
                    <a:lnTo>
                      <a:pt x="2838" y="540"/>
                    </a:lnTo>
                    <a:lnTo>
                      <a:pt x="2844" y="534"/>
                    </a:lnTo>
                    <a:lnTo>
                      <a:pt x="2844" y="510"/>
                    </a:lnTo>
                    <a:lnTo>
                      <a:pt x="2850" y="504"/>
                    </a:lnTo>
                    <a:lnTo>
                      <a:pt x="2856" y="492"/>
                    </a:lnTo>
                    <a:lnTo>
                      <a:pt x="2850" y="486"/>
                    </a:lnTo>
                    <a:lnTo>
                      <a:pt x="2850" y="480"/>
                    </a:lnTo>
                    <a:lnTo>
                      <a:pt x="2856" y="468"/>
                    </a:lnTo>
                    <a:lnTo>
                      <a:pt x="2856" y="444"/>
                    </a:lnTo>
                    <a:lnTo>
                      <a:pt x="2862" y="432"/>
                    </a:lnTo>
                    <a:lnTo>
                      <a:pt x="2862" y="426"/>
                    </a:lnTo>
                    <a:lnTo>
                      <a:pt x="2856" y="420"/>
                    </a:lnTo>
                    <a:lnTo>
                      <a:pt x="2850" y="420"/>
                    </a:lnTo>
                    <a:lnTo>
                      <a:pt x="2844" y="426"/>
                    </a:lnTo>
                    <a:lnTo>
                      <a:pt x="2832" y="426"/>
                    </a:lnTo>
                    <a:lnTo>
                      <a:pt x="2814" y="444"/>
                    </a:lnTo>
                    <a:lnTo>
                      <a:pt x="2802" y="450"/>
                    </a:lnTo>
                    <a:lnTo>
                      <a:pt x="2796" y="456"/>
                    </a:lnTo>
                    <a:lnTo>
                      <a:pt x="2778" y="456"/>
                    </a:lnTo>
                    <a:lnTo>
                      <a:pt x="2772" y="450"/>
                    </a:lnTo>
                    <a:lnTo>
                      <a:pt x="2778" y="444"/>
                    </a:lnTo>
                    <a:lnTo>
                      <a:pt x="2784" y="432"/>
                    </a:lnTo>
                    <a:lnTo>
                      <a:pt x="2808" y="420"/>
                    </a:lnTo>
                    <a:lnTo>
                      <a:pt x="2826" y="402"/>
                    </a:lnTo>
                    <a:lnTo>
                      <a:pt x="2850" y="390"/>
                    </a:lnTo>
                    <a:lnTo>
                      <a:pt x="2856" y="384"/>
                    </a:lnTo>
                    <a:lnTo>
                      <a:pt x="2856" y="366"/>
                    </a:lnTo>
                    <a:lnTo>
                      <a:pt x="2850" y="360"/>
                    </a:lnTo>
                    <a:lnTo>
                      <a:pt x="2850" y="348"/>
                    </a:lnTo>
                    <a:lnTo>
                      <a:pt x="2856" y="348"/>
                    </a:lnTo>
                    <a:lnTo>
                      <a:pt x="2862" y="342"/>
                    </a:lnTo>
                    <a:lnTo>
                      <a:pt x="2868" y="330"/>
                    </a:lnTo>
                    <a:lnTo>
                      <a:pt x="2868" y="318"/>
                    </a:lnTo>
                    <a:lnTo>
                      <a:pt x="2862" y="312"/>
                    </a:lnTo>
                    <a:lnTo>
                      <a:pt x="2850" y="312"/>
                    </a:lnTo>
                    <a:lnTo>
                      <a:pt x="2838" y="306"/>
                    </a:lnTo>
                    <a:lnTo>
                      <a:pt x="2832" y="306"/>
                    </a:lnTo>
                    <a:lnTo>
                      <a:pt x="2826" y="294"/>
                    </a:lnTo>
                    <a:lnTo>
                      <a:pt x="2820" y="288"/>
                    </a:lnTo>
                    <a:lnTo>
                      <a:pt x="2820" y="282"/>
                    </a:lnTo>
                    <a:lnTo>
                      <a:pt x="2814" y="288"/>
                    </a:lnTo>
                    <a:lnTo>
                      <a:pt x="2808" y="288"/>
                    </a:lnTo>
                    <a:lnTo>
                      <a:pt x="2808" y="264"/>
                    </a:lnTo>
                    <a:lnTo>
                      <a:pt x="2844" y="270"/>
                    </a:lnTo>
                    <a:lnTo>
                      <a:pt x="2850" y="264"/>
                    </a:lnTo>
                    <a:lnTo>
                      <a:pt x="2850" y="246"/>
                    </a:lnTo>
                    <a:lnTo>
                      <a:pt x="2862" y="246"/>
                    </a:lnTo>
                    <a:lnTo>
                      <a:pt x="2868" y="228"/>
                    </a:lnTo>
                    <a:lnTo>
                      <a:pt x="2850" y="228"/>
                    </a:lnTo>
                    <a:lnTo>
                      <a:pt x="2844" y="240"/>
                    </a:lnTo>
                    <a:lnTo>
                      <a:pt x="2820" y="228"/>
                    </a:lnTo>
                    <a:lnTo>
                      <a:pt x="2820" y="210"/>
                    </a:lnTo>
                    <a:lnTo>
                      <a:pt x="2802" y="210"/>
                    </a:lnTo>
                    <a:lnTo>
                      <a:pt x="2790" y="216"/>
                    </a:lnTo>
                    <a:lnTo>
                      <a:pt x="2736" y="216"/>
                    </a:lnTo>
                    <a:lnTo>
                      <a:pt x="2724" y="222"/>
                    </a:lnTo>
                    <a:lnTo>
                      <a:pt x="2712" y="222"/>
                    </a:lnTo>
                    <a:lnTo>
                      <a:pt x="2700" y="228"/>
                    </a:lnTo>
                    <a:lnTo>
                      <a:pt x="2682" y="228"/>
                    </a:lnTo>
                    <a:lnTo>
                      <a:pt x="2658" y="216"/>
                    </a:lnTo>
                    <a:lnTo>
                      <a:pt x="2658" y="210"/>
                    </a:lnTo>
                    <a:lnTo>
                      <a:pt x="2652" y="204"/>
                    </a:lnTo>
                    <a:lnTo>
                      <a:pt x="2652" y="198"/>
                    </a:lnTo>
                    <a:lnTo>
                      <a:pt x="2646" y="192"/>
                    </a:lnTo>
                    <a:lnTo>
                      <a:pt x="2628" y="192"/>
                    </a:lnTo>
                    <a:lnTo>
                      <a:pt x="2622" y="198"/>
                    </a:lnTo>
                    <a:lnTo>
                      <a:pt x="2616" y="198"/>
                    </a:lnTo>
                    <a:lnTo>
                      <a:pt x="2610" y="192"/>
                    </a:lnTo>
                    <a:lnTo>
                      <a:pt x="2670" y="162"/>
                    </a:lnTo>
                    <a:lnTo>
                      <a:pt x="2658" y="150"/>
                    </a:lnTo>
                    <a:lnTo>
                      <a:pt x="2640" y="150"/>
                    </a:lnTo>
                    <a:lnTo>
                      <a:pt x="2628" y="162"/>
                    </a:lnTo>
                    <a:lnTo>
                      <a:pt x="2616" y="168"/>
                    </a:lnTo>
                    <a:lnTo>
                      <a:pt x="2610" y="174"/>
                    </a:lnTo>
                    <a:lnTo>
                      <a:pt x="2604" y="174"/>
                    </a:lnTo>
                    <a:lnTo>
                      <a:pt x="2580" y="186"/>
                    </a:lnTo>
                    <a:lnTo>
                      <a:pt x="2562" y="192"/>
                    </a:lnTo>
                    <a:lnTo>
                      <a:pt x="2538" y="204"/>
                    </a:lnTo>
                    <a:lnTo>
                      <a:pt x="2508" y="204"/>
                    </a:lnTo>
                    <a:lnTo>
                      <a:pt x="2496" y="216"/>
                    </a:lnTo>
                    <a:lnTo>
                      <a:pt x="2448" y="216"/>
                    </a:lnTo>
                    <a:lnTo>
                      <a:pt x="2448" y="210"/>
                    </a:lnTo>
                    <a:lnTo>
                      <a:pt x="2454" y="204"/>
                    </a:lnTo>
                    <a:lnTo>
                      <a:pt x="2460" y="204"/>
                    </a:lnTo>
                    <a:lnTo>
                      <a:pt x="2472" y="192"/>
                    </a:lnTo>
                    <a:lnTo>
                      <a:pt x="2460" y="192"/>
                    </a:lnTo>
                    <a:lnTo>
                      <a:pt x="2448" y="198"/>
                    </a:lnTo>
                    <a:lnTo>
                      <a:pt x="2412" y="198"/>
                    </a:lnTo>
                    <a:lnTo>
                      <a:pt x="2400" y="204"/>
                    </a:lnTo>
                    <a:lnTo>
                      <a:pt x="2394" y="210"/>
                    </a:lnTo>
                    <a:lnTo>
                      <a:pt x="2370" y="210"/>
                    </a:lnTo>
                    <a:lnTo>
                      <a:pt x="2370" y="198"/>
                    </a:lnTo>
                    <a:lnTo>
                      <a:pt x="2400" y="180"/>
                    </a:lnTo>
                    <a:lnTo>
                      <a:pt x="2442" y="168"/>
                    </a:lnTo>
                    <a:lnTo>
                      <a:pt x="2502" y="138"/>
                    </a:lnTo>
                    <a:lnTo>
                      <a:pt x="2520" y="126"/>
                    </a:lnTo>
                    <a:lnTo>
                      <a:pt x="2544" y="120"/>
                    </a:lnTo>
                    <a:lnTo>
                      <a:pt x="2574" y="114"/>
                    </a:lnTo>
                    <a:lnTo>
                      <a:pt x="2580" y="114"/>
                    </a:lnTo>
                    <a:lnTo>
                      <a:pt x="2592" y="108"/>
                    </a:lnTo>
                    <a:lnTo>
                      <a:pt x="2574" y="108"/>
                    </a:lnTo>
                    <a:lnTo>
                      <a:pt x="2562" y="102"/>
                    </a:lnTo>
                    <a:lnTo>
                      <a:pt x="2556" y="102"/>
                    </a:lnTo>
                    <a:lnTo>
                      <a:pt x="2556" y="96"/>
                    </a:lnTo>
                    <a:lnTo>
                      <a:pt x="2508" y="102"/>
                    </a:lnTo>
                    <a:lnTo>
                      <a:pt x="2508" y="84"/>
                    </a:lnTo>
                    <a:lnTo>
                      <a:pt x="2502" y="90"/>
                    </a:lnTo>
                    <a:lnTo>
                      <a:pt x="2490" y="96"/>
                    </a:lnTo>
                    <a:lnTo>
                      <a:pt x="2478" y="108"/>
                    </a:lnTo>
                    <a:lnTo>
                      <a:pt x="2466" y="108"/>
                    </a:lnTo>
                    <a:lnTo>
                      <a:pt x="2448" y="90"/>
                    </a:lnTo>
                    <a:lnTo>
                      <a:pt x="2418" y="90"/>
                    </a:lnTo>
                    <a:lnTo>
                      <a:pt x="2412" y="84"/>
                    </a:lnTo>
                    <a:lnTo>
                      <a:pt x="2412" y="78"/>
                    </a:lnTo>
                    <a:lnTo>
                      <a:pt x="2400" y="66"/>
                    </a:lnTo>
                    <a:lnTo>
                      <a:pt x="2388" y="60"/>
                    </a:lnTo>
                    <a:lnTo>
                      <a:pt x="2376" y="60"/>
                    </a:lnTo>
                    <a:lnTo>
                      <a:pt x="2364" y="72"/>
                    </a:lnTo>
                    <a:lnTo>
                      <a:pt x="2364" y="78"/>
                    </a:lnTo>
                    <a:lnTo>
                      <a:pt x="2352" y="78"/>
                    </a:lnTo>
                    <a:lnTo>
                      <a:pt x="2334" y="60"/>
                    </a:lnTo>
                    <a:lnTo>
                      <a:pt x="2322" y="60"/>
                    </a:lnTo>
                    <a:lnTo>
                      <a:pt x="2304" y="54"/>
                    </a:lnTo>
                    <a:lnTo>
                      <a:pt x="2292" y="48"/>
                    </a:lnTo>
                    <a:lnTo>
                      <a:pt x="2292" y="36"/>
                    </a:lnTo>
                    <a:lnTo>
                      <a:pt x="2298" y="24"/>
                    </a:lnTo>
                    <a:lnTo>
                      <a:pt x="2310" y="12"/>
                    </a:lnTo>
                    <a:lnTo>
                      <a:pt x="2298" y="0"/>
                    </a:lnTo>
                    <a:lnTo>
                      <a:pt x="2286" y="6"/>
                    </a:lnTo>
                    <a:lnTo>
                      <a:pt x="2280" y="12"/>
                    </a:lnTo>
                    <a:lnTo>
                      <a:pt x="2274" y="24"/>
                    </a:lnTo>
                    <a:lnTo>
                      <a:pt x="2274" y="30"/>
                    </a:lnTo>
                    <a:lnTo>
                      <a:pt x="2268" y="42"/>
                    </a:lnTo>
                    <a:lnTo>
                      <a:pt x="558" y="42"/>
                    </a:lnTo>
                    <a:lnTo>
                      <a:pt x="552" y="54"/>
                    </a:lnTo>
                    <a:lnTo>
                      <a:pt x="552" y="60"/>
                    </a:lnTo>
                    <a:lnTo>
                      <a:pt x="546" y="60"/>
                    </a:lnTo>
                    <a:lnTo>
                      <a:pt x="546" y="72"/>
                    </a:lnTo>
                    <a:lnTo>
                      <a:pt x="540" y="84"/>
                    </a:lnTo>
                    <a:lnTo>
                      <a:pt x="540" y="108"/>
                    </a:lnTo>
                    <a:lnTo>
                      <a:pt x="510" y="126"/>
                    </a:lnTo>
                    <a:lnTo>
                      <a:pt x="504" y="144"/>
                    </a:lnTo>
                    <a:lnTo>
                      <a:pt x="486" y="168"/>
                    </a:lnTo>
                    <a:lnTo>
                      <a:pt x="438" y="180"/>
                    </a:lnTo>
                    <a:lnTo>
                      <a:pt x="474" y="162"/>
                    </a:lnTo>
                    <a:lnTo>
                      <a:pt x="450" y="162"/>
                    </a:lnTo>
                    <a:lnTo>
                      <a:pt x="456" y="156"/>
                    </a:lnTo>
                    <a:lnTo>
                      <a:pt x="462" y="144"/>
                    </a:lnTo>
                    <a:lnTo>
                      <a:pt x="486" y="120"/>
                    </a:lnTo>
                    <a:lnTo>
                      <a:pt x="492" y="120"/>
                    </a:lnTo>
                    <a:lnTo>
                      <a:pt x="504" y="108"/>
                    </a:lnTo>
                    <a:lnTo>
                      <a:pt x="504" y="102"/>
                    </a:lnTo>
                    <a:lnTo>
                      <a:pt x="456" y="102"/>
                    </a:lnTo>
                    <a:lnTo>
                      <a:pt x="450" y="96"/>
                    </a:lnTo>
                    <a:lnTo>
                      <a:pt x="438" y="90"/>
                    </a:lnTo>
                    <a:lnTo>
                      <a:pt x="432" y="84"/>
                    </a:lnTo>
                    <a:lnTo>
                      <a:pt x="420" y="78"/>
                    </a:lnTo>
                    <a:lnTo>
                      <a:pt x="402" y="78"/>
                    </a:lnTo>
                    <a:lnTo>
                      <a:pt x="390" y="90"/>
                    </a:lnTo>
                    <a:lnTo>
                      <a:pt x="384" y="102"/>
                    </a:lnTo>
                    <a:lnTo>
                      <a:pt x="384" y="150"/>
                    </a:lnTo>
                    <a:lnTo>
                      <a:pt x="378" y="156"/>
                    </a:lnTo>
                    <a:lnTo>
                      <a:pt x="378" y="162"/>
                    </a:lnTo>
                    <a:lnTo>
                      <a:pt x="360" y="180"/>
                    </a:lnTo>
                    <a:lnTo>
                      <a:pt x="390" y="186"/>
                    </a:lnTo>
                    <a:lnTo>
                      <a:pt x="360" y="192"/>
                    </a:lnTo>
                    <a:lnTo>
                      <a:pt x="366" y="210"/>
                    </a:lnTo>
                    <a:lnTo>
                      <a:pt x="348" y="234"/>
                    </a:lnTo>
                    <a:lnTo>
                      <a:pt x="354" y="234"/>
                    </a:lnTo>
                    <a:lnTo>
                      <a:pt x="366" y="246"/>
                    </a:lnTo>
                    <a:lnTo>
                      <a:pt x="372" y="246"/>
                    </a:lnTo>
                    <a:lnTo>
                      <a:pt x="378" y="252"/>
                    </a:lnTo>
                    <a:lnTo>
                      <a:pt x="330" y="252"/>
                    </a:lnTo>
                    <a:lnTo>
                      <a:pt x="324" y="264"/>
                    </a:lnTo>
                    <a:lnTo>
                      <a:pt x="306" y="282"/>
                    </a:lnTo>
                    <a:lnTo>
                      <a:pt x="270" y="342"/>
                    </a:lnTo>
                    <a:lnTo>
                      <a:pt x="258" y="360"/>
                    </a:lnTo>
                    <a:lnTo>
                      <a:pt x="216" y="402"/>
                    </a:lnTo>
                    <a:lnTo>
                      <a:pt x="192" y="432"/>
                    </a:lnTo>
                    <a:lnTo>
                      <a:pt x="174" y="456"/>
                    </a:lnTo>
                    <a:lnTo>
                      <a:pt x="168" y="462"/>
                    </a:lnTo>
                    <a:lnTo>
                      <a:pt x="174" y="480"/>
                    </a:lnTo>
                    <a:lnTo>
                      <a:pt x="168" y="480"/>
                    </a:lnTo>
                    <a:lnTo>
                      <a:pt x="162" y="486"/>
                    </a:lnTo>
                    <a:lnTo>
                      <a:pt x="150" y="492"/>
                    </a:lnTo>
                    <a:lnTo>
                      <a:pt x="126" y="516"/>
                    </a:lnTo>
                    <a:lnTo>
                      <a:pt x="120" y="534"/>
                    </a:lnTo>
                    <a:lnTo>
                      <a:pt x="120" y="546"/>
                    </a:lnTo>
                    <a:lnTo>
                      <a:pt x="102" y="570"/>
                    </a:lnTo>
                    <a:lnTo>
                      <a:pt x="96" y="618"/>
                    </a:lnTo>
                    <a:lnTo>
                      <a:pt x="90" y="630"/>
                    </a:lnTo>
                    <a:lnTo>
                      <a:pt x="72" y="648"/>
                    </a:lnTo>
                    <a:lnTo>
                      <a:pt x="60" y="672"/>
                    </a:lnTo>
                    <a:lnTo>
                      <a:pt x="54" y="678"/>
                    </a:lnTo>
                    <a:lnTo>
                      <a:pt x="42" y="684"/>
                    </a:lnTo>
                    <a:lnTo>
                      <a:pt x="18" y="708"/>
                    </a:lnTo>
                    <a:lnTo>
                      <a:pt x="12" y="720"/>
                    </a:lnTo>
                    <a:lnTo>
                      <a:pt x="18" y="732"/>
                    </a:lnTo>
                    <a:lnTo>
                      <a:pt x="36" y="750"/>
                    </a:lnTo>
                    <a:lnTo>
                      <a:pt x="36" y="762"/>
                    </a:lnTo>
                    <a:lnTo>
                      <a:pt x="30" y="774"/>
                    </a:lnTo>
                    <a:lnTo>
                      <a:pt x="18" y="786"/>
                    </a:lnTo>
                    <a:lnTo>
                      <a:pt x="12" y="798"/>
                    </a:lnTo>
                    <a:lnTo>
                      <a:pt x="6" y="816"/>
                    </a:lnTo>
                    <a:lnTo>
                      <a:pt x="0" y="828"/>
                    </a:lnTo>
                    <a:lnTo>
                      <a:pt x="0" y="840"/>
                    </a:lnTo>
                    <a:lnTo>
                      <a:pt x="6" y="852"/>
                    </a:lnTo>
                    <a:lnTo>
                      <a:pt x="12" y="870"/>
                    </a:lnTo>
                    <a:lnTo>
                      <a:pt x="12" y="882"/>
                    </a:lnTo>
                    <a:lnTo>
                      <a:pt x="18" y="900"/>
                    </a:lnTo>
                    <a:lnTo>
                      <a:pt x="24" y="906"/>
                    </a:lnTo>
                    <a:lnTo>
                      <a:pt x="24" y="912"/>
                    </a:lnTo>
                    <a:lnTo>
                      <a:pt x="48" y="894"/>
                    </a:lnTo>
                    <a:lnTo>
                      <a:pt x="114" y="900"/>
                    </a:lnTo>
                    <a:lnTo>
                      <a:pt x="78" y="900"/>
                    </a:lnTo>
                    <a:lnTo>
                      <a:pt x="66" y="906"/>
                    </a:lnTo>
                    <a:lnTo>
                      <a:pt x="60" y="906"/>
                    </a:lnTo>
                    <a:lnTo>
                      <a:pt x="48" y="918"/>
                    </a:lnTo>
                    <a:lnTo>
                      <a:pt x="48" y="942"/>
                    </a:lnTo>
                    <a:lnTo>
                      <a:pt x="30" y="924"/>
                    </a:lnTo>
                    <a:lnTo>
                      <a:pt x="24" y="924"/>
                    </a:lnTo>
                    <a:lnTo>
                      <a:pt x="18" y="936"/>
                    </a:lnTo>
                    <a:lnTo>
                      <a:pt x="18" y="942"/>
                    </a:lnTo>
                    <a:lnTo>
                      <a:pt x="12" y="960"/>
                    </a:lnTo>
                    <a:lnTo>
                      <a:pt x="12" y="978"/>
                    </a:lnTo>
                    <a:lnTo>
                      <a:pt x="18" y="984"/>
                    </a:lnTo>
                    <a:lnTo>
                      <a:pt x="30" y="990"/>
                    </a:lnTo>
                    <a:lnTo>
                      <a:pt x="42" y="990"/>
                    </a:lnTo>
                    <a:lnTo>
                      <a:pt x="42" y="1002"/>
                    </a:lnTo>
                    <a:lnTo>
                      <a:pt x="36" y="1008"/>
                    </a:lnTo>
                    <a:lnTo>
                      <a:pt x="36" y="1014"/>
                    </a:lnTo>
                    <a:lnTo>
                      <a:pt x="18" y="1032"/>
                    </a:lnTo>
                    <a:lnTo>
                      <a:pt x="12" y="1044"/>
                    </a:lnTo>
                    <a:lnTo>
                      <a:pt x="12" y="1056"/>
                    </a:lnTo>
                    <a:lnTo>
                      <a:pt x="18" y="1068"/>
                    </a:lnTo>
                    <a:lnTo>
                      <a:pt x="24" y="1074"/>
                    </a:lnTo>
                    <a:lnTo>
                      <a:pt x="36" y="1098"/>
                    </a:lnTo>
                    <a:lnTo>
                      <a:pt x="42" y="1104"/>
                    </a:lnTo>
                    <a:lnTo>
                      <a:pt x="54" y="1128"/>
                    </a:lnTo>
                    <a:lnTo>
                      <a:pt x="60" y="1134"/>
                    </a:lnTo>
                    <a:lnTo>
                      <a:pt x="60" y="1146"/>
                    </a:lnTo>
                    <a:lnTo>
                      <a:pt x="54" y="1152"/>
                    </a:lnTo>
                    <a:lnTo>
                      <a:pt x="42" y="1176"/>
                    </a:lnTo>
                    <a:lnTo>
                      <a:pt x="36" y="1182"/>
                    </a:lnTo>
                    <a:lnTo>
                      <a:pt x="36" y="1188"/>
                    </a:lnTo>
                    <a:lnTo>
                      <a:pt x="42" y="1194"/>
                    </a:lnTo>
                    <a:lnTo>
                      <a:pt x="54" y="1194"/>
                    </a:lnTo>
                    <a:lnTo>
                      <a:pt x="72" y="1200"/>
                    </a:lnTo>
                    <a:lnTo>
                      <a:pt x="102" y="1200"/>
                    </a:lnTo>
                    <a:lnTo>
                      <a:pt x="102" y="1212"/>
                    </a:lnTo>
                    <a:lnTo>
                      <a:pt x="120" y="1230"/>
                    </a:lnTo>
                    <a:lnTo>
                      <a:pt x="132" y="1230"/>
                    </a:lnTo>
                    <a:lnTo>
                      <a:pt x="144" y="1224"/>
                    </a:lnTo>
                    <a:lnTo>
                      <a:pt x="150" y="1224"/>
                    </a:lnTo>
                    <a:lnTo>
                      <a:pt x="162" y="1218"/>
                    </a:lnTo>
                    <a:lnTo>
                      <a:pt x="168" y="1248"/>
                    </a:lnTo>
                    <a:lnTo>
                      <a:pt x="174" y="1248"/>
                    </a:lnTo>
                    <a:lnTo>
                      <a:pt x="180" y="1254"/>
                    </a:lnTo>
                    <a:lnTo>
                      <a:pt x="204" y="1266"/>
                    </a:lnTo>
                    <a:lnTo>
                      <a:pt x="216" y="1290"/>
                    </a:lnTo>
                    <a:lnTo>
                      <a:pt x="216" y="1314"/>
                    </a:lnTo>
                    <a:lnTo>
                      <a:pt x="210" y="1338"/>
                    </a:lnTo>
                    <a:lnTo>
                      <a:pt x="216" y="1344"/>
                    </a:lnTo>
                    <a:lnTo>
                      <a:pt x="360" y="1338"/>
                    </a:lnTo>
                    <a:lnTo>
                      <a:pt x="354" y="1344"/>
                    </a:lnTo>
                    <a:lnTo>
                      <a:pt x="354" y="1350"/>
                    </a:lnTo>
                    <a:lnTo>
                      <a:pt x="360" y="1350"/>
                    </a:lnTo>
                    <a:lnTo>
                      <a:pt x="570" y="1446"/>
                    </a:lnTo>
                    <a:lnTo>
                      <a:pt x="774" y="1446"/>
                    </a:lnTo>
                    <a:lnTo>
                      <a:pt x="774" y="1440"/>
                    </a:lnTo>
                    <a:lnTo>
                      <a:pt x="780" y="1428"/>
                    </a:lnTo>
                    <a:lnTo>
                      <a:pt x="780" y="1410"/>
                    </a:lnTo>
                    <a:lnTo>
                      <a:pt x="786" y="1404"/>
                    </a:lnTo>
                    <a:lnTo>
                      <a:pt x="900" y="1404"/>
                    </a:lnTo>
                    <a:lnTo>
                      <a:pt x="912" y="1416"/>
                    </a:lnTo>
                    <a:lnTo>
                      <a:pt x="912" y="1440"/>
                    </a:lnTo>
                    <a:lnTo>
                      <a:pt x="942" y="1452"/>
                    </a:lnTo>
                    <a:lnTo>
                      <a:pt x="948" y="1482"/>
                    </a:lnTo>
                    <a:lnTo>
                      <a:pt x="960" y="1482"/>
                    </a:lnTo>
                    <a:lnTo>
                      <a:pt x="972" y="1488"/>
                    </a:lnTo>
                    <a:lnTo>
                      <a:pt x="984" y="1500"/>
                    </a:lnTo>
                    <a:lnTo>
                      <a:pt x="990" y="1512"/>
                    </a:lnTo>
                    <a:lnTo>
                      <a:pt x="990" y="1554"/>
                    </a:lnTo>
                    <a:lnTo>
                      <a:pt x="984" y="1566"/>
                    </a:lnTo>
                    <a:lnTo>
                      <a:pt x="984" y="1578"/>
                    </a:lnTo>
                    <a:lnTo>
                      <a:pt x="1014" y="1608"/>
                    </a:lnTo>
                    <a:lnTo>
                      <a:pt x="1026" y="1614"/>
                    </a:lnTo>
                    <a:lnTo>
                      <a:pt x="1044" y="1626"/>
                    </a:lnTo>
                    <a:lnTo>
                      <a:pt x="1056" y="1626"/>
                    </a:lnTo>
                    <a:lnTo>
                      <a:pt x="1080" y="1614"/>
                    </a:lnTo>
                    <a:lnTo>
                      <a:pt x="1092" y="1602"/>
                    </a:lnTo>
                    <a:lnTo>
                      <a:pt x="1104" y="1578"/>
                    </a:lnTo>
                    <a:lnTo>
                      <a:pt x="1116" y="1566"/>
                    </a:lnTo>
                    <a:lnTo>
                      <a:pt x="1134" y="1566"/>
                    </a:lnTo>
                    <a:lnTo>
                      <a:pt x="1134" y="1560"/>
                    </a:lnTo>
                    <a:lnTo>
                      <a:pt x="1152" y="1566"/>
                    </a:lnTo>
                    <a:lnTo>
                      <a:pt x="1194" y="1566"/>
                    </a:lnTo>
                    <a:lnTo>
                      <a:pt x="1200" y="1578"/>
                    </a:lnTo>
                    <a:lnTo>
                      <a:pt x="1206" y="1584"/>
                    </a:lnTo>
                    <a:lnTo>
                      <a:pt x="1212" y="1596"/>
                    </a:lnTo>
                    <a:lnTo>
                      <a:pt x="1224" y="1608"/>
                    </a:lnTo>
                    <a:lnTo>
                      <a:pt x="1230" y="1620"/>
                    </a:lnTo>
                    <a:lnTo>
                      <a:pt x="1242" y="1632"/>
                    </a:lnTo>
                    <a:lnTo>
                      <a:pt x="1242" y="1656"/>
                    </a:lnTo>
                    <a:lnTo>
                      <a:pt x="1236" y="1668"/>
                    </a:lnTo>
                    <a:lnTo>
                      <a:pt x="1236" y="1680"/>
                    </a:lnTo>
                    <a:lnTo>
                      <a:pt x="1242" y="1692"/>
                    </a:lnTo>
                    <a:lnTo>
                      <a:pt x="1254" y="1698"/>
                    </a:lnTo>
                    <a:lnTo>
                      <a:pt x="1254" y="1722"/>
                    </a:lnTo>
                    <a:lnTo>
                      <a:pt x="1260" y="1728"/>
                    </a:lnTo>
                    <a:lnTo>
                      <a:pt x="1272" y="1734"/>
                    </a:lnTo>
                    <a:lnTo>
                      <a:pt x="1284" y="1746"/>
                    </a:lnTo>
                    <a:lnTo>
                      <a:pt x="1284" y="1752"/>
                    </a:lnTo>
                    <a:lnTo>
                      <a:pt x="1278" y="1758"/>
                    </a:lnTo>
                    <a:lnTo>
                      <a:pt x="1272" y="1758"/>
                    </a:lnTo>
                    <a:lnTo>
                      <a:pt x="1272" y="1794"/>
                    </a:lnTo>
                    <a:lnTo>
                      <a:pt x="1284" y="1806"/>
                    </a:lnTo>
                    <a:lnTo>
                      <a:pt x="1284" y="1836"/>
                    </a:lnTo>
                    <a:lnTo>
                      <a:pt x="1296" y="1848"/>
                    </a:lnTo>
                    <a:lnTo>
                      <a:pt x="1314" y="1854"/>
                    </a:lnTo>
                    <a:lnTo>
                      <a:pt x="1326" y="1854"/>
                    </a:lnTo>
                    <a:lnTo>
                      <a:pt x="1338" y="1866"/>
                    </a:lnTo>
                    <a:lnTo>
                      <a:pt x="1380" y="1866"/>
                    </a:lnTo>
                    <a:lnTo>
                      <a:pt x="1380" y="1872"/>
                    </a:lnTo>
                    <a:lnTo>
                      <a:pt x="1386" y="1884"/>
                    </a:lnTo>
                    <a:lnTo>
                      <a:pt x="1410" y="1884"/>
                    </a:lnTo>
                    <a:lnTo>
                      <a:pt x="1410" y="1878"/>
                    </a:lnTo>
                    <a:lnTo>
                      <a:pt x="1398" y="1806"/>
                    </a:lnTo>
                    <a:lnTo>
                      <a:pt x="1416" y="1788"/>
                    </a:lnTo>
                    <a:lnTo>
                      <a:pt x="1398" y="1776"/>
                    </a:lnTo>
                    <a:lnTo>
                      <a:pt x="1398" y="1758"/>
                    </a:lnTo>
                    <a:lnTo>
                      <a:pt x="1404" y="1764"/>
                    </a:lnTo>
                    <a:lnTo>
                      <a:pt x="1422" y="1764"/>
                    </a:lnTo>
                    <a:lnTo>
                      <a:pt x="1428" y="1758"/>
                    </a:lnTo>
                    <a:lnTo>
                      <a:pt x="1428" y="1728"/>
                    </a:lnTo>
                    <a:lnTo>
                      <a:pt x="1452" y="1722"/>
                    </a:lnTo>
                    <a:lnTo>
                      <a:pt x="1458" y="1698"/>
                    </a:lnTo>
                    <a:lnTo>
                      <a:pt x="1476" y="1704"/>
                    </a:lnTo>
                    <a:lnTo>
                      <a:pt x="1494" y="1692"/>
                    </a:lnTo>
                    <a:lnTo>
                      <a:pt x="1488" y="1668"/>
                    </a:lnTo>
                    <a:lnTo>
                      <a:pt x="1500" y="1680"/>
                    </a:lnTo>
                    <a:lnTo>
                      <a:pt x="1500" y="1668"/>
                    </a:lnTo>
                    <a:lnTo>
                      <a:pt x="1506" y="1656"/>
                    </a:lnTo>
                    <a:lnTo>
                      <a:pt x="1512" y="1650"/>
                    </a:lnTo>
                    <a:lnTo>
                      <a:pt x="1518" y="1650"/>
                    </a:lnTo>
                    <a:lnTo>
                      <a:pt x="1524" y="1656"/>
                    </a:lnTo>
                    <a:lnTo>
                      <a:pt x="1524" y="1668"/>
                    </a:lnTo>
                    <a:lnTo>
                      <a:pt x="1542" y="1668"/>
                    </a:lnTo>
                    <a:lnTo>
                      <a:pt x="1554" y="1662"/>
                    </a:lnTo>
                    <a:lnTo>
                      <a:pt x="1572" y="1656"/>
                    </a:lnTo>
                    <a:lnTo>
                      <a:pt x="1596" y="1644"/>
                    </a:lnTo>
                    <a:lnTo>
                      <a:pt x="1602" y="1638"/>
                    </a:lnTo>
                    <a:lnTo>
                      <a:pt x="1608" y="1626"/>
                    </a:lnTo>
                    <a:lnTo>
                      <a:pt x="1620" y="1620"/>
                    </a:lnTo>
                    <a:lnTo>
                      <a:pt x="1626" y="1608"/>
                    </a:lnTo>
                    <a:lnTo>
                      <a:pt x="1632" y="1602"/>
                    </a:lnTo>
                    <a:lnTo>
                      <a:pt x="1632" y="1590"/>
                    </a:lnTo>
                    <a:lnTo>
                      <a:pt x="1626" y="1584"/>
                    </a:lnTo>
                    <a:lnTo>
                      <a:pt x="1626" y="1566"/>
                    </a:lnTo>
                    <a:lnTo>
                      <a:pt x="1632" y="1566"/>
                    </a:lnTo>
                    <a:lnTo>
                      <a:pt x="1656" y="1578"/>
                    </a:lnTo>
                    <a:lnTo>
                      <a:pt x="1662" y="1584"/>
                    </a:lnTo>
                    <a:lnTo>
                      <a:pt x="1674" y="1590"/>
                    </a:lnTo>
                    <a:lnTo>
                      <a:pt x="1686" y="1590"/>
                    </a:lnTo>
                    <a:lnTo>
                      <a:pt x="1692" y="1584"/>
                    </a:lnTo>
                    <a:lnTo>
                      <a:pt x="1710" y="1548"/>
                    </a:lnTo>
                    <a:lnTo>
                      <a:pt x="1716" y="1548"/>
                    </a:lnTo>
                    <a:lnTo>
                      <a:pt x="1734" y="1566"/>
                    </a:lnTo>
                    <a:lnTo>
                      <a:pt x="1746" y="1566"/>
                    </a:lnTo>
                    <a:lnTo>
                      <a:pt x="1752" y="1560"/>
                    </a:lnTo>
                    <a:lnTo>
                      <a:pt x="1758" y="1548"/>
                    </a:lnTo>
                    <a:lnTo>
                      <a:pt x="1764" y="1542"/>
                    </a:lnTo>
                    <a:lnTo>
                      <a:pt x="1770" y="1554"/>
                    </a:lnTo>
                    <a:lnTo>
                      <a:pt x="1776" y="1560"/>
                    </a:lnTo>
                    <a:lnTo>
                      <a:pt x="1782" y="1572"/>
                    </a:lnTo>
                    <a:lnTo>
                      <a:pt x="1794" y="1578"/>
                    </a:lnTo>
                    <a:lnTo>
                      <a:pt x="1800" y="1584"/>
                    </a:lnTo>
                    <a:lnTo>
                      <a:pt x="1818" y="1584"/>
                    </a:lnTo>
                    <a:lnTo>
                      <a:pt x="1824" y="1578"/>
                    </a:lnTo>
                    <a:lnTo>
                      <a:pt x="1830" y="1566"/>
                    </a:lnTo>
                    <a:lnTo>
                      <a:pt x="1842" y="1554"/>
                    </a:lnTo>
                    <a:lnTo>
                      <a:pt x="1848" y="1554"/>
                    </a:lnTo>
                    <a:lnTo>
                      <a:pt x="1860" y="1560"/>
                    </a:lnTo>
                    <a:lnTo>
                      <a:pt x="1872" y="1572"/>
                    </a:lnTo>
                    <a:lnTo>
                      <a:pt x="1872" y="1584"/>
                    </a:lnTo>
                    <a:lnTo>
                      <a:pt x="1878" y="1596"/>
                    </a:lnTo>
                    <a:lnTo>
                      <a:pt x="1878" y="1614"/>
                    </a:lnTo>
                    <a:lnTo>
                      <a:pt x="1914" y="1614"/>
                    </a:lnTo>
                    <a:lnTo>
                      <a:pt x="1920" y="1620"/>
                    </a:lnTo>
                    <a:lnTo>
                      <a:pt x="1926" y="1620"/>
                    </a:lnTo>
                    <a:lnTo>
                      <a:pt x="1926" y="1608"/>
                    </a:lnTo>
                    <a:lnTo>
                      <a:pt x="1932" y="1602"/>
                    </a:lnTo>
                    <a:lnTo>
                      <a:pt x="1932" y="1608"/>
                    </a:lnTo>
                    <a:lnTo>
                      <a:pt x="1956" y="1632"/>
                    </a:lnTo>
                    <a:lnTo>
                      <a:pt x="1962" y="1626"/>
                    </a:lnTo>
                    <a:lnTo>
                      <a:pt x="1968" y="1614"/>
                    </a:lnTo>
                    <a:lnTo>
                      <a:pt x="1968" y="1596"/>
                    </a:lnTo>
                    <a:lnTo>
                      <a:pt x="1962" y="1584"/>
                    </a:lnTo>
                    <a:lnTo>
                      <a:pt x="1980" y="1590"/>
                    </a:lnTo>
                    <a:lnTo>
                      <a:pt x="1992" y="1608"/>
                    </a:lnTo>
                    <a:lnTo>
                      <a:pt x="2004" y="1614"/>
                    </a:lnTo>
                    <a:lnTo>
                      <a:pt x="2004" y="1626"/>
                    </a:lnTo>
                    <a:lnTo>
                      <a:pt x="2010" y="1626"/>
                    </a:lnTo>
                    <a:lnTo>
                      <a:pt x="2016" y="1632"/>
                    </a:lnTo>
                    <a:lnTo>
                      <a:pt x="2028" y="1632"/>
                    </a:lnTo>
                    <a:lnTo>
                      <a:pt x="2034" y="1626"/>
                    </a:lnTo>
                    <a:lnTo>
                      <a:pt x="2034" y="1620"/>
                    </a:lnTo>
                    <a:lnTo>
                      <a:pt x="2028" y="1608"/>
                    </a:lnTo>
                    <a:lnTo>
                      <a:pt x="2022" y="1602"/>
                    </a:lnTo>
                    <a:lnTo>
                      <a:pt x="2010" y="1596"/>
                    </a:lnTo>
                    <a:lnTo>
                      <a:pt x="2004" y="1590"/>
                    </a:lnTo>
                    <a:lnTo>
                      <a:pt x="1998" y="1578"/>
                    </a:lnTo>
                    <a:lnTo>
                      <a:pt x="2010" y="1578"/>
                    </a:lnTo>
                    <a:lnTo>
                      <a:pt x="2022" y="1566"/>
                    </a:lnTo>
                    <a:lnTo>
                      <a:pt x="2022" y="1554"/>
                    </a:lnTo>
                    <a:lnTo>
                      <a:pt x="2016" y="1548"/>
                    </a:lnTo>
                    <a:lnTo>
                      <a:pt x="1968" y="1548"/>
                    </a:lnTo>
                    <a:lnTo>
                      <a:pt x="1962" y="1542"/>
                    </a:lnTo>
                    <a:lnTo>
                      <a:pt x="1962" y="1530"/>
                    </a:lnTo>
                    <a:lnTo>
                      <a:pt x="1968" y="1524"/>
                    </a:lnTo>
                    <a:lnTo>
                      <a:pt x="1986" y="1524"/>
                    </a:lnTo>
                    <a:lnTo>
                      <a:pt x="1998" y="1530"/>
                    </a:lnTo>
                    <a:lnTo>
                      <a:pt x="2004" y="1530"/>
                    </a:lnTo>
                    <a:lnTo>
                      <a:pt x="2016" y="1536"/>
                    </a:lnTo>
                    <a:lnTo>
                      <a:pt x="2028" y="1536"/>
                    </a:lnTo>
                    <a:lnTo>
                      <a:pt x="2064" y="1518"/>
                    </a:lnTo>
                    <a:lnTo>
                      <a:pt x="2070" y="1512"/>
                    </a:lnTo>
                    <a:lnTo>
                      <a:pt x="2082" y="1512"/>
                    </a:lnTo>
                    <a:lnTo>
                      <a:pt x="2082" y="1518"/>
                    </a:lnTo>
                    <a:lnTo>
                      <a:pt x="2106" y="1518"/>
                    </a:lnTo>
                    <a:lnTo>
                      <a:pt x="2118" y="1512"/>
                    </a:lnTo>
                    <a:lnTo>
                      <a:pt x="2124" y="1512"/>
                    </a:lnTo>
                    <a:lnTo>
                      <a:pt x="2130" y="1506"/>
                    </a:lnTo>
                    <a:lnTo>
                      <a:pt x="2130" y="1500"/>
                    </a:lnTo>
                    <a:lnTo>
                      <a:pt x="2136" y="1488"/>
                    </a:lnTo>
                    <a:lnTo>
                      <a:pt x="2136" y="1482"/>
                    </a:lnTo>
                    <a:lnTo>
                      <a:pt x="2142" y="1482"/>
                    </a:lnTo>
                    <a:lnTo>
                      <a:pt x="2142" y="1488"/>
                    </a:lnTo>
                    <a:lnTo>
                      <a:pt x="2148" y="1500"/>
                    </a:lnTo>
                    <a:lnTo>
                      <a:pt x="2148" y="1524"/>
                    </a:lnTo>
                    <a:lnTo>
                      <a:pt x="2154" y="1524"/>
                    </a:lnTo>
                    <a:lnTo>
                      <a:pt x="2160" y="1518"/>
                    </a:lnTo>
                    <a:lnTo>
                      <a:pt x="2172" y="1512"/>
                    </a:lnTo>
                    <a:lnTo>
                      <a:pt x="2190" y="1512"/>
                    </a:lnTo>
                    <a:lnTo>
                      <a:pt x="2202" y="1506"/>
                    </a:lnTo>
                    <a:lnTo>
                      <a:pt x="2214" y="1506"/>
                    </a:lnTo>
                    <a:lnTo>
                      <a:pt x="2226" y="1512"/>
                    </a:lnTo>
                    <a:lnTo>
                      <a:pt x="2232" y="1524"/>
                    </a:lnTo>
                    <a:lnTo>
                      <a:pt x="2232" y="1506"/>
                    </a:lnTo>
                    <a:lnTo>
                      <a:pt x="2244" y="1506"/>
                    </a:lnTo>
                    <a:lnTo>
                      <a:pt x="2256" y="1518"/>
                    </a:lnTo>
                    <a:lnTo>
                      <a:pt x="2256" y="1530"/>
                    </a:lnTo>
                    <a:lnTo>
                      <a:pt x="2286" y="1524"/>
                    </a:lnTo>
                    <a:lnTo>
                      <a:pt x="2280" y="1536"/>
                    </a:lnTo>
                    <a:lnTo>
                      <a:pt x="2280" y="1548"/>
                    </a:lnTo>
                    <a:lnTo>
                      <a:pt x="2286" y="1554"/>
                    </a:lnTo>
                    <a:lnTo>
                      <a:pt x="2286" y="1566"/>
                    </a:lnTo>
                    <a:lnTo>
                      <a:pt x="2298" y="1578"/>
                    </a:lnTo>
                    <a:lnTo>
                      <a:pt x="2310" y="1578"/>
                    </a:lnTo>
                    <a:lnTo>
                      <a:pt x="2328" y="1572"/>
                    </a:lnTo>
                    <a:lnTo>
                      <a:pt x="2352" y="1548"/>
                    </a:lnTo>
                    <a:lnTo>
                      <a:pt x="2370" y="1542"/>
                    </a:lnTo>
                    <a:lnTo>
                      <a:pt x="2382" y="1542"/>
                    </a:lnTo>
                    <a:lnTo>
                      <a:pt x="2394" y="1548"/>
                    </a:lnTo>
                    <a:lnTo>
                      <a:pt x="2400" y="1554"/>
                    </a:lnTo>
                    <a:lnTo>
                      <a:pt x="2418" y="1590"/>
                    </a:lnTo>
                    <a:lnTo>
                      <a:pt x="2418" y="1602"/>
                    </a:lnTo>
                    <a:lnTo>
                      <a:pt x="2424" y="1608"/>
                    </a:lnTo>
                    <a:lnTo>
                      <a:pt x="2436" y="1614"/>
                    </a:lnTo>
                    <a:lnTo>
                      <a:pt x="2466" y="1614"/>
                    </a:lnTo>
                    <a:lnTo>
                      <a:pt x="2460" y="1656"/>
                    </a:lnTo>
                    <a:lnTo>
                      <a:pt x="2460" y="1662"/>
                    </a:lnTo>
                    <a:lnTo>
                      <a:pt x="2454" y="1668"/>
                    </a:lnTo>
                    <a:lnTo>
                      <a:pt x="2436" y="1704"/>
                    </a:lnTo>
                    <a:lnTo>
                      <a:pt x="2436" y="1710"/>
                    </a:lnTo>
                    <a:lnTo>
                      <a:pt x="2448" y="1722"/>
                    </a:lnTo>
                    <a:lnTo>
                      <a:pt x="2454" y="1722"/>
                    </a:lnTo>
                    <a:lnTo>
                      <a:pt x="2460" y="1734"/>
                    </a:lnTo>
                    <a:lnTo>
                      <a:pt x="2436" y="1758"/>
                    </a:lnTo>
                    <a:lnTo>
                      <a:pt x="2454" y="1806"/>
                    </a:lnTo>
                    <a:lnTo>
                      <a:pt x="2472" y="1788"/>
                    </a:lnTo>
                    <a:lnTo>
                      <a:pt x="2478" y="1788"/>
                    </a:lnTo>
                    <a:lnTo>
                      <a:pt x="2478" y="1794"/>
                    </a:lnTo>
                    <a:lnTo>
                      <a:pt x="2472" y="1800"/>
                    </a:lnTo>
                    <a:lnTo>
                      <a:pt x="2466" y="1812"/>
                    </a:lnTo>
                    <a:lnTo>
                      <a:pt x="2466" y="1818"/>
                    </a:lnTo>
                    <a:lnTo>
                      <a:pt x="2460" y="1830"/>
                    </a:lnTo>
                    <a:lnTo>
                      <a:pt x="2478" y="1830"/>
                    </a:lnTo>
                    <a:lnTo>
                      <a:pt x="2478" y="1878"/>
                    </a:lnTo>
                    <a:lnTo>
                      <a:pt x="2496" y="1878"/>
                    </a:lnTo>
                    <a:lnTo>
                      <a:pt x="2502" y="1884"/>
                    </a:lnTo>
                    <a:lnTo>
                      <a:pt x="2508" y="1884"/>
                    </a:lnTo>
                    <a:lnTo>
                      <a:pt x="2508" y="1896"/>
                    </a:lnTo>
                    <a:lnTo>
                      <a:pt x="2502" y="1908"/>
                    </a:lnTo>
                    <a:lnTo>
                      <a:pt x="2502" y="1920"/>
                    </a:lnTo>
                    <a:lnTo>
                      <a:pt x="2526" y="1944"/>
                    </a:lnTo>
                    <a:lnTo>
                      <a:pt x="2532" y="1944"/>
                    </a:lnTo>
                    <a:lnTo>
                      <a:pt x="2538" y="1938"/>
                    </a:lnTo>
                    <a:lnTo>
                      <a:pt x="2550" y="1932"/>
                    </a:lnTo>
                    <a:lnTo>
                      <a:pt x="2556" y="1932"/>
                    </a:lnTo>
                    <a:lnTo>
                      <a:pt x="2562" y="1926"/>
                    </a:lnTo>
                    <a:lnTo>
                      <a:pt x="2568" y="1914"/>
                    </a:lnTo>
                    <a:lnTo>
                      <a:pt x="2568" y="1896"/>
                    </a:lnTo>
                    <a:lnTo>
                      <a:pt x="2586" y="1896"/>
                    </a:lnTo>
                    <a:lnTo>
                      <a:pt x="2586" y="1872"/>
                    </a:lnTo>
                    <a:lnTo>
                      <a:pt x="2604" y="1836"/>
                    </a:lnTo>
                    <a:lnTo>
                      <a:pt x="2604" y="1818"/>
                    </a:lnTo>
                    <a:lnTo>
                      <a:pt x="2610" y="1806"/>
                    </a:lnTo>
                    <a:lnTo>
                      <a:pt x="2610" y="1794"/>
                    </a:lnTo>
                    <a:lnTo>
                      <a:pt x="2604" y="1782"/>
                    </a:lnTo>
                    <a:lnTo>
                      <a:pt x="2604" y="1770"/>
                    </a:lnTo>
                    <a:lnTo>
                      <a:pt x="2598" y="1752"/>
                    </a:lnTo>
                    <a:lnTo>
                      <a:pt x="2592" y="1740"/>
                    </a:lnTo>
                    <a:lnTo>
                      <a:pt x="2586" y="1722"/>
                    </a:lnTo>
                    <a:lnTo>
                      <a:pt x="2586" y="1704"/>
                    </a:lnTo>
                    <a:lnTo>
                      <a:pt x="2592" y="1686"/>
                    </a:lnTo>
                    <a:lnTo>
                      <a:pt x="2598" y="1674"/>
                    </a:lnTo>
                    <a:lnTo>
                      <a:pt x="2598" y="1644"/>
                    </a:lnTo>
                    <a:lnTo>
                      <a:pt x="2592" y="1626"/>
                    </a:lnTo>
                    <a:lnTo>
                      <a:pt x="2586" y="1614"/>
                    </a:lnTo>
                    <a:lnTo>
                      <a:pt x="2580" y="1596"/>
                    </a:lnTo>
                    <a:lnTo>
                      <a:pt x="2574" y="1584"/>
                    </a:lnTo>
                    <a:lnTo>
                      <a:pt x="2574" y="1518"/>
                    </a:lnTo>
                    <a:lnTo>
                      <a:pt x="2580" y="1488"/>
                    </a:lnTo>
                    <a:lnTo>
                      <a:pt x="2586" y="1470"/>
                    </a:lnTo>
                    <a:lnTo>
                      <a:pt x="2598" y="1452"/>
                    </a:lnTo>
                    <a:lnTo>
                      <a:pt x="2604" y="1440"/>
                    </a:lnTo>
                    <a:lnTo>
                      <a:pt x="2610" y="1422"/>
                    </a:lnTo>
                    <a:lnTo>
                      <a:pt x="2616" y="1416"/>
                    </a:lnTo>
                    <a:lnTo>
                      <a:pt x="2616" y="1410"/>
                    </a:lnTo>
                    <a:lnTo>
                      <a:pt x="2628" y="1398"/>
                    </a:lnTo>
                    <a:lnTo>
                      <a:pt x="2652" y="1380"/>
                    </a:lnTo>
                    <a:lnTo>
                      <a:pt x="2658" y="1356"/>
                    </a:lnTo>
                    <a:lnTo>
                      <a:pt x="2670" y="1368"/>
                    </a:lnTo>
                    <a:lnTo>
                      <a:pt x="2676" y="1344"/>
                    </a:lnTo>
                    <a:lnTo>
                      <a:pt x="2730" y="1344"/>
                    </a:lnTo>
                    <a:lnTo>
                      <a:pt x="2730" y="1314"/>
                    </a:lnTo>
                    <a:lnTo>
                      <a:pt x="2748" y="1320"/>
                    </a:lnTo>
                    <a:lnTo>
                      <a:pt x="2754" y="1308"/>
                    </a:lnTo>
                    <a:lnTo>
                      <a:pt x="2772" y="1308"/>
                    </a:lnTo>
                    <a:lnTo>
                      <a:pt x="2796" y="1278"/>
                    </a:lnTo>
                    <a:lnTo>
                      <a:pt x="2796" y="1272"/>
                    </a:lnTo>
                    <a:lnTo>
                      <a:pt x="2802" y="1266"/>
                    </a:lnTo>
                    <a:lnTo>
                      <a:pt x="2814" y="1242"/>
                    </a:lnTo>
                    <a:lnTo>
                      <a:pt x="2832" y="1236"/>
                    </a:lnTo>
                    <a:lnTo>
                      <a:pt x="2862" y="1236"/>
                    </a:lnTo>
                    <a:lnTo>
                      <a:pt x="2874" y="1242"/>
                    </a:lnTo>
                    <a:lnTo>
                      <a:pt x="2886" y="1242"/>
                    </a:lnTo>
                    <a:lnTo>
                      <a:pt x="2892" y="1236"/>
                    </a:lnTo>
                    <a:lnTo>
                      <a:pt x="2904" y="1212"/>
                    </a:lnTo>
                    <a:lnTo>
                      <a:pt x="2910" y="1206"/>
                    </a:lnTo>
                    <a:lnTo>
                      <a:pt x="2916" y="1194"/>
                    </a:lnTo>
                    <a:lnTo>
                      <a:pt x="2928" y="1200"/>
                    </a:lnTo>
                    <a:lnTo>
                      <a:pt x="2934" y="1176"/>
                    </a:lnTo>
                    <a:lnTo>
                      <a:pt x="3018" y="1170"/>
                    </a:lnTo>
                    <a:lnTo>
                      <a:pt x="3024" y="1146"/>
                    </a:lnTo>
                    <a:lnTo>
                      <a:pt x="2982" y="1152"/>
                    </a:lnTo>
                    <a:lnTo>
                      <a:pt x="2988" y="1146"/>
                    </a:lnTo>
                    <a:lnTo>
                      <a:pt x="3000" y="1140"/>
                    </a:lnTo>
                    <a:lnTo>
                      <a:pt x="3006" y="1140"/>
                    </a:lnTo>
                    <a:lnTo>
                      <a:pt x="3006" y="1134"/>
                    </a:lnTo>
                    <a:lnTo>
                      <a:pt x="3000" y="1128"/>
                    </a:lnTo>
                    <a:lnTo>
                      <a:pt x="2994" y="1116"/>
                    </a:lnTo>
                    <a:lnTo>
                      <a:pt x="2988" y="1110"/>
                    </a:lnTo>
                    <a:lnTo>
                      <a:pt x="3024" y="1104"/>
                    </a:lnTo>
                    <a:lnTo>
                      <a:pt x="3048" y="1116"/>
                    </a:lnTo>
                    <a:lnTo>
                      <a:pt x="3078" y="1080"/>
                    </a:lnTo>
                    <a:lnTo>
                      <a:pt x="3024" y="1074"/>
                    </a:lnTo>
                    <a:lnTo>
                      <a:pt x="3024" y="1050"/>
                    </a:lnTo>
                    <a:lnTo>
                      <a:pt x="3036" y="1062"/>
                    </a:lnTo>
                    <a:lnTo>
                      <a:pt x="3078" y="1050"/>
                    </a:lnTo>
                    <a:lnTo>
                      <a:pt x="3084" y="990"/>
                    </a:lnTo>
                    <a:lnTo>
                      <a:pt x="3054" y="1002"/>
                    </a:lnTo>
                    <a:lnTo>
                      <a:pt x="3048" y="972"/>
                    </a:lnTo>
                    <a:lnTo>
                      <a:pt x="3024" y="960"/>
                    </a:lnTo>
                    <a:lnTo>
                      <a:pt x="3072" y="978"/>
                    </a:lnTo>
                    <a:lnTo>
                      <a:pt x="3078" y="972"/>
                    </a:lnTo>
                    <a:lnTo>
                      <a:pt x="3060" y="954"/>
                    </a:lnTo>
                    <a:lnTo>
                      <a:pt x="3090" y="954"/>
                    </a:lnTo>
                    <a:lnTo>
                      <a:pt x="3084" y="948"/>
                    </a:lnTo>
                    <a:lnTo>
                      <a:pt x="3078" y="936"/>
                    </a:lnTo>
                    <a:lnTo>
                      <a:pt x="3060" y="918"/>
                    </a:lnTo>
                    <a:lnTo>
                      <a:pt x="3054" y="906"/>
                    </a:lnTo>
                    <a:lnTo>
                      <a:pt x="3054" y="894"/>
                    </a:lnTo>
                    <a:lnTo>
                      <a:pt x="3060" y="888"/>
                    </a:lnTo>
                    <a:lnTo>
                      <a:pt x="3042" y="870"/>
                    </a:lnTo>
                    <a:lnTo>
                      <a:pt x="3042" y="864"/>
                    </a:lnTo>
                    <a:lnTo>
                      <a:pt x="3048" y="864"/>
                    </a:lnTo>
                    <a:lnTo>
                      <a:pt x="3066" y="846"/>
                    </a:lnTo>
                    <a:lnTo>
                      <a:pt x="3072" y="846"/>
                    </a:lnTo>
                    <a:lnTo>
                      <a:pt x="3066" y="870"/>
                    </a:lnTo>
                    <a:lnTo>
                      <a:pt x="3096" y="894"/>
                    </a:lnTo>
                    <a:lnTo>
                      <a:pt x="3096" y="888"/>
                    </a:lnTo>
                    <a:lnTo>
                      <a:pt x="3102" y="882"/>
                    </a:lnTo>
                    <a:lnTo>
                      <a:pt x="3102" y="864"/>
                    </a:lnTo>
                    <a:lnTo>
                      <a:pt x="3108" y="852"/>
                    </a:lnTo>
                    <a:lnTo>
                      <a:pt x="3108" y="834"/>
                    </a:lnTo>
                    <a:lnTo>
                      <a:pt x="3114" y="822"/>
                    </a:lnTo>
                    <a:lnTo>
                      <a:pt x="3144" y="792"/>
                    </a:lnTo>
                    <a:lnTo>
                      <a:pt x="3156" y="786"/>
                    </a:lnTo>
                    <a:lnTo>
                      <a:pt x="3162" y="786"/>
                    </a:lnTo>
                    <a:lnTo>
                      <a:pt x="3162" y="792"/>
                    </a:lnTo>
                    <a:lnTo>
                      <a:pt x="3150" y="816"/>
                    </a:lnTo>
                    <a:lnTo>
                      <a:pt x="3132" y="834"/>
                    </a:lnTo>
                    <a:lnTo>
                      <a:pt x="3126" y="846"/>
                    </a:lnTo>
                    <a:lnTo>
                      <a:pt x="3120" y="882"/>
                    </a:lnTo>
                    <a:lnTo>
                      <a:pt x="3138" y="882"/>
                    </a:lnTo>
                    <a:lnTo>
                      <a:pt x="3138" y="894"/>
                    </a:lnTo>
                    <a:lnTo>
                      <a:pt x="3132" y="906"/>
                    </a:lnTo>
                    <a:lnTo>
                      <a:pt x="3132" y="918"/>
                    </a:lnTo>
                    <a:lnTo>
                      <a:pt x="3114" y="936"/>
                    </a:lnTo>
                    <a:lnTo>
                      <a:pt x="3102" y="960"/>
                    </a:lnTo>
                    <a:lnTo>
                      <a:pt x="3102" y="978"/>
                    </a:lnTo>
                    <a:lnTo>
                      <a:pt x="3126" y="954"/>
                    </a:lnTo>
                    <a:lnTo>
                      <a:pt x="3132" y="942"/>
                    </a:lnTo>
                    <a:lnTo>
                      <a:pt x="3144" y="930"/>
                    </a:lnTo>
                    <a:lnTo>
                      <a:pt x="3168" y="918"/>
                    </a:lnTo>
                    <a:lnTo>
                      <a:pt x="3180" y="906"/>
                    </a:lnTo>
                    <a:lnTo>
                      <a:pt x="3192" y="882"/>
                    </a:lnTo>
                    <a:lnTo>
                      <a:pt x="3192" y="798"/>
                    </a:lnTo>
                    <a:lnTo>
                      <a:pt x="3198" y="780"/>
                    </a:lnTo>
                    <a:lnTo>
                      <a:pt x="3198" y="768"/>
                    </a:lnTo>
                    <a:lnTo>
                      <a:pt x="3204" y="756"/>
                    </a:lnTo>
                    <a:lnTo>
                      <a:pt x="3210" y="756"/>
                    </a:lnTo>
                    <a:lnTo>
                      <a:pt x="3210" y="768"/>
                    </a:lnTo>
                    <a:lnTo>
                      <a:pt x="3204" y="780"/>
                    </a:lnTo>
                    <a:lnTo>
                      <a:pt x="3204" y="798"/>
                    </a:lnTo>
                    <a:lnTo>
                      <a:pt x="3210" y="798"/>
                    </a:lnTo>
                    <a:lnTo>
                      <a:pt x="3216" y="804"/>
                    </a:lnTo>
                    <a:lnTo>
                      <a:pt x="3216" y="840"/>
                    </a:lnTo>
                    <a:lnTo>
                      <a:pt x="3234" y="822"/>
                    </a:lnTo>
                    <a:lnTo>
                      <a:pt x="3240" y="810"/>
                    </a:lnTo>
                    <a:lnTo>
                      <a:pt x="3288" y="762"/>
                    </a:lnTo>
                    <a:lnTo>
                      <a:pt x="3300" y="756"/>
                    </a:lnTo>
                    <a:lnTo>
                      <a:pt x="3324" y="732"/>
                    </a:lnTo>
                    <a:lnTo>
                      <a:pt x="3324" y="726"/>
                    </a:lnTo>
                    <a:lnTo>
                      <a:pt x="3318" y="720"/>
                    </a:lnTo>
                    <a:lnTo>
                      <a:pt x="3312" y="720"/>
                    </a:lnTo>
                    <a:lnTo>
                      <a:pt x="3306" y="714"/>
                    </a:lnTo>
                    <a:lnTo>
                      <a:pt x="3306" y="702"/>
                    </a:lnTo>
                    <a:lnTo>
                      <a:pt x="3312" y="696"/>
                    </a:lnTo>
                    <a:lnTo>
                      <a:pt x="3324" y="696"/>
                    </a:lnTo>
                    <a:lnTo>
                      <a:pt x="3330" y="702"/>
                    </a:lnTo>
                    <a:lnTo>
                      <a:pt x="3360" y="702"/>
                    </a:lnTo>
                    <a:lnTo>
                      <a:pt x="3390" y="696"/>
                    </a:lnTo>
                    <a:lnTo>
                      <a:pt x="3450" y="672"/>
                    </a:lnTo>
                    <a:lnTo>
                      <a:pt x="3462" y="666"/>
                    </a:lnTo>
                    <a:lnTo>
                      <a:pt x="3444" y="660"/>
                    </a:lnTo>
                    <a:lnTo>
                      <a:pt x="3438" y="660"/>
                    </a:lnTo>
                    <a:lnTo>
                      <a:pt x="3432" y="666"/>
                    </a:lnTo>
                    <a:lnTo>
                      <a:pt x="3414" y="672"/>
                    </a:lnTo>
                    <a:lnTo>
                      <a:pt x="3402" y="672"/>
                    </a:lnTo>
                    <a:lnTo>
                      <a:pt x="3390" y="678"/>
                    </a:lnTo>
                    <a:lnTo>
                      <a:pt x="3372" y="678"/>
                    </a:lnTo>
                    <a:lnTo>
                      <a:pt x="3360" y="684"/>
                    </a:lnTo>
                    <a:lnTo>
                      <a:pt x="3348" y="684"/>
                    </a:lnTo>
                    <a:lnTo>
                      <a:pt x="3342" y="678"/>
                    </a:lnTo>
                    <a:lnTo>
                      <a:pt x="3342" y="672"/>
                    </a:lnTo>
                    <a:lnTo>
                      <a:pt x="3348" y="666"/>
                    </a:lnTo>
                    <a:lnTo>
                      <a:pt x="3354" y="654"/>
                    </a:lnTo>
                    <a:lnTo>
                      <a:pt x="3366" y="654"/>
                    </a:lnTo>
                    <a:lnTo>
                      <a:pt x="3378" y="648"/>
                    </a:lnTo>
                    <a:lnTo>
                      <a:pt x="3402" y="648"/>
                    </a:lnTo>
                    <a:lnTo>
                      <a:pt x="3492" y="642"/>
                    </a:lnTo>
                    <a:lnTo>
                      <a:pt x="3534" y="606"/>
                    </a:lnTo>
                    <a:lnTo>
                      <a:pt x="3546" y="618"/>
                    </a:lnTo>
                    <a:lnTo>
                      <a:pt x="3570" y="606"/>
                    </a:lnTo>
                    <a:lnTo>
                      <a:pt x="3570" y="642"/>
                    </a:lnTo>
                    <a:lnTo>
                      <a:pt x="3600" y="618"/>
                    </a:lnTo>
                    <a:lnTo>
                      <a:pt x="3624" y="612"/>
                    </a:lnTo>
                    <a:lnTo>
                      <a:pt x="3630" y="582"/>
                    </a:lnTo>
                    <a:lnTo>
                      <a:pt x="3618" y="570"/>
                    </a:lnTo>
                    <a:lnTo>
                      <a:pt x="3612" y="600"/>
                    </a:lnTo>
                    <a:lnTo>
                      <a:pt x="3588" y="600"/>
                    </a:lnTo>
                    <a:lnTo>
                      <a:pt x="3588" y="576"/>
                    </a:lnTo>
                    <a:lnTo>
                      <a:pt x="3570" y="552"/>
                    </a:lnTo>
                    <a:lnTo>
                      <a:pt x="3594" y="540"/>
                    </a:lnTo>
                    <a:lnTo>
                      <a:pt x="3600" y="504"/>
                    </a:lnTo>
                    <a:lnTo>
                      <a:pt x="3612" y="498"/>
                    </a:lnTo>
                    <a:lnTo>
                      <a:pt x="3618" y="486"/>
                    </a:lnTo>
                    <a:lnTo>
                      <a:pt x="3630" y="480"/>
                    </a:lnTo>
                    <a:lnTo>
                      <a:pt x="3636" y="474"/>
                    </a:lnTo>
                    <a:lnTo>
                      <a:pt x="3648" y="468"/>
                    </a:lnTo>
                    <a:lnTo>
                      <a:pt x="3654" y="456"/>
                    </a:lnTo>
                    <a:lnTo>
                      <a:pt x="3654" y="450"/>
                    </a:lnTo>
                    <a:lnTo>
                      <a:pt x="3660" y="444"/>
                    </a:lnTo>
                    <a:lnTo>
                      <a:pt x="3660" y="438"/>
                    </a:lnTo>
                    <a:lnTo>
                      <a:pt x="3690" y="444"/>
                    </a:lnTo>
                    <a:lnTo>
                      <a:pt x="3702" y="426"/>
                    </a:lnTo>
                    <a:lnTo>
                      <a:pt x="3708" y="432"/>
                    </a:lnTo>
                    <a:lnTo>
                      <a:pt x="3720" y="432"/>
                    </a:lnTo>
                    <a:lnTo>
                      <a:pt x="3726" y="426"/>
                    </a:lnTo>
                    <a:lnTo>
                      <a:pt x="3738" y="420"/>
                    </a:lnTo>
                    <a:lnTo>
                      <a:pt x="3744" y="408"/>
                    </a:lnTo>
                    <a:lnTo>
                      <a:pt x="3756" y="402"/>
                    </a:lnTo>
                    <a:lnTo>
                      <a:pt x="3774" y="384"/>
                    </a:lnTo>
                    <a:lnTo>
                      <a:pt x="3774" y="414"/>
                    </a:lnTo>
                    <a:lnTo>
                      <a:pt x="3786" y="408"/>
                    </a:lnTo>
                    <a:lnTo>
                      <a:pt x="3792" y="402"/>
                    </a:lnTo>
                    <a:lnTo>
                      <a:pt x="3828" y="384"/>
                    </a:lnTo>
                    <a:lnTo>
                      <a:pt x="3834" y="378"/>
                    </a:lnTo>
                    <a:lnTo>
                      <a:pt x="3846" y="378"/>
                    </a:lnTo>
                    <a:lnTo>
                      <a:pt x="3858" y="372"/>
                    </a:lnTo>
                    <a:lnTo>
                      <a:pt x="3876" y="372"/>
                    </a:lnTo>
                    <a:lnTo>
                      <a:pt x="3888" y="366"/>
                    </a:lnTo>
                    <a:lnTo>
                      <a:pt x="3900" y="366"/>
                    </a:lnTo>
                    <a:lnTo>
                      <a:pt x="3900" y="330"/>
                    </a:lnTo>
                    <a:lnTo>
                      <a:pt x="3876" y="330"/>
                    </a:lnTo>
                    <a:lnTo>
                      <a:pt x="3876" y="324"/>
                    </a:lnTo>
                    <a:lnTo>
                      <a:pt x="3882" y="312"/>
                    </a:lnTo>
                    <a:lnTo>
                      <a:pt x="3894" y="300"/>
                    </a:lnTo>
                    <a:lnTo>
                      <a:pt x="3888" y="294"/>
                    </a:lnTo>
                    <a:lnTo>
                      <a:pt x="3882" y="294"/>
                    </a:lnTo>
                    <a:lnTo>
                      <a:pt x="3876" y="288"/>
                    </a:lnTo>
                    <a:lnTo>
                      <a:pt x="3876" y="276"/>
                    </a:lnTo>
                    <a:lnTo>
                      <a:pt x="3888" y="252"/>
                    </a:lnTo>
                    <a:lnTo>
                      <a:pt x="3900" y="222"/>
                    </a:lnTo>
                    <a:lnTo>
                      <a:pt x="3912" y="198"/>
                    </a:lnTo>
                    <a:lnTo>
                      <a:pt x="3918" y="174"/>
                    </a:lnTo>
                    <a:lnTo>
                      <a:pt x="3918" y="168"/>
                    </a:lnTo>
                    <a:lnTo>
                      <a:pt x="3912" y="162"/>
                    </a:lnTo>
                    <a:lnTo>
                      <a:pt x="3876" y="162"/>
                    </a:lnTo>
                    <a:lnTo>
                      <a:pt x="3864" y="168"/>
                    </a:lnTo>
                    <a:lnTo>
                      <a:pt x="3858" y="168"/>
                    </a:lnTo>
                    <a:close/>
                    <a:moveTo>
                      <a:pt x="2718" y="366"/>
                    </a:moveTo>
                    <a:lnTo>
                      <a:pt x="2712" y="366"/>
                    </a:lnTo>
                    <a:lnTo>
                      <a:pt x="2712" y="354"/>
                    </a:lnTo>
                    <a:lnTo>
                      <a:pt x="2718" y="348"/>
                    </a:lnTo>
                    <a:lnTo>
                      <a:pt x="2718" y="336"/>
                    </a:lnTo>
                    <a:lnTo>
                      <a:pt x="2712" y="336"/>
                    </a:lnTo>
                    <a:lnTo>
                      <a:pt x="2700" y="342"/>
                    </a:lnTo>
                    <a:lnTo>
                      <a:pt x="2694" y="348"/>
                    </a:lnTo>
                    <a:lnTo>
                      <a:pt x="2682" y="354"/>
                    </a:lnTo>
                    <a:lnTo>
                      <a:pt x="2676" y="372"/>
                    </a:lnTo>
                    <a:lnTo>
                      <a:pt x="2664" y="366"/>
                    </a:lnTo>
                    <a:lnTo>
                      <a:pt x="2664" y="378"/>
                    </a:lnTo>
                    <a:lnTo>
                      <a:pt x="2652" y="402"/>
                    </a:lnTo>
                    <a:lnTo>
                      <a:pt x="2628" y="414"/>
                    </a:lnTo>
                    <a:lnTo>
                      <a:pt x="2628" y="426"/>
                    </a:lnTo>
                    <a:lnTo>
                      <a:pt x="2634" y="432"/>
                    </a:lnTo>
                    <a:lnTo>
                      <a:pt x="2628" y="432"/>
                    </a:lnTo>
                    <a:lnTo>
                      <a:pt x="2598" y="462"/>
                    </a:lnTo>
                    <a:lnTo>
                      <a:pt x="2598" y="468"/>
                    </a:lnTo>
                    <a:lnTo>
                      <a:pt x="2604" y="474"/>
                    </a:lnTo>
                    <a:lnTo>
                      <a:pt x="2610" y="474"/>
                    </a:lnTo>
                    <a:lnTo>
                      <a:pt x="2616" y="480"/>
                    </a:lnTo>
                    <a:lnTo>
                      <a:pt x="2616" y="492"/>
                    </a:lnTo>
                    <a:lnTo>
                      <a:pt x="2610" y="498"/>
                    </a:lnTo>
                    <a:lnTo>
                      <a:pt x="2604" y="498"/>
                    </a:lnTo>
                    <a:lnTo>
                      <a:pt x="2604" y="510"/>
                    </a:lnTo>
                    <a:lnTo>
                      <a:pt x="2592" y="534"/>
                    </a:lnTo>
                    <a:lnTo>
                      <a:pt x="2580" y="552"/>
                    </a:lnTo>
                    <a:lnTo>
                      <a:pt x="2550" y="582"/>
                    </a:lnTo>
                    <a:lnTo>
                      <a:pt x="2478" y="618"/>
                    </a:lnTo>
                    <a:lnTo>
                      <a:pt x="2484" y="588"/>
                    </a:lnTo>
                    <a:lnTo>
                      <a:pt x="2478" y="582"/>
                    </a:lnTo>
                    <a:lnTo>
                      <a:pt x="2478" y="576"/>
                    </a:lnTo>
                    <a:lnTo>
                      <a:pt x="2472" y="570"/>
                    </a:lnTo>
                    <a:lnTo>
                      <a:pt x="2472" y="564"/>
                    </a:lnTo>
                    <a:lnTo>
                      <a:pt x="2478" y="552"/>
                    </a:lnTo>
                    <a:lnTo>
                      <a:pt x="2496" y="534"/>
                    </a:lnTo>
                    <a:lnTo>
                      <a:pt x="2502" y="522"/>
                    </a:lnTo>
                    <a:lnTo>
                      <a:pt x="2502" y="516"/>
                    </a:lnTo>
                    <a:lnTo>
                      <a:pt x="2496" y="510"/>
                    </a:lnTo>
                    <a:lnTo>
                      <a:pt x="2496" y="492"/>
                    </a:lnTo>
                    <a:lnTo>
                      <a:pt x="2502" y="480"/>
                    </a:lnTo>
                    <a:lnTo>
                      <a:pt x="2508" y="474"/>
                    </a:lnTo>
                    <a:lnTo>
                      <a:pt x="2514" y="462"/>
                    </a:lnTo>
                    <a:lnTo>
                      <a:pt x="2526" y="456"/>
                    </a:lnTo>
                    <a:lnTo>
                      <a:pt x="2532" y="450"/>
                    </a:lnTo>
                    <a:lnTo>
                      <a:pt x="2532" y="432"/>
                    </a:lnTo>
                    <a:lnTo>
                      <a:pt x="2538" y="432"/>
                    </a:lnTo>
                    <a:lnTo>
                      <a:pt x="2622" y="348"/>
                    </a:lnTo>
                    <a:lnTo>
                      <a:pt x="2592" y="354"/>
                    </a:lnTo>
                    <a:lnTo>
                      <a:pt x="2580" y="360"/>
                    </a:lnTo>
                    <a:lnTo>
                      <a:pt x="2574" y="366"/>
                    </a:lnTo>
                    <a:lnTo>
                      <a:pt x="2562" y="372"/>
                    </a:lnTo>
                    <a:lnTo>
                      <a:pt x="2556" y="378"/>
                    </a:lnTo>
                    <a:lnTo>
                      <a:pt x="2550" y="378"/>
                    </a:lnTo>
                    <a:lnTo>
                      <a:pt x="2550" y="372"/>
                    </a:lnTo>
                    <a:lnTo>
                      <a:pt x="2556" y="366"/>
                    </a:lnTo>
                    <a:lnTo>
                      <a:pt x="2568" y="360"/>
                    </a:lnTo>
                    <a:lnTo>
                      <a:pt x="2592" y="336"/>
                    </a:lnTo>
                    <a:lnTo>
                      <a:pt x="2604" y="330"/>
                    </a:lnTo>
                    <a:lnTo>
                      <a:pt x="2658" y="276"/>
                    </a:lnTo>
                    <a:lnTo>
                      <a:pt x="2670" y="288"/>
                    </a:lnTo>
                    <a:lnTo>
                      <a:pt x="2682" y="276"/>
                    </a:lnTo>
                    <a:lnTo>
                      <a:pt x="2682" y="288"/>
                    </a:lnTo>
                    <a:lnTo>
                      <a:pt x="2694" y="288"/>
                    </a:lnTo>
                    <a:lnTo>
                      <a:pt x="2700" y="282"/>
                    </a:lnTo>
                    <a:lnTo>
                      <a:pt x="2700" y="270"/>
                    </a:lnTo>
                    <a:lnTo>
                      <a:pt x="2724" y="276"/>
                    </a:lnTo>
                    <a:lnTo>
                      <a:pt x="2736" y="270"/>
                    </a:lnTo>
                    <a:lnTo>
                      <a:pt x="2742" y="270"/>
                    </a:lnTo>
                    <a:lnTo>
                      <a:pt x="2754" y="264"/>
                    </a:lnTo>
                    <a:lnTo>
                      <a:pt x="2772" y="264"/>
                    </a:lnTo>
                    <a:lnTo>
                      <a:pt x="2784" y="270"/>
                    </a:lnTo>
                    <a:lnTo>
                      <a:pt x="2790" y="276"/>
                    </a:lnTo>
                    <a:lnTo>
                      <a:pt x="2796" y="288"/>
                    </a:lnTo>
                    <a:lnTo>
                      <a:pt x="2772" y="294"/>
                    </a:lnTo>
                    <a:lnTo>
                      <a:pt x="2772" y="318"/>
                    </a:lnTo>
                    <a:lnTo>
                      <a:pt x="2742" y="318"/>
                    </a:lnTo>
                    <a:lnTo>
                      <a:pt x="2736" y="324"/>
                    </a:lnTo>
                    <a:lnTo>
                      <a:pt x="2736" y="360"/>
                    </a:lnTo>
                    <a:lnTo>
                      <a:pt x="2730" y="366"/>
                    </a:lnTo>
                    <a:lnTo>
                      <a:pt x="2718" y="36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3" name="Puerto Ric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66E28ED-115A-4270-B6BF-77D0CAF7F27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66814" y="3855130"/>
                <a:ext cx="61150" cy="26573"/>
              </a:xfrm>
              <a:custGeom>
                <a:avLst/>
                <a:gdLst>
                  <a:gd name="T0" fmla="*/ 2147483647 w 138"/>
                  <a:gd name="T1" fmla="*/ 2147483647 h 60"/>
                  <a:gd name="T2" fmla="*/ 2147483647 w 138"/>
                  <a:gd name="T3" fmla="*/ 2147483647 h 60"/>
                  <a:gd name="T4" fmla="*/ 2147483647 w 138"/>
                  <a:gd name="T5" fmla="*/ 0 h 60"/>
                  <a:gd name="T6" fmla="*/ 2147483647 w 138"/>
                  <a:gd name="T7" fmla="*/ 0 h 60"/>
                  <a:gd name="T8" fmla="*/ 2147483647 w 138"/>
                  <a:gd name="T9" fmla="*/ 2147483647 h 60"/>
                  <a:gd name="T10" fmla="*/ 0 w 138"/>
                  <a:gd name="T11" fmla="*/ 2147483647 h 60"/>
                  <a:gd name="T12" fmla="*/ 0 w 138"/>
                  <a:gd name="T13" fmla="*/ 2147483647 h 60"/>
                  <a:gd name="T14" fmla="*/ 2147483647 w 138"/>
                  <a:gd name="T15" fmla="*/ 2147483647 h 60"/>
                  <a:gd name="T16" fmla="*/ 2147483647 w 138"/>
                  <a:gd name="T17" fmla="*/ 2147483647 h 60"/>
                  <a:gd name="T18" fmla="*/ 2147483647 w 138"/>
                  <a:gd name="T19" fmla="*/ 2147483647 h 60"/>
                  <a:gd name="T20" fmla="*/ 2147483647 w 138"/>
                  <a:gd name="T21" fmla="*/ 2147483647 h 60"/>
                  <a:gd name="T22" fmla="*/ 2147483647 w 138"/>
                  <a:gd name="T23" fmla="*/ 2147483647 h 60"/>
                  <a:gd name="T24" fmla="*/ 2147483647 w 138"/>
                  <a:gd name="T25" fmla="*/ 2147483647 h 60"/>
                  <a:gd name="T26" fmla="*/ 2147483647 w 138"/>
                  <a:gd name="T27" fmla="*/ 2147483647 h 60"/>
                  <a:gd name="T28" fmla="*/ 2147483647 w 138"/>
                  <a:gd name="T29" fmla="*/ 2147483647 h 60"/>
                  <a:gd name="T30" fmla="*/ 2147483647 w 138"/>
                  <a:gd name="T31" fmla="*/ 2147483647 h 60"/>
                  <a:gd name="T32" fmla="*/ 2147483647 w 138"/>
                  <a:gd name="T33" fmla="*/ 2147483647 h 60"/>
                  <a:gd name="T34" fmla="*/ 2147483647 w 138"/>
                  <a:gd name="T35" fmla="*/ 2147483647 h 6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38"/>
                  <a:gd name="T55" fmla="*/ 0 h 60"/>
                  <a:gd name="T56" fmla="*/ 138 w 138"/>
                  <a:gd name="T57" fmla="*/ 60 h 6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38" h="60">
                    <a:moveTo>
                      <a:pt x="84" y="12"/>
                    </a:moveTo>
                    <a:lnTo>
                      <a:pt x="72" y="12"/>
                    </a:lnTo>
                    <a:lnTo>
                      <a:pt x="36" y="0"/>
                    </a:lnTo>
                    <a:lnTo>
                      <a:pt x="12" y="0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48"/>
                    </a:lnTo>
                    <a:lnTo>
                      <a:pt x="36" y="60"/>
                    </a:lnTo>
                    <a:lnTo>
                      <a:pt x="48" y="48"/>
                    </a:lnTo>
                    <a:lnTo>
                      <a:pt x="102" y="48"/>
                    </a:lnTo>
                    <a:lnTo>
                      <a:pt x="120" y="36"/>
                    </a:lnTo>
                    <a:lnTo>
                      <a:pt x="132" y="30"/>
                    </a:lnTo>
                    <a:lnTo>
                      <a:pt x="138" y="18"/>
                    </a:lnTo>
                    <a:lnTo>
                      <a:pt x="138" y="12"/>
                    </a:lnTo>
                    <a:lnTo>
                      <a:pt x="132" y="6"/>
                    </a:lnTo>
                    <a:lnTo>
                      <a:pt x="114" y="6"/>
                    </a:lnTo>
                    <a:lnTo>
                      <a:pt x="102" y="12"/>
                    </a:lnTo>
                    <a:lnTo>
                      <a:pt x="84" y="1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4" name="Panam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338564E-6764-4C92-A53C-5D57B0FA24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0915" y="4173980"/>
                <a:ext cx="179959" cy="86800"/>
              </a:xfrm>
              <a:custGeom>
                <a:avLst/>
                <a:gdLst>
                  <a:gd name="T0" fmla="*/ 2147483647 w 408"/>
                  <a:gd name="T1" fmla="*/ 2147483647 h 198"/>
                  <a:gd name="T2" fmla="*/ 2147483647 w 408"/>
                  <a:gd name="T3" fmla="*/ 2147483647 h 198"/>
                  <a:gd name="T4" fmla="*/ 2147483647 w 408"/>
                  <a:gd name="T5" fmla="*/ 2147483647 h 198"/>
                  <a:gd name="T6" fmla="*/ 2147483647 w 408"/>
                  <a:gd name="T7" fmla="*/ 2147483647 h 198"/>
                  <a:gd name="T8" fmla="*/ 2147483647 w 408"/>
                  <a:gd name="T9" fmla="*/ 2147483647 h 198"/>
                  <a:gd name="T10" fmla="*/ 2147483647 w 408"/>
                  <a:gd name="T11" fmla="*/ 2147483647 h 198"/>
                  <a:gd name="T12" fmla="*/ 2147483647 w 408"/>
                  <a:gd name="T13" fmla="*/ 2147483647 h 198"/>
                  <a:gd name="T14" fmla="*/ 2147483647 w 408"/>
                  <a:gd name="T15" fmla="*/ 2147483647 h 198"/>
                  <a:gd name="T16" fmla="*/ 2147483647 w 408"/>
                  <a:gd name="T17" fmla="*/ 2147483647 h 198"/>
                  <a:gd name="T18" fmla="*/ 2147483647 w 408"/>
                  <a:gd name="T19" fmla="*/ 2147483647 h 198"/>
                  <a:gd name="T20" fmla="*/ 2147483647 w 408"/>
                  <a:gd name="T21" fmla="*/ 2147483647 h 198"/>
                  <a:gd name="T22" fmla="*/ 2147483647 w 408"/>
                  <a:gd name="T23" fmla="*/ 2147483647 h 198"/>
                  <a:gd name="T24" fmla="*/ 2147483647 w 408"/>
                  <a:gd name="T25" fmla="*/ 2147483647 h 198"/>
                  <a:gd name="T26" fmla="*/ 2147483647 w 408"/>
                  <a:gd name="T27" fmla="*/ 2147483647 h 198"/>
                  <a:gd name="T28" fmla="*/ 2147483647 w 408"/>
                  <a:gd name="T29" fmla="*/ 2147483647 h 198"/>
                  <a:gd name="T30" fmla="*/ 2147483647 w 408"/>
                  <a:gd name="T31" fmla="*/ 2147483647 h 198"/>
                  <a:gd name="T32" fmla="*/ 2147483647 w 408"/>
                  <a:gd name="T33" fmla="*/ 0 h 198"/>
                  <a:gd name="T34" fmla="*/ 2147483647 w 408"/>
                  <a:gd name="T35" fmla="*/ 2147483647 h 198"/>
                  <a:gd name="T36" fmla="*/ 2147483647 w 408"/>
                  <a:gd name="T37" fmla="*/ 2147483647 h 198"/>
                  <a:gd name="T38" fmla="*/ 2147483647 w 408"/>
                  <a:gd name="T39" fmla="*/ 2147483647 h 198"/>
                  <a:gd name="T40" fmla="*/ 2147483647 w 408"/>
                  <a:gd name="T41" fmla="*/ 2147483647 h 198"/>
                  <a:gd name="T42" fmla="*/ 2147483647 w 408"/>
                  <a:gd name="T43" fmla="*/ 2147483647 h 198"/>
                  <a:gd name="T44" fmla="*/ 2147483647 w 408"/>
                  <a:gd name="T45" fmla="*/ 2147483647 h 198"/>
                  <a:gd name="T46" fmla="*/ 2147483647 w 408"/>
                  <a:gd name="T47" fmla="*/ 2147483647 h 198"/>
                  <a:gd name="T48" fmla="*/ 2147483647 w 408"/>
                  <a:gd name="T49" fmla="*/ 2147483647 h 198"/>
                  <a:gd name="T50" fmla="*/ 2147483647 w 408"/>
                  <a:gd name="T51" fmla="*/ 2147483647 h 198"/>
                  <a:gd name="T52" fmla="*/ 2147483647 w 408"/>
                  <a:gd name="T53" fmla="*/ 2147483647 h 198"/>
                  <a:gd name="T54" fmla="*/ 2147483647 w 408"/>
                  <a:gd name="T55" fmla="*/ 2147483647 h 198"/>
                  <a:gd name="T56" fmla="*/ 0 w 408"/>
                  <a:gd name="T57" fmla="*/ 2147483647 h 198"/>
                  <a:gd name="T58" fmla="*/ 2147483647 w 408"/>
                  <a:gd name="T59" fmla="*/ 2147483647 h 198"/>
                  <a:gd name="T60" fmla="*/ 2147483647 w 408"/>
                  <a:gd name="T61" fmla="*/ 2147483647 h 198"/>
                  <a:gd name="T62" fmla="*/ 2147483647 w 408"/>
                  <a:gd name="T63" fmla="*/ 2147483647 h 198"/>
                  <a:gd name="T64" fmla="*/ 0 w 408"/>
                  <a:gd name="T65" fmla="*/ 2147483647 h 198"/>
                  <a:gd name="T66" fmla="*/ 2147483647 w 408"/>
                  <a:gd name="T67" fmla="*/ 2147483647 h 198"/>
                  <a:gd name="T68" fmla="*/ 2147483647 w 408"/>
                  <a:gd name="T69" fmla="*/ 2147483647 h 198"/>
                  <a:gd name="T70" fmla="*/ 2147483647 w 408"/>
                  <a:gd name="T71" fmla="*/ 2147483647 h 198"/>
                  <a:gd name="T72" fmla="*/ 2147483647 w 408"/>
                  <a:gd name="T73" fmla="*/ 2147483647 h 198"/>
                  <a:gd name="T74" fmla="*/ 2147483647 w 408"/>
                  <a:gd name="T75" fmla="*/ 2147483647 h 198"/>
                  <a:gd name="T76" fmla="*/ 2147483647 w 408"/>
                  <a:gd name="T77" fmla="*/ 2147483647 h 198"/>
                  <a:gd name="T78" fmla="*/ 2147483647 w 408"/>
                  <a:gd name="T79" fmla="*/ 2147483647 h 198"/>
                  <a:gd name="T80" fmla="*/ 2147483647 w 408"/>
                  <a:gd name="T81" fmla="*/ 2147483647 h 198"/>
                  <a:gd name="T82" fmla="*/ 2147483647 w 408"/>
                  <a:gd name="T83" fmla="*/ 2147483647 h 198"/>
                  <a:gd name="T84" fmla="*/ 2147483647 w 408"/>
                  <a:gd name="T85" fmla="*/ 2147483647 h 198"/>
                  <a:gd name="T86" fmla="*/ 2147483647 w 408"/>
                  <a:gd name="T87" fmla="*/ 2147483647 h 198"/>
                  <a:gd name="T88" fmla="*/ 2147483647 w 408"/>
                  <a:gd name="T89" fmla="*/ 2147483647 h 198"/>
                  <a:gd name="T90" fmla="*/ 2147483647 w 408"/>
                  <a:gd name="T91" fmla="*/ 2147483647 h 198"/>
                  <a:gd name="T92" fmla="*/ 2147483647 w 408"/>
                  <a:gd name="T93" fmla="*/ 2147483647 h 198"/>
                  <a:gd name="T94" fmla="*/ 2147483647 w 408"/>
                  <a:gd name="T95" fmla="*/ 2147483647 h 198"/>
                  <a:gd name="T96" fmla="*/ 2147483647 w 408"/>
                  <a:gd name="T97" fmla="*/ 2147483647 h 198"/>
                  <a:gd name="T98" fmla="*/ 2147483647 w 408"/>
                  <a:gd name="T99" fmla="*/ 2147483647 h 198"/>
                  <a:gd name="T100" fmla="*/ 2147483647 w 408"/>
                  <a:gd name="T101" fmla="*/ 2147483647 h 19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408"/>
                  <a:gd name="T154" fmla="*/ 0 h 198"/>
                  <a:gd name="T155" fmla="*/ 408 w 408"/>
                  <a:gd name="T156" fmla="*/ 198 h 198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408" h="198">
                    <a:moveTo>
                      <a:pt x="306" y="66"/>
                    </a:moveTo>
                    <a:lnTo>
                      <a:pt x="318" y="78"/>
                    </a:lnTo>
                    <a:lnTo>
                      <a:pt x="324" y="90"/>
                    </a:lnTo>
                    <a:lnTo>
                      <a:pt x="330" y="96"/>
                    </a:lnTo>
                    <a:lnTo>
                      <a:pt x="342" y="90"/>
                    </a:lnTo>
                    <a:lnTo>
                      <a:pt x="372" y="120"/>
                    </a:lnTo>
                    <a:lnTo>
                      <a:pt x="342" y="102"/>
                    </a:lnTo>
                    <a:lnTo>
                      <a:pt x="342" y="120"/>
                    </a:lnTo>
                    <a:lnTo>
                      <a:pt x="336" y="132"/>
                    </a:lnTo>
                    <a:lnTo>
                      <a:pt x="336" y="162"/>
                    </a:lnTo>
                    <a:lnTo>
                      <a:pt x="342" y="168"/>
                    </a:lnTo>
                    <a:lnTo>
                      <a:pt x="348" y="180"/>
                    </a:lnTo>
                    <a:lnTo>
                      <a:pt x="354" y="186"/>
                    </a:lnTo>
                    <a:lnTo>
                      <a:pt x="360" y="186"/>
                    </a:lnTo>
                    <a:lnTo>
                      <a:pt x="372" y="156"/>
                    </a:lnTo>
                    <a:lnTo>
                      <a:pt x="378" y="162"/>
                    </a:lnTo>
                    <a:lnTo>
                      <a:pt x="390" y="168"/>
                    </a:lnTo>
                    <a:lnTo>
                      <a:pt x="396" y="162"/>
                    </a:lnTo>
                    <a:lnTo>
                      <a:pt x="408" y="138"/>
                    </a:lnTo>
                    <a:lnTo>
                      <a:pt x="408" y="126"/>
                    </a:lnTo>
                    <a:lnTo>
                      <a:pt x="396" y="120"/>
                    </a:lnTo>
                    <a:lnTo>
                      <a:pt x="390" y="108"/>
                    </a:lnTo>
                    <a:lnTo>
                      <a:pt x="390" y="90"/>
                    </a:lnTo>
                    <a:lnTo>
                      <a:pt x="396" y="84"/>
                    </a:lnTo>
                    <a:lnTo>
                      <a:pt x="372" y="66"/>
                    </a:lnTo>
                    <a:lnTo>
                      <a:pt x="372" y="60"/>
                    </a:lnTo>
                    <a:lnTo>
                      <a:pt x="366" y="54"/>
                    </a:lnTo>
                    <a:lnTo>
                      <a:pt x="366" y="42"/>
                    </a:lnTo>
                    <a:lnTo>
                      <a:pt x="360" y="30"/>
                    </a:lnTo>
                    <a:lnTo>
                      <a:pt x="348" y="24"/>
                    </a:lnTo>
                    <a:lnTo>
                      <a:pt x="330" y="18"/>
                    </a:lnTo>
                    <a:lnTo>
                      <a:pt x="288" y="18"/>
                    </a:lnTo>
                    <a:lnTo>
                      <a:pt x="282" y="0"/>
                    </a:lnTo>
                    <a:lnTo>
                      <a:pt x="246" y="0"/>
                    </a:lnTo>
                    <a:lnTo>
                      <a:pt x="234" y="6"/>
                    </a:lnTo>
                    <a:lnTo>
                      <a:pt x="228" y="12"/>
                    </a:lnTo>
                    <a:lnTo>
                      <a:pt x="222" y="24"/>
                    </a:lnTo>
                    <a:lnTo>
                      <a:pt x="210" y="36"/>
                    </a:lnTo>
                    <a:lnTo>
                      <a:pt x="204" y="36"/>
                    </a:lnTo>
                    <a:lnTo>
                      <a:pt x="198" y="30"/>
                    </a:lnTo>
                    <a:lnTo>
                      <a:pt x="192" y="30"/>
                    </a:lnTo>
                    <a:lnTo>
                      <a:pt x="168" y="42"/>
                    </a:lnTo>
                    <a:lnTo>
                      <a:pt x="144" y="66"/>
                    </a:lnTo>
                    <a:lnTo>
                      <a:pt x="132" y="72"/>
                    </a:lnTo>
                    <a:lnTo>
                      <a:pt x="120" y="72"/>
                    </a:lnTo>
                    <a:lnTo>
                      <a:pt x="114" y="66"/>
                    </a:lnTo>
                    <a:lnTo>
                      <a:pt x="102" y="60"/>
                    </a:lnTo>
                    <a:lnTo>
                      <a:pt x="90" y="42"/>
                    </a:lnTo>
                    <a:lnTo>
                      <a:pt x="78" y="54"/>
                    </a:lnTo>
                    <a:lnTo>
                      <a:pt x="60" y="54"/>
                    </a:lnTo>
                    <a:lnTo>
                      <a:pt x="48" y="42"/>
                    </a:lnTo>
                    <a:lnTo>
                      <a:pt x="48" y="18"/>
                    </a:lnTo>
                    <a:lnTo>
                      <a:pt x="36" y="6"/>
                    </a:lnTo>
                    <a:lnTo>
                      <a:pt x="24" y="6"/>
                    </a:lnTo>
                    <a:lnTo>
                      <a:pt x="18" y="12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6" y="42"/>
                    </a:lnTo>
                    <a:lnTo>
                      <a:pt x="6" y="48"/>
                    </a:lnTo>
                    <a:lnTo>
                      <a:pt x="24" y="48"/>
                    </a:lnTo>
                    <a:lnTo>
                      <a:pt x="30" y="54"/>
                    </a:lnTo>
                    <a:lnTo>
                      <a:pt x="12" y="72"/>
                    </a:lnTo>
                    <a:lnTo>
                      <a:pt x="6" y="72"/>
                    </a:lnTo>
                    <a:lnTo>
                      <a:pt x="6" y="96"/>
                    </a:lnTo>
                    <a:lnTo>
                      <a:pt x="0" y="102"/>
                    </a:lnTo>
                    <a:lnTo>
                      <a:pt x="6" y="108"/>
                    </a:lnTo>
                    <a:lnTo>
                      <a:pt x="48" y="102"/>
                    </a:lnTo>
                    <a:lnTo>
                      <a:pt x="60" y="120"/>
                    </a:lnTo>
                    <a:lnTo>
                      <a:pt x="90" y="114"/>
                    </a:lnTo>
                    <a:lnTo>
                      <a:pt x="90" y="126"/>
                    </a:lnTo>
                    <a:lnTo>
                      <a:pt x="84" y="132"/>
                    </a:lnTo>
                    <a:lnTo>
                      <a:pt x="84" y="150"/>
                    </a:lnTo>
                    <a:lnTo>
                      <a:pt x="90" y="156"/>
                    </a:lnTo>
                    <a:lnTo>
                      <a:pt x="108" y="156"/>
                    </a:lnTo>
                    <a:lnTo>
                      <a:pt x="114" y="150"/>
                    </a:lnTo>
                    <a:lnTo>
                      <a:pt x="120" y="150"/>
                    </a:lnTo>
                    <a:lnTo>
                      <a:pt x="120" y="132"/>
                    </a:lnTo>
                    <a:lnTo>
                      <a:pt x="138" y="126"/>
                    </a:lnTo>
                    <a:lnTo>
                      <a:pt x="138" y="150"/>
                    </a:lnTo>
                    <a:lnTo>
                      <a:pt x="144" y="168"/>
                    </a:lnTo>
                    <a:lnTo>
                      <a:pt x="144" y="180"/>
                    </a:lnTo>
                    <a:lnTo>
                      <a:pt x="150" y="192"/>
                    </a:lnTo>
                    <a:lnTo>
                      <a:pt x="156" y="198"/>
                    </a:lnTo>
                    <a:lnTo>
                      <a:pt x="162" y="198"/>
                    </a:lnTo>
                    <a:lnTo>
                      <a:pt x="180" y="192"/>
                    </a:lnTo>
                    <a:lnTo>
                      <a:pt x="198" y="174"/>
                    </a:lnTo>
                    <a:lnTo>
                      <a:pt x="204" y="174"/>
                    </a:lnTo>
                    <a:lnTo>
                      <a:pt x="198" y="168"/>
                    </a:lnTo>
                    <a:lnTo>
                      <a:pt x="186" y="162"/>
                    </a:lnTo>
                    <a:lnTo>
                      <a:pt x="180" y="150"/>
                    </a:lnTo>
                    <a:lnTo>
                      <a:pt x="174" y="144"/>
                    </a:lnTo>
                    <a:lnTo>
                      <a:pt x="168" y="132"/>
                    </a:lnTo>
                    <a:lnTo>
                      <a:pt x="162" y="126"/>
                    </a:lnTo>
                    <a:lnTo>
                      <a:pt x="186" y="102"/>
                    </a:lnTo>
                    <a:lnTo>
                      <a:pt x="222" y="84"/>
                    </a:lnTo>
                    <a:lnTo>
                      <a:pt x="228" y="72"/>
                    </a:lnTo>
                    <a:lnTo>
                      <a:pt x="246" y="54"/>
                    </a:lnTo>
                    <a:lnTo>
                      <a:pt x="258" y="48"/>
                    </a:lnTo>
                    <a:lnTo>
                      <a:pt x="276" y="54"/>
                    </a:lnTo>
                    <a:lnTo>
                      <a:pt x="288" y="60"/>
                    </a:lnTo>
                    <a:lnTo>
                      <a:pt x="306" y="6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5" name="Nicaragu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99A50C0-D604-426B-BA59-BF1AF8E1C3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06382" y="3984441"/>
                <a:ext cx="145015" cy="148799"/>
              </a:xfrm>
              <a:custGeom>
                <a:avLst/>
                <a:gdLst>
                  <a:gd name="T0" fmla="*/ 2147483647 w 324"/>
                  <a:gd name="T1" fmla="*/ 2147483647 h 330"/>
                  <a:gd name="T2" fmla="*/ 2147483647 w 324"/>
                  <a:gd name="T3" fmla="*/ 0 h 330"/>
                  <a:gd name="T4" fmla="*/ 2147483647 w 324"/>
                  <a:gd name="T5" fmla="*/ 2147483647 h 330"/>
                  <a:gd name="T6" fmla="*/ 2147483647 w 324"/>
                  <a:gd name="T7" fmla="*/ 2147483647 h 330"/>
                  <a:gd name="T8" fmla="*/ 2147483647 w 324"/>
                  <a:gd name="T9" fmla="*/ 0 h 330"/>
                  <a:gd name="T10" fmla="*/ 2147483647 w 324"/>
                  <a:gd name="T11" fmla="*/ 2147483647 h 330"/>
                  <a:gd name="T12" fmla="*/ 2147483647 w 324"/>
                  <a:gd name="T13" fmla="*/ 2147483647 h 330"/>
                  <a:gd name="T14" fmla="*/ 2147483647 w 324"/>
                  <a:gd name="T15" fmla="*/ 2147483647 h 330"/>
                  <a:gd name="T16" fmla="*/ 2147483647 w 324"/>
                  <a:gd name="T17" fmla="*/ 2147483647 h 330"/>
                  <a:gd name="T18" fmla="*/ 2147483647 w 324"/>
                  <a:gd name="T19" fmla="*/ 2147483647 h 330"/>
                  <a:gd name="T20" fmla="*/ 2147483647 w 324"/>
                  <a:gd name="T21" fmla="*/ 2147483647 h 330"/>
                  <a:gd name="T22" fmla="*/ 2147483647 w 324"/>
                  <a:gd name="T23" fmla="*/ 2147483647 h 330"/>
                  <a:gd name="T24" fmla="*/ 2147483647 w 324"/>
                  <a:gd name="T25" fmla="*/ 2147483647 h 330"/>
                  <a:gd name="T26" fmla="*/ 2147483647 w 324"/>
                  <a:gd name="T27" fmla="*/ 2147483647 h 330"/>
                  <a:gd name="T28" fmla="*/ 2147483647 w 324"/>
                  <a:gd name="T29" fmla="*/ 2147483647 h 330"/>
                  <a:gd name="T30" fmla="*/ 2147483647 w 324"/>
                  <a:gd name="T31" fmla="*/ 2147483647 h 330"/>
                  <a:gd name="T32" fmla="*/ 2147483647 w 324"/>
                  <a:gd name="T33" fmla="*/ 2147483647 h 330"/>
                  <a:gd name="T34" fmla="*/ 2147483647 w 324"/>
                  <a:gd name="T35" fmla="*/ 2147483647 h 330"/>
                  <a:gd name="T36" fmla="*/ 2147483647 w 324"/>
                  <a:gd name="T37" fmla="*/ 2147483647 h 330"/>
                  <a:gd name="T38" fmla="*/ 2147483647 w 324"/>
                  <a:gd name="T39" fmla="*/ 2147483647 h 330"/>
                  <a:gd name="T40" fmla="*/ 2147483647 w 324"/>
                  <a:gd name="T41" fmla="*/ 2147483647 h 330"/>
                  <a:gd name="T42" fmla="*/ 2147483647 w 324"/>
                  <a:gd name="T43" fmla="*/ 2147483647 h 330"/>
                  <a:gd name="T44" fmla="*/ 2147483647 w 324"/>
                  <a:gd name="T45" fmla="*/ 2147483647 h 330"/>
                  <a:gd name="T46" fmla="*/ 2147483647 w 324"/>
                  <a:gd name="T47" fmla="*/ 2147483647 h 330"/>
                  <a:gd name="T48" fmla="*/ 2147483647 w 324"/>
                  <a:gd name="T49" fmla="*/ 2147483647 h 330"/>
                  <a:gd name="T50" fmla="*/ 2147483647 w 324"/>
                  <a:gd name="T51" fmla="*/ 2147483647 h 330"/>
                  <a:gd name="T52" fmla="*/ 2147483647 w 324"/>
                  <a:gd name="T53" fmla="*/ 2147483647 h 330"/>
                  <a:gd name="T54" fmla="*/ 2147483647 w 324"/>
                  <a:gd name="T55" fmla="*/ 2147483647 h 330"/>
                  <a:gd name="T56" fmla="*/ 2147483647 w 324"/>
                  <a:gd name="T57" fmla="*/ 2147483647 h 330"/>
                  <a:gd name="T58" fmla="*/ 2147483647 w 324"/>
                  <a:gd name="T59" fmla="*/ 2147483647 h 330"/>
                  <a:gd name="T60" fmla="*/ 2147483647 w 324"/>
                  <a:gd name="T61" fmla="*/ 2147483647 h 330"/>
                  <a:gd name="T62" fmla="*/ 2147483647 w 324"/>
                  <a:gd name="T63" fmla="*/ 2147483647 h 330"/>
                  <a:gd name="T64" fmla="*/ 2147483647 w 324"/>
                  <a:gd name="T65" fmla="*/ 2147483647 h 330"/>
                  <a:gd name="T66" fmla="*/ 2147483647 w 324"/>
                  <a:gd name="T67" fmla="*/ 2147483647 h 330"/>
                  <a:gd name="T68" fmla="*/ 2147483647 w 324"/>
                  <a:gd name="T69" fmla="*/ 2147483647 h 330"/>
                  <a:gd name="T70" fmla="*/ 2147483647 w 324"/>
                  <a:gd name="T71" fmla="*/ 2147483647 h 330"/>
                  <a:gd name="T72" fmla="*/ 2147483647 w 324"/>
                  <a:gd name="T73" fmla="*/ 2147483647 h 330"/>
                  <a:gd name="T74" fmla="*/ 2147483647 w 324"/>
                  <a:gd name="T75" fmla="*/ 2147483647 h 330"/>
                  <a:gd name="T76" fmla="*/ 2147483647 w 324"/>
                  <a:gd name="T77" fmla="*/ 2147483647 h 330"/>
                  <a:gd name="T78" fmla="*/ 2147483647 w 324"/>
                  <a:gd name="T79" fmla="*/ 2147483647 h 330"/>
                  <a:gd name="T80" fmla="*/ 2147483647 w 324"/>
                  <a:gd name="T81" fmla="*/ 2147483647 h 33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24"/>
                  <a:gd name="T124" fmla="*/ 0 h 330"/>
                  <a:gd name="T125" fmla="*/ 324 w 324"/>
                  <a:gd name="T126" fmla="*/ 330 h 33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24" h="330">
                    <a:moveTo>
                      <a:pt x="324" y="18"/>
                    </a:moveTo>
                    <a:lnTo>
                      <a:pt x="318" y="12"/>
                    </a:lnTo>
                    <a:lnTo>
                      <a:pt x="318" y="6"/>
                    </a:lnTo>
                    <a:lnTo>
                      <a:pt x="312" y="0"/>
                    </a:lnTo>
                    <a:lnTo>
                      <a:pt x="264" y="0"/>
                    </a:lnTo>
                    <a:lnTo>
                      <a:pt x="264" y="6"/>
                    </a:lnTo>
                    <a:lnTo>
                      <a:pt x="252" y="18"/>
                    </a:lnTo>
                    <a:lnTo>
                      <a:pt x="240" y="18"/>
                    </a:lnTo>
                    <a:lnTo>
                      <a:pt x="222" y="0"/>
                    </a:lnTo>
                    <a:lnTo>
                      <a:pt x="210" y="0"/>
                    </a:lnTo>
                    <a:lnTo>
                      <a:pt x="198" y="12"/>
                    </a:lnTo>
                    <a:lnTo>
                      <a:pt x="198" y="30"/>
                    </a:lnTo>
                    <a:lnTo>
                      <a:pt x="180" y="30"/>
                    </a:lnTo>
                    <a:lnTo>
                      <a:pt x="168" y="54"/>
                    </a:lnTo>
                    <a:lnTo>
                      <a:pt x="144" y="78"/>
                    </a:lnTo>
                    <a:lnTo>
                      <a:pt x="126" y="78"/>
                    </a:lnTo>
                    <a:lnTo>
                      <a:pt x="120" y="72"/>
                    </a:lnTo>
                    <a:lnTo>
                      <a:pt x="120" y="66"/>
                    </a:lnTo>
                    <a:lnTo>
                      <a:pt x="108" y="66"/>
                    </a:lnTo>
                    <a:lnTo>
                      <a:pt x="102" y="72"/>
                    </a:lnTo>
                    <a:lnTo>
                      <a:pt x="96" y="84"/>
                    </a:lnTo>
                    <a:lnTo>
                      <a:pt x="60" y="84"/>
                    </a:lnTo>
                    <a:lnTo>
                      <a:pt x="54" y="90"/>
                    </a:lnTo>
                    <a:lnTo>
                      <a:pt x="54" y="102"/>
                    </a:lnTo>
                    <a:lnTo>
                      <a:pt x="60" y="108"/>
                    </a:lnTo>
                    <a:lnTo>
                      <a:pt x="60" y="120"/>
                    </a:lnTo>
                    <a:lnTo>
                      <a:pt x="66" y="126"/>
                    </a:lnTo>
                    <a:lnTo>
                      <a:pt x="48" y="126"/>
                    </a:lnTo>
                    <a:lnTo>
                      <a:pt x="48" y="144"/>
                    </a:lnTo>
                    <a:lnTo>
                      <a:pt x="36" y="150"/>
                    </a:lnTo>
                    <a:lnTo>
                      <a:pt x="0" y="150"/>
                    </a:lnTo>
                    <a:lnTo>
                      <a:pt x="48" y="204"/>
                    </a:lnTo>
                    <a:lnTo>
                      <a:pt x="48" y="210"/>
                    </a:lnTo>
                    <a:lnTo>
                      <a:pt x="54" y="216"/>
                    </a:lnTo>
                    <a:lnTo>
                      <a:pt x="54" y="228"/>
                    </a:lnTo>
                    <a:lnTo>
                      <a:pt x="66" y="252"/>
                    </a:lnTo>
                    <a:lnTo>
                      <a:pt x="72" y="258"/>
                    </a:lnTo>
                    <a:lnTo>
                      <a:pt x="96" y="270"/>
                    </a:lnTo>
                    <a:lnTo>
                      <a:pt x="108" y="282"/>
                    </a:lnTo>
                    <a:lnTo>
                      <a:pt x="114" y="294"/>
                    </a:lnTo>
                    <a:lnTo>
                      <a:pt x="138" y="294"/>
                    </a:lnTo>
                    <a:lnTo>
                      <a:pt x="132" y="294"/>
                    </a:lnTo>
                    <a:lnTo>
                      <a:pt x="120" y="282"/>
                    </a:lnTo>
                    <a:lnTo>
                      <a:pt x="120" y="276"/>
                    </a:lnTo>
                    <a:lnTo>
                      <a:pt x="126" y="270"/>
                    </a:lnTo>
                    <a:lnTo>
                      <a:pt x="138" y="270"/>
                    </a:lnTo>
                    <a:lnTo>
                      <a:pt x="138" y="264"/>
                    </a:lnTo>
                    <a:lnTo>
                      <a:pt x="132" y="258"/>
                    </a:lnTo>
                    <a:lnTo>
                      <a:pt x="126" y="258"/>
                    </a:lnTo>
                    <a:lnTo>
                      <a:pt x="120" y="264"/>
                    </a:lnTo>
                    <a:lnTo>
                      <a:pt x="114" y="264"/>
                    </a:lnTo>
                    <a:lnTo>
                      <a:pt x="114" y="222"/>
                    </a:lnTo>
                    <a:lnTo>
                      <a:pt x="120" y="222"/>
                    </a:lnTo>
                    <a:lnTo>
                      <a:pt x="132" y="228"/>
                    </a:lnTo>
                    <a:lnTo>
                      <a:pt x="144" y="240"/>
                    </a:lnTo>
                    <a:lnTo>
                      <a:pt x="156" y="246"/>
                    </a:lnTo>
                    <a:lnTo>
                      <a:pt x="180" y="270"/>
                    </a:lnTo>
                    <a:lnTo>
                      <a:pt x="192" y="306"/>
                    </a:lnTo>
                    <a:lnTo>
                      <a:pt x="210" y="306"/>
                    </a:lnTo>
                    <a:lnTo>
                      <a:pt x="216" y="312"/>
                    </a:lnTo>
                    <a:lnTo>
                      <a:pt x="222" y="312"/>
                    </a:lnTo>
                    <a:lnTo>
                      <a:pt x="222" y="318"/>
                    </a:lnTo>
                    <a:lnTo>
                      <a:pt x="234" y="330"/>
                    </a:lnTo>
                    <a:lnTo>
                      <a:pt x="270" y="330"/>
                    </a:lnTo>
                    <a:lnTo>
                      <a:pt x="270" y="324"/>
                    </a:lnTo>
                    <a:lnTo>
                      <a:pt x="258" y="312"/>
                    </a:lnTo>
                    <a:lnTo>
                      <a:pt x="252" y="300"/>
                    </a:lnTo>
                    <a:lnTo>
                      <a:pt x="252" y="276"/>
                    </a:lnTo>
                    <a:lnTo>
                      <a:pt x="264" y="264"/>
                    </a:lnTo>
                    <a:lnTo>
                      <a:pt x="270" y="264"/>
                    </a:lnTo>
                    <a:lnTo>
                      <a:pt x="270" y="246"/>
                    </a:lnTo>
                    <a:lnTo>
                      <a:pt x="264" y="234"/>
                    </a:lnTo>
                    <a:lnTo>
                      <a:pt x="264" y="222"/>
                    </a:lnTo>
                    <a:lnTo>
                      <a:pt x="270" y="174"/>
                    </a:lnTo>
                    <a:lnTo>
                      <a:pt x="282" y="192"/>
                    </a:lnTo>
                    <a:lnTo>
                      <a:pt x="288" y="108"/>
                    </a:lnTo>
                    <a:lnTo>
                      <a:pt x="288" y="102"/>
                    </a:lnTo>
                    <a:lnTo>
                      <a:pt x="294" y="96"/>
                    </a:lnTo>
                    <a:lnTo>
                      <a:pt x="306" y="72"/>
                    </a:lnTo>
                    <a:lnTo>
                      <a:pt x="312" y="66"/>
                    </a:lnTo>
                    <a:lnTo>
                      <a:pt x="324" y="42"/>
                    </a:lnTo>
                    <a:lnTo>
                      <a:pt x="324" y="1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6" name="Newfoundland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94877B9-9A81-4E4D-9CFB-8714ECAEE1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6804" y="2666512"/>
                <a:ext cx="188695" cy="171828"/>
              </a:xfrm>
              <a:custGeom>
                <a:avLst/>
                <a:gdLst>
                  <a:gd name="T0" fmla="*/ 2147483647 w 426"/>
                  <a:gd name="T1" fmla="*/ 2147483647 h 384"/>
                  <a:gd name="T2" fmla="*/ 2147483647 w 426"/>
                  <a:gd name="T3" fmla="*/ 2147483647 h 384"/>
                  <a:gd name="T4" fmla="*/ 2147483647 w 426"/>
                  <a:gd name="T5" fmla="*/ 0 h 384"/>
                  <a:gd name="T6" fmla="*/ 2147483647 w 426"/>
                  <a:gd name="T7" fmla="*/ 2147483647 h 384"/>
                  <a:gd name="T8" fmla="*/ 2147483647 w 426"/>
                  <a:gd name="T9" fmla="*/ 2147483647 h 384"/>
                  <a:gd name="T10" fmla="*/ 2147483647 w 426"/>
                  <a:gd name="T11" fmla="*/ 2147483647 h 384"/>
                  <a:gd name="T12" fmla="*/ 2147483647 w 426"/>
                  <a:gd name="T13" fmla="*/ 2147483647 h 384"/>
                  <a:gd name="T14" fmla="*/ 2147483647 w 426"/>
                  <a:gd name="T15" fmla="*/ 2147483647 h 384"/>
                  <a:gd name="T16" fmla="*/ 2147483647 w 426"/>
                  <a:gd name="T17" fmla="*/ 2147483647 h 384"/>
                  <a:gd name="T18" fmla="*/ 2147483647 w 426"/>
                  <a:gd name="T19" fmla="*/ 2147483647 h 384"/>
                  <a:gd name="T20" fmla="*/ 2147483647 w 426"/>
                  <a:gd name="T21" fmla="*/ 2147483647 h 384"/>
                  <a:gd name="T22" fmla="*/ 2147483647 w 426"/>
                  <a:gd name="T23" fmla="*/ 2147483647 h 384"/>
                  <a:gd name="T24" fmla="*/ 2147483647 w 426"/>
                  <a:gd name="T25" fmla="*/ 2147483647 h 384"/>
                  <a:gd name="T26" fmla="*/ 2147483647 w 426"/>
                  <a:gd name="T27" fmla="*/ 2147483647 h 384"/>
                  <a:gd name="T28" fmla="*/ 2147483647 w 426"/>
                  <a:gd name="T29" fmla="*/ 2147483647 h 384"/>
                  <a:gd name="T30" fmla="*/ 2147483647 w 426"/>
                  <a:gd name="T31" fmla="*/ 2147483647 h 384"/>
                  <a:gd name="T32" fmla="*/ 2147483647 w 426"/>
                  <a:gd name="T33" fmla="*/ 2147483647 h 384"/>
                  <a:gd name="T34" fmla="*/ 2147483647 w 426"/>
                  <a:gd name="T35" fmla="*/ 2147483647 h 384"/>
                  <a:gd name="T36" fmla="*/ 2147483647 w 426"/>
                  <a:gd name="T37" fmla="*/ 2147483647 h 384"/>
                  <a:gd name="T38" fmla="*/ 2147483647 w 426"/>
                  <a:gd name="T39" fmla="*/ 2147483647 h 384"/>
                  <a:gd name="T40" fmla="*/ 2147483647 w 426"/>
                  <a:gd name="T41" fmla="*/ 2147483647 h 384"/>
                  <a:gd name="T42" fmla="*/ 2147483647 w 426"/>
                  <a:gd name="T43" fmla="*/ 2147483647 h 384"/>
                  <a:gd name="T44" fmla="*/ 2147483647 w 426"/>
                  <a:gd name="T45" fmla="*/ 2147483647 h 384"/>
                  <a:gd name="T46" fmla="*/ 2147483647 w 426"/>
                  <a:gd name="T47" fmla="*/ 2147483647 h 384"/>
                  <a:gd name="T48" fmla="*/ 2147483647 w 426"/>
                  <a:gd name="T49" fmla="*/ 2147483647 h 384"/>
                  <a:gd name="T50" fmla="*/ 2147483647 w 426"/>
                  <a:gd name="T51" fmla="*/ 2147483647 h 384"/>
                  <a:gd name="T52" fmla="*/ 2147483647 w 426"/>
                  <a:gd name="T53" fmla="*/ 2147483647 h 384"/>
                  <a:gd name="T54" fmla="*/ 2147483647 w 426"/>
                  <a:gd name="T55" fmla="*/ 2147483647 h 384"/>
                  <a:gd name="T56" fmla="*/ 2147483647 w 426"/>
                  <a:gd name="T57" fmla="*/ 2147483647 h 384"/>
                  <a:gd name="T58" fmla="*/ 2147483647 w 426"/>
                  <a:gd name="T59" fmla="*/ 2147483647 h 384"/>
                  <a:gd name="T60" fmla="*/ 2147483647 w 426"/>
                  <a:gd name="T61" fmla="*/ 2147483647 h 384"/>
                  <a:gd name="T62" fmla="*/ 2147483647 w 426"/>
                  <a:gd name="T63" fmla="*/ 2147483647 h 384"/>
                  <a:gd name="T64" fmla="*/ 2147483647 w 426"/>
                  <a:gd name="T65" fmla="*/ 2147483647 h 384"/>
                  <a:gd name="T66" fmla="*/ 2147483647 w 426"/>
                  <a:gd name="T67" fmla="*/ 2147483647 h 384"/>
                  <a:gd name="T68" fmla="*/ 2147483647 w 426"/>
                  <a:gd name="T69" fmla="*/ 2147483647 h 384"/>
                  <a:gd name="T70" fmla="*/ 2147483647 w 426"/>
                  <a:gd name="T71" fmla="*/ 2147483647 h 384"/>
                  <a:gd name="T72" fmla="*/ 2147483647 w 426"/>
                  <a:gd name="T73" fmla="*/ 2147483647 h 384"/>
                  <a:gd name="T74" fmla="*/ 2147483647 w 426"/>
                  <a:gd name="T75" fmla="*/ 2147483647 h 384"/>
                  <a:gd name="T76" fmla="*/ 2147483647 w 426"/>
                  <a:gd name="T77" fmla="*/ 2147483647 h 384"/>
                  <a:gd name="T78" fmla="*/ 2147483647 w 426"/>
                  <a:gd name="T79" fmla="*/ 2147483647 h 384"/>
                  <a:gd name="T80" fmla="*/ 2147483647 w 426"/>
                  <a:gd name="T81" fmla="*/ 2147483647 h 384"/>
                  <a:gd name="T82" fmla="*/ 2147483647 w 426"/>
                  <a:gd name="T83" fmla="*/ 2147483647 h 384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6"/>
                  <a:gd name="T127" fmla="*/ 0 h 384"/>
                  <a:gd name="T128" fmla="*/ 426 w 426"/>
                  <a:gd name="T129" fmla="*/ 384 h 384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6" h="384">
                    <a:moveTo>
                      <a:pt x="258" y="18"/>
                    </a:moveTo>
                    <a:lnTo>
                      <a:pt x="270" y="12"/>
                    </a:lnTo>
                    <a:lnTo>
                      <a:pt x="276" y="12"/>
                    </a:lnTo>
                    <a:lnTo>
                      <a:pt x="294" y="6"/>
                    </a:lnTo>
                    <a:lnTo>
                      <a:pt x="306" y="0"/>
                    </a:lnTo>
                    <a:lnTo>
                      <a:pt x="330" y="0"/>
                    </a:lnTo>
                    <a:lnTo>
                      <a:pt x="342" y="6"/>
                    </a:lnTo>
                    <a:lnTo>
                      <a:pt x="342" y="18"/>
                    </a:lnTo>
                    <a:lnTo>
                      <a:pt x="336" y="24"/>
                    </a:lnTo>
                    <a:lnTo>
                      <a:pt x="312" y="42"/>
                    </a:lnTo>
                    <a:lnTo>
                      <a:pt x="312" y="48"/>
                    </a:lnTo>
                    <a:lnTo>
                      <a:pt x="306" y="54"/>
                    </a:lnTo>
                    <a:lnTo>
                      <a:pt x="300" y="72"/>
                    </a:lnTo>
                    <a:lnTo>
                      <a:pt x="276" y="96"/>
                    </a:lnTo>
                    <a:lnTo>
                      <a:pt x="258" y="102"/>
                    </a:lnTo>
                    <a:lnTo>
                      <a:pt x="246" y="102"/>
                    </a:lnTo>
                    <a:lnTo>
                      <a:pt x="210" y="150"/>
                    </a:lnTo>
                    <a:lnTo>
                      <a:pt x="210" y="174"/>
                    </a:lnTo>
                    <a:lnTo>
                      <a:pt x="234" y="156"/>
                    </a:lnTo>
                    <a:lnTo>
                      <a:pt x="264" y="108"/>
                    </a:lnTo>
                    <a:lnTo>
                      <a:pt x="282" y="126"/>
                    </a:lnTo>
                    <a:lnTo>
                      <a:pt x="306" y="138"/>
                    </a:lnTo>
                    <a:lnTo>
                      <a:pt x="294" y="168"/>
                    </a:lnTo>
                    <a:lnTo>
                      <a:pt x="324" y="168"/>
                    </a:lnTo>
                    <a:lnTo>
                      <a:pt x="330" y="192"/>
                    </a:lnTo>
                    <a:lnTo>
                      <a:pt x="384" y="162"/>
                    </a:lnTo>
                    <a:lnTo>
                      <a:pt x="402" y="174"/>
                    </a:lnTo>
                    <a:lnTo>
                      <a:pt x="396" y="180"/>
                    </a:lnTo>
                    <a:lnTo>
                      <a:pt x="390" y="192"/>
                    </a:lnTo>
                    <a:lnTo>
                      <a:pt x="378" y="204"/>
                    </a:lnTo>
                    <a:lnTo>
                      <a:pt x="372" y="204"/>
                    </a:lnTo>
                    <a:lnTo>
                      <a:pt x="384" y="204"/>
                    </a:lnTo>
                    <a:lnTo>
                      <a:pt x="396" y="210"/>
                    </a:lnTo>
                    <a:lnTo>
                      <a:pt x="408" y="210"/>
                    </a:lnTo>
                    <a:lnTo>
                      <a:pt x="408" y="216"/>
                    </a:lnTo>
                    <a:lnTo>
                      <a:pt x="396" y="240"/>
                    </a:lnTo>
                    <a:lnTo>
                      <a:pt x="384" y="252"/>
                    </a:lnTo>
                    <a:lnTo>
                      <a:pt x="378" y="264"/>
                    </a:lnTo>
                    <a:lnTo>
                      <a:pt x="366" y="276"/>
                    </a:lnTo>
                    <a:lnTo>
                      <a:pt x="360" y="288"/>
                    </a:lnTo>
                    <a:lnTo>
                      <a:pt x="354" y="294"/>
                    </a:lnTo>
                    <a:lnTo>
                      <a:pt x="390" y="294"/>
                    </a:lnTo>
                    <a:lnTo>
                      <a:pt x="354" y="312"/>
                    </a:lnTo>
                    <a:lnTo>
                      <a:pt x="384" y="312"/>
                    </a:lnTo>
                    <a:lnTo>
                      <a:pt x="420" y="300"/>
                    </a:lnTo>
                    <a:lnTo>
                      <a:pt x="426" y="324"/>
                    </a:lnTo>
                    <a:lnTo>
                      <a:pt x="360" y="384"/>
                    </a:lnTo>
                    <a:lnTo>
                      <a:pt x="318" y="378"/>
                    </a:lnTo>
                    <a:lnTo>
                      <a:pt x="336" y="354"/>
                    </a:lnTo>
                    <a:lnTo>
                      <a:pt x="306" y="360"/>
                    </a:lnTo>
                    <a:lnTo>
                      <a:pt x="300" y="348"/>
                    </a:lnTo>
                    <a:lnTo>
                      <a:pt x="228" y="360"/>
                    </a:lnTo>
                    <a:lnTo>
                      <a:pt x="192" y="354"/>
                    </a:lnTo>
                    <a:lnTo>
                      <a:pt x="186" y="348"/>
                    </a:lnTo>
                    <a:lnTo>
                      <a:pt x="228" y="336"/>
                    </a:lnTo>
                    <a:lnTo>
                      <a:pt x="234" y="330"/>
                    </a:lnTo>
                    <a:lnTo>
                      <a:pt x="234" y="324"/>
                    </a:lnTo>
                    <a:lnTo>
                      <a:pt x="228" y="324"/>
                    </a:lnTo>
                    <a:lnTo>
                      <a:pt x="222" y="318"/>
                    </a:lnTo>
                    <a:lnTo>
                      <a:pt x="198" y="318"/>
                    </a:lnTo>
                    <a:lnTo>
                      <a:pt x="162" y="312"/>
                    </a:lnTo>
                    <a:lnTo>
                      <a:pt x="126" y="300"/>
                    </a:lnTo>
                    <a:lnTo>
                      <a:pt x="96" y="294"/>
                    </a:lnTo>
                    <a:lnTo>
                      <a:pt x="78" y="294"/>
                    </a:lnTo>
                    <a:lnTo>
                      <a:pt x="72" y="300"/>
                    </a:lnTo>
                    <a:lnTo>
                      <a:pt x="48" y="300"/>
                    </a:lnTo>
                    <a:lnTo>
                      <a:pt x="36" y="306"/>
                    </a:lnTo>
                    <a:lnTo>
                      <a:pt x="24" y="306"/>
                    </a:lnTo>
                    <a:lnTo>
                      <a:pt x="12" y="300"/>
                    </a:lnTo>
                    <a:lnTo>
                      <a:pt x="6" y="294"/>
                    </a:lnTo>
                    <a:lnTo>
                      <a:pt x="18" y="282"/>
                    </a:lnTo>
                    <a:lnTo>
                      <a:pt x="24" y="282"/>
                    </a:lnTo>
                    <a:lnTo>
                      <a:pt x="30" y="276"/>
                    </a:lnTo>
                    <a:lnTo>
                      <a:pt x="42" y="276"/>
                    </a:lnTo>
                    <a:lnTo>
                      <a:pt x="30" y="276"/>
                    </a:lnTo>
                    <a:lnTo>
                      <a:pt x="12" y="270"/>
                    </a:lnTo>
                    <a:lnTo>
                      <a:pt x="0" y="258"/>
                    </a:lnTo>
                    <a:lnTo>
                      <a:pt x="6" y="252"/>
                    </a:lnTo>
                    <a:lnTo>
                      <a:pt x="18" y="252"/>
                    </a:lnTo>
                    <a:lnTo>
                      <a:pt x="54" y="234"/>
                    </a:lnTo>
                    <a:lnTo>
                      <a:pt x="60" y="228"/>
                    </a:lnTo>
                    <a:lnTo>
                      <a:pt x="66" y="228"/>
                    </a:lnTo>
                    <a:lnTo>
                      <a:pt x="204" y="90"/>
                    </a:lnTo>
                    <a:lnTo>
                      <a:pt x="258" y="1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7" name="Mexico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5703DDC-1549-4DF4-A182-CE54CDB5D9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46359" y="3339649"/>
                <a:ext cx="824666" cy="655422"/>
              </a:xfrm>
              <a:custGeom>
                <a:avLst/>
                <a:gdLst>
                  <a:gd name="T0" fmla="*/ 2147483647 w 1860"/>
                  <a:gd name="T1" fmla="*/ 2147483647 h 1458"/>
                  <a:gd name="T2" fmla="*/ 2147483647 w 1860"/>
                  <a:gd name="T3" fmla="*/ 2147483647 h 1458"/>
                  <a:gd name="T4" fmla="*/ 2147483647 w 1860"/>
                  <a:gd name="T5" fmla="*/ 2147483647 h 1458"/>
                  <a:gd name="T6" fmla="*/ 2147483647 w 1860"/>
                  <a:gd name="T7" fmla="*/ 2147483647 h 1458"/>
                  <a:gd name="T8" fmla="*/ 2147483647 w 1860"/>
                  <a:gd name="T9" fmla="*/ 2147483647 h 1458"/>
                  <a:gd name="T10" fmla="*/ 2147483647 w 1860"/>
                  <a:gd name="T11" fmla="*/ 2147483647 h 1458"/>
                  <a:gd name="T12" fmla="*/ 2147483647 w 1860"/>
                  <a:gd name="T13" fmla="*/ 2147483647 h 1458"/>
                  <a:gd name="T14" fmla="*/ 2147483647 w 1860"/>
                  <a:gd name="T15" fmla="*/ 2147483647 h 1458"/>
                  <a:gd name="T16" fmla="*/ 2147483647 w 1860"/>
                  <a:gd name="T17" fmla="*/ 2147483647 h 1458"/>
                  <a:gd name="T18" fmla="*/ 2147483647 w 1860"/>
                  <a:gd name="T19" fmla="*/ 2147483647 h 1458"/>
                  <a:gd name="T20" fmla="*/ 2147483647 w 1860"/>
                  <a:gd name="T21" fmla="*/ 2147483647 h 1458"/>
                  <a:gd name="T22" fmla="*/ 2147483647 w 1860"/>
                  <a:gd name="T23" fmla="*/ 2147483647 h 1458"/>
                  <a:gd name="T24" fmla="*/ 2147483647 w 1860"/>
                  <a:gd name="T25" fmla="*/ 2147483647 h 1458"/>
                  <a:gd name="T26" fmla="*/ 2147483647 w 1860"/>
                  <a:gd name="T27" fmla="*/ 2147483647 h 1458"/>
                  <a:gd name="T28" fmla="*/ 2147483647 w 1860"/>
                  <a:gd name="T29" fmla="*/ 2147483647 h 1458"/>
                  <a:gd name="T30" fmla="*/ 2147483647 w 1860"/>
                  <a:gd name="T31" fmla="*/ 2147483647 h 1458"/>
                  <a:gd name="T32" fmla="*/ 2147483647 w 1860"/>
                  <a:gd name="T33" fmla="*/ 2147483647 h 1458"/>
                  <a:gd name="T34" fmla="*/ 2147483647 w 1860"/>
                  <a:gd name="T35" fmla="*/ 2147483647 h 1458"/>
                  <a:gd name="T36" fmla="*/ 2147483647 w 1860"/>
                  <a:gd name="T37" fmla="*/ 2147483647 h 1458"/>
                  <a:gd name="T38" fmla="*/ 2147483647 w 1860"/>
                  <a:gd name="T39" fmla="*/ 2147483647 h 1458"/>
                  <a:gd name="T40" fmla="*/ 2147483647 w 1860"/>
                  <a:gd name="T41" fmla="*/ 2147483647 h 1458"/>
                  <a:gd name="T42" fmla="*/ 2147483647 w 1860"/>
                  <a:gd name="T43" fmla="*/ 2147483647 h 1458"/>
                  <a:gd name="T44" fmla="*/ 2147483647 w 1860"/>
                  <a:gd name="T45" fmla="*/ 2147483647 h 1458"/>
                  <a:gd name="T46" fmla="*/ 2147483647 w 1860"/>
                  <a:gd name="T47" fmla="*/ 2147483647 h 1458"/>
                  <a:gd name="T48" fmla="*/ 2147483647 w 1860"/>
                  <a:gd name="T49" fmla="*/ 2147483647 h 1458"/>
                  <a:gd name="T50" fmla="*/ 2147483647 w 1860"/>
                  <a:gd name="T51" fmla="*/ 2147483647 h 1458"/>
                  <a:gd name="T52" fmla="*/ 2147483647 w 1860"/>
                  <a:gd name="T53" fmla="*/ 2147483647 h 1458"/>
                  <a:gd name="T54" fmla="*/ 2147483647 w 1860"/>
                  <a:gd name="T55" fmla="*/ 2147483647 h 1458"/>
                  <a:gd name="T56" fmla="*/ 0 w 1860"/>
                  <a:gd name="T57" fmla="*/ 2147483647 h 1458"/>
                  <a:gd name="T58" fmla="*/ 2147483647 w 1860"/>
                  <a:gd name="T59" fmla="*/ 2147483647 h 1458"/>
                  <a:gd name="T60" fmla="*/ 2147483647 w 1860"/>
                  <a:gd name="T61" fmla="*/ 2147483647 h 1458"/>
                  <a:gd name="T62" fmla="*/ 2147483647 w 1860"/>
                  <a:gd name="T63" fmla="*/ 2147483647 h 1458"/>
                  <a:gd name="T64" fmla="*/ 2147483647 w 1860"/>
                  <a:gd name="T65" fmla="*/ 2147483647 h 1458"/>
                  <a:gd name="T66" fmla="*/ 2147483647 w 1860"/>
                  <a:gd name="T67" fmla="*/ 2147483647 h 1458"/>
                  <a:gd name="T68" fmla="*/ 2147483647 w 1860"/>
                  <a:gd name="T69" fmla="*/ 2147483647 h 1458"/>
                  <a:gd name="T70" fmla="*/ 2147483647 w 1860"/>
                  <a:gd name="T71" fmla="*/ 2147483647 h 1458"/>
                  <a:gd name="T72" fmla="*/ 2147483647 w 1860"/>
                  <a:gd name="T73" fmla="*/ 2147483647 h 1458"/>
                  <a:gd name="T74" fmla="*/ 2147483647 w 1860"/>
                  <a:gd name="T75" fmla="*/ 2147483647 h 1458"/>
                  <a:gd name="T76" fmla="*/ 2147483647 w 1860"/>
                  <a:gd name="T77" fmla="*/ 2147483647 h 1458"/>
                  <a:gd name="T78" fmla="*/ 2147483647 w 1860"/>
                  <a:gd name="T79" fmla="*/ 2147483647 h 1458"/>
                  <a:gd name="T80" fmla="*/ 2147483647 w 1860"/>
                  <a:gd name="T81" fmla="*/ 2147483647 h 1458"/>
                  <a:gd name="T82" fmla="*/ 2147483647 w 1860"/>
                  <a:gd name="T83" fmla="*/ 2147483647 h 1458"/>
                  <a:gd name="T84" fmla="*/ 2147483647 w 1860"/>
                  <a:gd name="T85" fmla="*/ 2147483647 h 1458"/>
                  <a:gd name="T86" fmla="*/ 2147483647 w 1860"/>
                  <a:gd name="T87" fmla="*/ 2147483647 h 1458"/>
                  <a:gd name="T88" fmla="*/ 2147483647 w 1860"/>
                  <a:gd name="T89" fmla="*/ 2147483647 h 1458"/>
                  <a:gd name="T90" fmla="*/ 2147483647 w 1860"/>
                  <a:gd name="T91" fmla="*/ 2147483647 h 1458"/>
                  <a:gd name="T92" fmla="*/ 2147483647 w 1860"/>
                  <a:gd name="T93" fmla="*/ 2147483647 h 1458"/>
                  <a:gd name="T94" fmla="*/ 2147483647 w 1860"/>
                  <a:gd name="T95" fmla="*/ 2147483647 h 1458"/>
                  <a:gd name="T96" fmla="*/ 2147483647 w 1860"/>
                  <a:gd name="T97" fmla="*/ 2147483647 h 1458"/>
                  <a:gd name="T98" fmla="*/ 2147483647 w 1860"/>
                  <a:gd name="T99" fmla="*/ 2147483647 h 1458"/>
                  <a:gd name="T100" fmla="*/ 2147483647 w 1860"/>
                  <a:gd name="T101" fmla="*/ 2147483647 h 1458"/>
                  <a:gd name="T102" fmla="*/ 2147483647 w 1860"/>
                  <a:gd name="T103" fmla="*/ 2147483647 h 1458"/>
                  <a:gd name="T104" fmla="*/ 2147483647 w 1860"/>
                  <a:gd name="T105" fmla="*/ 2147483647 h 1458"/>
                  <a:gd name="T106" fmla="*/ 2147483647 w 1860"/>
                  <a:gd name="T107" fmla="*/ 2147483647 h 1458"/>
                  <a:gd name="T108" fmla="*/ 2147483647 w 1860"/>
                  <a:gd name="T109" fmla="*/ 2147483647 h 1458"/>
                  <a:gd name="T110" fmla="*/ 2147483647 w 1860"/>
                  <a:gd name="T111" fmla="*/ 2147483647 h 1458"/>
                  <a:gd name="T112" fmla="*/ 2147483647 w 1860"/>
                  <a:gd name="T113" fmla="*/ 2147483647 h 1458"/>
                  <a:gd name="T114" fmla="*/ 2147483647 w 1860"/>
                  <a:gd name="T115" fmla="*/ 2147483647 h 1458"/>
                  <a:gd name="T116" fmla="*/ 2147483647 w 1860"/>
                  <a:gd name="T117" fmla="*/ 2147483647 h 1458"/>
                  <a:gd name="T118" fmla="*/ 2147483647 w 1860"/>
                  <a:gd name="T119" fmla="*/ 2147483647 h 1458"/>
                  <a:gd name="T120" fmla="*/ 2147483647 w 1860"/>
                  <a:gd name="T121" fmla="*/ 2147483647 h 145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860"/>
                  <a:gd name="T184" fmla="*/ 0 h 1458"/>
                  <a:gd name="T185" fmla="*/ 1860 w 1860"/>
                  <a:gd name="T186" fmla="*/ 1458 h 145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860" h="1458">
                    <a:moveTo>
                      <a:pt x="1422" y="1440"/>
                    </a:moveTo>
                    <a:lnTo>
                      <a:pt x="1422" y="1380"/>
                    </a:lnTo>
                    <a:lnTo>
                      <a:pt x="1452" y="1332"/>
                    </a:lnTo>
                    <a:lnTo>
                      <a:pt x="1542" y="1338"/>
                    </a:lnTo>
                    <a:lnTo>
                      <a:pt x="1542" y="1320"/>
                    </a:lnTo>
                    <a:lnTo>
                      <a:pt x="1548" y="1320"/>
                    </a:lnTo>
                    <a:lnTo>
                      <a:pt x="1554" y="1314"/>
                    </a:lnTo>
                    <a:lnTo>
                      <a:pt x="1554" y="1302"/>
                    </a:lnTo>
                    <a:lnTo>
                      <a:pt x="1536" y="1302"/>
                    </a:lnTo>
                    <a:lnTo>
                      <a:pt x="1530" y="1278"/>
                    </a:lnTo>
                    <a:lnTo>
                      <a:pt x="1524" y="1278"/>
                    </a:lnTo>
                    <a:lnTo>
                      <a:pt x="1512" y="1272"/>
                    </a:lnTo>
                    <a:lnTo>
                      <a:pt x="1506" y="1272"/>
                    </a:lnTo>
                    <a:lnTo>
                      <a:pt x="1500" y="1266"/>
                    </a:lnTo>
                    <a:lnTo>
                      <a:pt x="1494" y="1254"/>
                    </a:lnTo>
                    <a:lnTo>
                      <a:pt x="1494" y="1248"/>
                    </a:lnTo>
                    <a:lnTo>
                      <a:pt x="1482" y="1242"/>
                    </a:lnTo>
                    <a:lnTo>
                      <a:pt x="1506" y="1242"/>
                    </a:lnTo>
                    <a:lnTo>
                      <a:pt x="1518" y="1236"/>
                    </a:lnTo>
                    <a:lnTo>
                      <a:pt x="1524" y="1236"/>
                    </a:lnTo>
                    <a:lnTo>
                      <a:pt x="1524" y="1212"/>
                    </a:lnTo>
                    <a:lnTo>
                      <a:pt x="1518" y="1200"/>
                    </a:lnTo>
                    <a:lnTo>
                      <a:pt x="1518" y="1188"/>
                    </a:lnTo>
                    <a:lnTo>
                      <a:pt x="1650" y="1194"/>
                    </a:lnTo>
                    <a:lnTo>
                      <a:pt x="1656" y="1182"/>
                    </a:lnTo>
                    <a:lnTo>
                      <a:pt x="1656" y="1176"/>
                    </a:lnTo>
                    <a:lnTo>
                      <a:pt x="1662" y="1176"/>
                    </a:lnTo>
                    <a:lnTo>
                      <a:pt x="1668" y="1182"/>
                    </a:lnTo>
                    <a:lnTo>
                      <a:pt x="1668" y="1188"/>
                    </a:lnTo>
                    <a:lnTo>
                      <a:pt x="1674" y="1188"/>
                    </a:lnTo>
                    <a:lnTo>
                      <a:pt x="1680" y="1182"/>
                    </a:lnTo>
                    <a:lnTo>
                      <a:pt x="1692" y="1176"/>
                    </a:lnTo>
                    <a:lnTo>
                      <a:pt x="1698" y="1164"/>
                    </a:lnTo>
                    <a:lnTo>
                      <a:pt x="1698" y="1152"/>
                    </a:lnTo>
                    <a:lnTo>
                      <a:pt x="1704" y="1146"/>
                    </a:lnTo>
                    <a:lnTo>
                      <a:pt x="1704" y="1140"/>
                    </a:lnTo>
                    <a:lnTo>
                      <a:pt x="1710" y="1152"/>
                    </a:lnTo>
                    <a:lnTo>
                      <a:pt x="1746" y="1116"/>
                    </a:lnTo>
                    <a:lnTo>
                      <a:pt x="1746" y="1122"/>
                    </a:lnTo>
                    <a:lnTo>
                      <a:pt x="1740" y="1128"/>
                    </a:lnTo>
                    <a:lnTo>
                      <a:pt x="1740" y="1146"/>
                    </a:lnTo>
                    <a:lnTo>
                      <a:pt x="1746" y="1152"/>
                    </a:lnTo>
                    <a:lnTo>
                      <a:pt x="1758" y="1152"/>
                    </a:lnTo>
                    <a:lnTo>
                      <a:pt x="1782" y="1086"/>
                    </a:lnTo>
                    <a:lnTo>
                      <a:pt x="1770" y="1074"/>
                    </a:lnTo>
                    <a:lnTo>
                      <a:pt x="1794" y="1068"/>
                    </a:lnTo>
                    <a:lnTo>
                      <a:pt x="1794" y="1056"/>
                    </a:lnTo>
                    <a:lnTo>
                      <a:pt x="1776" y="1050"/>
                    </a:lnTo>
                    <a:lnTo>
                      <a:pt x="1794" y="1032"/>
                    </a:lnTo>
                    <a:lnTo>
                      <a:pt x="1800" y="1008"/>
                    </a:lnTo>
                    <a:lnTo>
                      <a:pt x="1806" y="996"/>
                    </a:lnTo>
                    <a:lnTo>
                      <a:pt x="1818" y="990"/>
                    </a:lnTo>
                    <a:lnTo>
                      <a:pt x="1824" y="978"/>
                    </a:lnTo>
                    <a:lnTo>
                      <a:pt x="1836" y="966"/>
                    </a:lnTo>
                    <a:lnTo>
                      <a:pt x="1842" y="954"/>
                    </a:lnTo>
                    <a:lnTo>
                      <a:pt x="1848" y="948"/>
                    </a:lnTo>
                    <a:lnTo>
                      <a:pt x="1854" y="936"/>
                    </a:lnTo>
                    <a:lnTo>
                      <a:pt x="1854" y="930"/>
                    </a:lnTo>
                    <a:lnTo>
                      <a:pt x="1860" y="918"/>
                    </a:lnTo>
                    <a:lnTo>
                      <a:pt x="1860" y="900"/>
                    </a:lnTo>
                    <a:lnTo>
                      <a:pt x="1854" y="894"/>
                    </a:lnTo>
                    <a:lnTo>
                      <a:pt x="1818" y="894"/>
                    </a:lnTo>
                    <a:lnTo>
                      <a:pt x="1812" y="900"/>
                    </a:lnTo>
                    <a:lnTo>
                      <a:pt x="1800" y="900"/>
                    </a:lnTo>
                    <a:lnTo>
                      <a:pt x="1794" y="894"/>
                    </a:lnTo>
                    <a:lnTo>
                      <a:pt x="1782" y="894"/>
                    </a:lnTo>
                    <a:lnTo>
                      <a:pt x="1770" y="888"/>
                    </a:lnTo>
                    <a:lnTo>
                      <a:pt x="1746" y="888"/>
                    </a:lnTo>
                    <a:lnTo>
                      <a:pt x="1734" y="894"/>
                    </a:lnTo>
                    <a:lnTo>
                      <a:pt x="1716" y="900"/>
                    </a:lnTo>
                    <a:lnTo>
                      <a:pt x="1698" y="900"/>
                    </a:lnTo>
                    <a:lnTo>
                      <a:pt x="1686" y="906"/>
                    </a:lnTo>
                    <a:lnTo>
                      <a:pt x="1668" y="906"/>
                    </a:lnTo>
                    <a:lnTo>
                      <a:pt x="1656" y="912"/>
                    </a:lnTo>
                    <a:lnTo>
                      <a:pt x="1626" y="912"/>
                    </a:lnTo>
                    <a:lnTo>
                      <a:pt x="1614" y="918"/>
                    </a:lnTo>
                    <a:lnTo>
                      <a:pt x="1608" y="924"/>
                    </a:lnTo>
                    <a:lnTo>
                      <a:pt x="1596" y="948"/>
                    </a:lnTo>
                    <a:lnTo>
                      <a:pt x="1590" y="966"/>
                    </a:lnTo>
                    <a:lnTo>
                      <a:pt x="1590" y="1026"/>
                    </a:lnTo>
                    <a:lnTo>
                      <a:pt x="1572" y="1032"/>
                    </a:lnTo>
                    <a:lnTo>
                      <a:pt x="1572" y="1062"/>
                    </a:lnTo>
                    <a:lnTo>
                      <a:pt x="1566" y="1074"/>
                    </a:lnTo>
                    <a:lnTo>
                      <a:pt x="1542" y="1086"/>
                    </a:lnTo>
                    <a:lnTo>
                      <a:pt x="1524" y="1098"/>
                    </a:lnTo>
                    <a:lnTo>
                      <a:pt x="1512" y="1110"/>
                    </a:lnTo>
                    <a:lnTo>
                      <a:pt x="1512" y="1122"/>
                    </a:lnTo>
                    <a:lnTo>
                      <a:pt x="1506" y="1128"/>
                    </a:lnTo>
                    <a:lnTo>
                      <a:pt x="1506" y="1140"/>
                    </a:lnTo>
                    <a:lnTo>
                      <a:pt x="1500" y="1146"/>
                    </a:lnTo>
                    <a:lnTo>
                      <a:pt x="1488" y="1146"/>
                    </a:lnTo>
                    <a:lnTo>
                      <a:pt x="1476" y="1134"/>
                    </a:lnTo>
                    <a:lnTo>
                      <a:pt x="1476" y="1128"/>
                    </a:lnTo>
                    <a:lnTo>
                      <a:pt x="1470" y="1122"/>
                    </a:lnTo>
                    <a:lnTo>
                      <a:pt x="1440" y="1122"/>
                    </a:lnTo>
                    <a:lnTo>
                      <a:pt x="1416" y="1128"/>
                    </a:lnTo>
                    <a:lnTo>
                      <a:pt x="1392" y="1140"/>
                    </a:lnTo>
                    <a:lnTo>
                      <a:pt x="1356" y="1140"/>
                    </a:lnTo>
                    <a:lnTo>
                      <a:pt x="1338" y="1146"/>
                    </a:lnTo>
                    <a:lnTo>
                      <a:pt x="1290" y="1170"/>
                    </a:lnTo>
                    <a:lnTo>
                      <a:pt x="1284" y="1170"/>
                    </a:lnTo>
                    <a:lnTo>
                      <a:pt x="1272" y="1158"/>
                    </a:lnTo>
                    <a:lnTo>
                      <a:pt x="1266" y="1146"/>
                    </a:lnTo>
                    <a:lnTo>
                      <a:pt x="1266" y="1140"/>
                    </a:lnTo>
                    <a:lnTo>
                      <a:pt x="1260" y="1128"/>
                    </a:lnTo>
                    <a:lnTo>
                      <a:pt x="1242" y="1128"/>
                    </a:lnTo>
                    <a:lnTo>
                      <a:pt x="1224" y="1122"/>
                    </a:lnTo>
                    <a:lnTo>
                      <a:pt x="1194" y="1122"/>
                    </a:lnTo>
                    <a:lnTo>
                      <a:pt x="1194" y="1104"/>
                    </a:lnTo>
                    <a:lnTo>
                      <a:pt x="1188" y="1092"/>
                    </a:lnTo>
                    <a:lnTo>
                      <a:pt x="1176" y="1080"/>
                    </a:lnTo>
                    <a:lnTo>
                      <a:pt x="1170" y="1068"/>
                    </a:lnTo>
                    <a:lnTo>
                      <a:pt x="1164" y="1062"/>
                    </a:lnTo>
                    <a:lnTo>
                      <a:pt x="1164" y="1026"/>
                    </a:lnTo>
                    <a:lnTo>
                      <a:pt x="1128" y="966"/>
                    </a:lnTo>
                    <a:lnTo>
                      <a:pt x="1122" y="924"/>
                    </a:lnTo>
                    <a:lnTo>
                      <a:pt x="1110" y="894"/>
                    </a:lnTo>
                    <a:lnTo>
                      <a:pt x="1104" y="804"/>
                    </a:lnTo>
                    <a:lnTo>
                      <a:pt x="1110" y="798"/>
                    </a:lnTo>
                    <a:lnTo>
                      <a:pt x="1122" y="774"/>
                    </a:lnTo>
                    <a:lnTo>
                      <a:pt x="1128" y="768"/>
                    </a:lnTo>
                    <a:lnTo>
                      <a:pt x="1128" y="654"/>
                    </a:lnTo>
                    <a:lnTo>
                      <a:pt x="1152" y="648"/>
                    </a:lnTo>
                    <a:lnTo>
                      <a:pt x="1152" y="612"/>
                    </a:lnTo>
                    <a:lnTo>
                      <a:pt x="1158" y="600"/>
                    </a:lnTo>
                    <a:lnTo>
                      <a:pt x="1158" y="594"/>
                    </a:lnTo>
                    <a:lnTo>
                      <a:pt x="1164" y="588"/>
                    </a:lnTo>
                    <a:lnTo>
                      <a:pt x="1176" y="588"/>
                    </a:lnTo>
                    <a:lnTo>
                      <a:pt x="1182" y="594"/>
                    </a:lnTo>
                    <a:lnTo>
                      <a:pt x="1188" y="594"/>
                    </a:lnTo>
                    <a:lnTo>
                      <a:pt x="1188" y="588"/>
                    </a:lnTo>
                    <a:lnTo>
                      <a:pt x="1194" y="576"/>
                    </a:lnTo>
                    <a:lnTo>
                      <a:pt x="1194" y="564"/>
                    </a:lnTo>
                    <a:lnTo>
                      <a:pt x="1200" y="558"/>
                    </a:lnTo>
                    <a:lnTo>
                      <a:pt x="1206" y="546"/>
                    </a:lnTo>
                    <a:lnTo>
                      <a:pt x="1206" y="540"/>
                    </a:lnTo>
                    <a:lnTo>
                      <a:pt x="1206" y="546"/>
                    </a:lnTo>
                    <a:lnTo>
                      <a:pt x="1182" y="546"/>
                    </a:lnTo>
                    <a:lnTo>
                      <a:pt x="1176" y="534"/>
                    </a:lnTo>
                    <a:lnTo>
                      <a:pt x="1176" y="528"/>
                    </a:lnTo>
                    <a:lnTo>
                      <a:pt x="1134" y="528"/>
                    </a:lnTo>
                    <a:lnTo>
                      <a:pt x="1122" y="516"/>
                    </a:lnTo>
                    <a:lnTo>
                      <a:pt x="1110" y="516"/>
                    </a:lnTo>
                    <a:lnTo>
                      <a:pt x="1092" y="510"/>
                    </a:lnTo>
                    <a:lnTo>
                      <a:pt x="1080" y="498"/>
                    </a:lnTo>
                    <a:lnTo>
                      <a:pt x="1080" y="468"/>
                    </a:lnTo>
                    <a:lnTo>
                      <a:pt x="1068" y="456"/>
                    </a:lnTo>
                    <a:lnTo>
                      <a:pt x="1068" y="420"/>
                    </a:lnTo>
                    <a:lnTo>
                      <a:pt x="1074" y="420"/>
                    </a:lnTo>
                    <a:lnTo>
                      <a:pt x="1080" y="414"/>
                    </a:lnTo>
                    <a:lnTo>
                      <a:pt x="1080" y="408"/>
                    </a:lnTo>
                    <a:lnTo>
                      <a:pt x="1068" y="396"/>
                    </a:lnTo>
                    <a:lnTo>
                      <a:pt x="1056" y="390"/>
                    </a:lnTo>
                    <a:lnTo>
                      <a:pt x="1050" y="384"/>
                    </a:lnTo>
                    <a:lnTo>
                      <a:pt x="1050" y="360"/>
                    </a:lnTo>
                    <a:lnTo>
                      <a:pt x="1038" y="354"/>
                    </a:lnTo>
                    <a:lnTo>
                      <a:pt x="1032" y="342"/>
                    </a:lnTo>
                    <a:lnTo>
                      <a:pt x="1032" y="330"/>
                    </a:lnTo>
                    <a:lnTo>
                      <a:pt x="1038" y="318"/>
                    </a:lnTo>
                    <a:lnTo>
                      <a:pt x="1038" y="294"/>
                    </a:lnTo>
                    <a:lnTo>
                      <a:pt x="1026" y="282"/>
                    </a:lnTo>
                    <a:lnTo>
                      <a:pt x="1020" y="270"/>
                    </a:lnTo>
                    <a:lnTo>
                      <a:pt x="1008" y="258"/>
                    </a:lnTo>
                    <a:lnTo>
                      <a:pt x="1002" y="246"/>
                    </a:lnTo>
                    <a:lnTo>
                      <a:pt x="996" y="240"/>
                    </a:lnTo>
                    <a:lnTo>
                      <a:pt x="990" y="228"/>
                    </a:lnTo>
                    <a:lnTo>
                      <a:pt x="948" y="228"/>
                    </a:lnTo>
                    <a:lnTo>
                      <a:pt x="930" y="222"/>
                    </a:lnTo>
                    <a:lnTo>
                      <a:pt x="930" y="228"/>
                    </a:lnTo>
                    <a:lnTo>
                      <a:pt x="912" y="228"/>
                    </a:lnTo>
                    <a:lnTo>
                      <a:pt x="900" y="240"/>
                    </a:lnTo>
                    <a:lnTo>
                      <a:pt x="888" y="264"/>
                    </a:lnTo>
                    <a:lnTo>
                      <a:pt x="876" y="276"/>
                    </a:lnTo>
                    <a:lnTo>
                      <a:pt x="852" y="288"/>
                    </a:lnTo>
                    <a:lnTo>
                      <a:pt x="840" y="288"/>
                    </a:lnTo>
                    <a:lnTo>
                      <a:pt x="822" y="276"/>
                    </a:lnTo>
                    <a:lnTo>
                      <a:pt x="810" y="270"/>
                    </a:lnTo>
                    <a:lnTo>
                      <a:pt x="780" y="240"/>
                    </a:lnTo>
                    <a:lnTo>
                      <a:pt x="780" y="228"/>
                    </a:lnTo>
                    <a:lnTo>
                      <a:pt x="786" y="216"/>
                    </a:lnTo>
                    <a:lnTo>
                      <a:pt x="786" y="174"/>
                    </a:lnTo>
                    <a:lnTo>
                      <a:pt x="780" y="162"/>
                    </a:lnTo>
                    <a:lnTo>
                      <a:pt x="768" y="150"/>
                    </a:lnTo>
                    <a:lnTo>
                      <a:pt x="756" y="144"/>
                    </a:lnTo>
                    <a:lnTo>
                      <a:pt x="744" y="144"/>
                    </a:lnTo>
                    <a:lnTo>
                      <a:pt x="738" y="114"/>
                    </a:lnTo>
                    <a:lnTo>
                      <a:pt x="708" y="102"/>
                    </a:lnTo>
                    <a:lnTo>
                      <a:pt x="708" y="78"/>
                    </a:lnTo>
                    <a:lnTo>
                      <a:pt x="696" y="66"/>
                    </a:lnTo>
                    <a:lnTo>
                      <a:pt x="582" y="66"/>
                    </a:lnTo>
                    <a:lnTo>
                      <a:pt x="576" y="72"/>
                    </a:lnTo>
                    <a:lnTo>
                      <a:pt x="576" y="90"/>
                    </a:lnTo>
                    <a:lnTo>
                      <a:pt x="570" y="102"/>
                    </a:lnTo>
                    <a:lnTo>
                      <a:pt x="570" y="108"/>
                    </a:lnTo>
                    <a:lnTo>
                      <a:pt x="366" y="108"/>
                    </a:lnTo>
                    <a:lnTo>
                      <a:pt x="156" y="12"/>
                    </a:lnTo>
                    <a:lnTo>
                      <a:pt x="150" y="12"/>
                    </a:lnTo>
                    <a:lnTo>
                      <a:pt x="150" y="6"/>
                    </a:lnTo>
                    <a:lnTo>
                      <a:pt x="156" y="0"/>
                    </a:lnTo>
                    <a:lnTo>
                      <a:pt x="12" y="6"/>
                    </a:lnTo>
                    <a:lnTo>
                      <a:pt x="6" y="0"/>
                    </a:lnTo>
                    <a:lnTo>
                      <a:pt x="0" y="18"/>
                    </a:lnTo>
                    <a:lnTo>
                      <a:pt x="0" y="48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8"/>
                    </a:lnTo>
                    <a:lnTo>
                      <a:pt x="0" y="90"/>
                    </a:lnTo>
                    <a:lnTo>
                      <a:pt x="12" y="114"/>
                    </a:lnTo>
                    <a:lnTo>
                      <a:pt x="6" y="126"/>
                    </a:lnTo>
                    <a:lnTo>
                      <a:pt x="24" y="144"/>
                    </a:lnTo>
                    <a:lnTo>
                      <a:pt x="6" y="174"/>
                    </a:lnTo>
                    <a:lnTo>
                      <a:pt x="18" y="180"/>
                    </a:lnTo>
                    <a:lnTo>
                      <a:pt x="18" y="210"/>
                    </a:lnTo>
                    <a:lnTo>
                      <a:pt x="24" y="228"/>
                    </a:lnTo>
                    <a:lnTo>
                      <a:pt x="24" y="240"/>
                    </a:lnTo>
                    <a:lnTo>
                      <a:pt x="30" y="252"/>
                    </a:lnTo>
                    <a:lnTo>
                      <a:pt x="42" y="264"/>
                    </a:lnTo>
                    <a:lnTo>
                      <a:pt x="60" y="264"/>
                    </a:lnTo>
                    <a:lnTo>
                      <a:pt x="60" y="270"/>
                    </a:lnTo>
                    <a:lnTo>
                      <a:pt x="66" y="276"/>
                    </a:lnTo>
                    <a:lnTo>
                      <a:pt x="72" y="288"/>
                    </a:lnTo>
                    <a:lnTo>
                      <a:pt x="84" y="300"/>
                    </a:lnTo>
                    <a:lnTo>
                      <a:pt x="90" y="318"/>
                    </a:lnTo>
                    <a:lnTo>
                      <a:pt x="96" y="330"/>
                    </a:lnTo>
                    <a:lnTo>
                      <a:pt x="96" y="342"/>
                    </a:lnTo>
                    <a:lnTo>
                      <a:pt x="78" y="378"/>
                    </a:lnTo>
                    <a:lnTo>
                      <a:pt x="72" y="384"/>
                    </a:lnTo>
                    <a:lnTo>
                      <a:pt x="72" y="390"/>
                    </a:lnTo>
                    <a:lnTo>
                      <a:pt x="84" y="396"/>
                    </a:lnTo>
                    <a:lnTo>
                      <a:pt x="72" y="414"/>
                    </a:lnTo>
                    <a:lnTo>
                      <a:pt x="60" y="396"/>
                    </a:lnTo>
                    <a:lnTo>
                      <a:pt x="12" y="390"/>
                    </a:lnTo>
                    <a:lnTo>
                      <a:pt x="36" y="414"/>
                    </a:lnTo>
                    <a:lnTo>
                      <a:pt x="42" y="438"/>
                    </a:lnTo>
                    <a:lnTo>
                      <a:pt x="66" y="444"/>
                    </a:lnTo>
                    <a:lnTo>
                      <a:pt x="78" y="456"/>
                    </a:lnTo>
                    <a:lnTo>
                      <a:pt x="84" y="468"/>
                    </a:lnTo>
                    <a:lnTo>
                      <a:pt x="90" y="474"/>
                    </a:lnTo>
                    <a:lnTo>
                      <a:pt x="96" y="474"/>
                    </a:lnTo>
                    <a:lnTo>
                      <a:pt x="102" y="468"/>
                    </a:lnTo>
                    <a:lnTo>
                      <a:pt x="108" y="468"/>
                    </a:lnTo>
                    <a:lnTo>
                      <a:pt x="120" y="462"/>
                    </a:lnTo>
                    <a:lnTo>
                      <a:pt x="126" y="456"/>
                    </a:lnTo>
                    <a:lnTo>
                      <a:pt x="126" y="480"/>
                    </a:lnTo>
                    <a:lnTo>
                      <a:pt x="144" y="516"/>
                    </a:lnTo>
                    <a:lnTo>
                      <a:pt x="156" y="528"/>
                    </a:lnTo>
                    <a:lnTo>
                      <a:pt x="168" y="552"/>
                    </a:lnTo>
                    <a:lnTo>
                      <a:pt x="168" y="564"/>
                    </a:lnTo>
                    <a:lnTo>
                      <a:pt x="156" y="588"/>
                    </a:lnTo>
                    <a:lnTo>
                      <a:pt x="150" y="606"/>
                    </a:lnTo>
                    <a:lnTo>
                      <a:pt x="150" y="618"/>
                    </a:lnTo>
                    <a:lnTo>
                      <a:pt x="180" y="648"/>
                    </a:lnTo>
                    <a:lnTo>
                      <a:pt x="192" y="666"/>
                    </a:lnTo>
                    <a:lnTo>
                      <a:pt x="222" y="696"/>
                    </a:lnTo>
                    <a:lnTo>
                      <a:pt x="234" y="714"/>
                    </a:lnTo>
                    <a:lnTo>
                      <a:pt x="264" y="744"/>
                    </a:lnTo>
                    <a:lnTo>
                      <a:pt x="258" y="750"/>
                    </a:lnTo>
                    <a:lnTo>
                      <a:pt x="258" y="762"/>
                    </a:lnTo>
                    <a:lnTo>
                      <a:pt x="252" y="768"/>
                    </a:lnTo>
                    <a:lnTo>
                      <a:pt x="252" y="780"/>
                    </a:lnTo>
                    <a:lnTo>
                      <a:pt x="258" y="786"/>
                    </a:lnTo>
                    <a:lnTo>
                      <a:pt x="276" y="786"/>
                    </a:lnTo>
                    <a:lnTo>
                      <a:pt x="288" y="780"/>
                    </a:lnTo>
                    <a:lnTo>
                      <a:pt x="294" y="768"/>
                    </a:lnTo>
                    <a:lnTo>
                      <a:pt x="306" y="762"/>
                    </a:lnTo>
                    <a:lnTo>
                      <a:pt x="312" y="756"/>
                    </a:lnTo>
                    <a:lnTo>
                      <a:pt x="306" y="738"/>
                    </a:lnTo>
                    <a:lnTo>
                      <a:pt x="306" y="732"/>
                    </a:lnTo>
                    <a:lnTo>
                      <a:pt x="300" y="726"/>
                    </a:lnTo>
                    <a:lnTo>
                      <a:pt x="300" y="708"/>
                    </a:lnTo>
                    <a:lnTo>
                      <a:pt x="288" y="684"/>
                    </a:lnTo>
                    <a:lnTo>
                      <a:pt x="282" y="678"/>
                    </a:lnTo>
                    <a:lnTo>
                      <a:pt x="258" y="678"/>
                    </a:lnTo>
                    <a:lnTo>
                      <a:pt x="240" y="648"/>
                    </a:lnTo>
                    <a:lnTo>
                      <a:pt x="240" y="576"/>
                    </a:lnTo>
                    <a:lnTo>
                      <a:pt x="222" y="546"/>
                    </a:lnTo>
                    <a:lnTo>
                      <a:pt x="228" y="534"/>
                    </a:lnTo>
                    <a:lnTo>
                      <a:pt x="228" y="528"/>
                    </a:lnTo>
                    <a:lnTo>
                      <a:pt x="234" y="516"/>
                    </a:lnTo>
                    <a:lnTo>
                      <a:pt x="234" y="492"/>
                    </a:lnTo>
                    <a:lnTo>
                      <a:pt x="228" y="486"/>
                    </a:lnTo>
                    <a:lnTo>
                      <a:pt x="216" y="480"/>
                    </a:lnTo>
                    <a:lnTo>
                      <a:pt x="210" y="474"/>
                    </a:lnTo>
                    <a:lnTo>
                      <a:pt x="198" y="474"/>
                    </a:lnTo>
                    <a:lnTo>
                      <a:pt x="198" y="432"/>
                    </a:lnTo>
                    <a:lnTo>
                      <a:pt x="168" y="396"/>
                    </a:lnTo>
                    <a:lnTo>
                      <a:pt x="174" y="336"/>
                    </a:lnTo>
                    <a:lnTo>
                      <a:pt x="168" y="330"/>
                    </a:lnTo>
                    <a:lnTo>
                      <a:pt x="162" y="318"/>
                    </a:lnTo>
                    <a:lnTo>
                      <a:pt x="144" y="300"/>
                    </a:lnTo>
                    <a:lnTo>
                      <a:pt x="138" y="288"/>
                    </a:lnTo>
                    <a:lnTo>
                      <a:pt x="138" y="276"/>
                    </a:lnTo>
                    <a:lnTo>
                      <a:pt x="132" y="264"/>
                    </a:lnTo>
                    <a:lnTo>
                      <a:pt x="132" y="246"/>
                    </a:lnTo>
                    <a:lnTo>
                      <a:pt x="126" y="240"/>
                    </a:lnTo>
                    <a:lnTo>
                      <a:pt x="120" y="228"/>
                    </a:lnTo>
                    <a:lnTo>
                      <a:pt x="108" y="216"/>
                    </a:lnTo>
                    <a:lnTo>
                      <a:pt x="102" y="204"/>
                    </a:lnTo>
                    <a:lnTo>
                      <a:pt x="96" y="198"/>
                    </a:lnTo>
                    <a:lnTo>
                      <a:pt x="96" y="192"/>
                    </a:lnTo>
                    <a:lnTo>
                      <a:pt x="102" y="186"/>
                    </a:lnTo>
                    <a:lnTo>
                      <a:pt x="114" y="162"/>
                    </a:lnTo>
                    <a:lnTo>
                      <a:pt x="114" y="114"/>
                    </a:lnTo>
                    <a:lnTo>
                      <a:pt x="120" y="108"/>
                    </a:lnTo>
                    <a:lnTo>
                      <a:pt x="126" y="96"/>
                    </a:lnTo>
                    <a:lnTo>
                      <a:pt x="126" y="60"/>
                    </a:lnTo>
                    <a:lnTo>
                      <a:pt x="132" y="66"/>
                    </a:lnTo>
                    <a:lnTo>
                      <a:pt x="144" y="72"/>
                    </a:lnTo>
                    <a:lnTo>
                      <a:pt x="150" y="84"/>
                    </a:lnTo>
                    <a:lnTo>
                      <a:pt x="162" y="90"/>
                    </a:lnTo>
                    <a:lnTo>
                      <a:pt x="180" y="90"/>
                    </a:lnTo>
                    <a:lnTo>
                      <a:pt x="186" y="84"/>
                    </a:lnTo>
                    <a:lnTo>
                      <a:pt x="198" y="84"/>
                    </a:lnTo>
                    <a:lnTo>
                      <a:pt x="198" y="102"/>
                    </a:lnTo>
                    <a:lnTo>
                      <a:pt x="204" y="108"/>
                    </a:lnTo>
                    <a:lnTo>
                      <a:pt x="216" y="114"/>
                    </a:lnTo>
                    <a:lnTo>
                      <a:pt x="234" y="114"/>
                    </a:lnTo>
                    <a:lnTo>
                      <a:pt x="234" y="120"/>
                    </a:lnTo>
                    <a:lnTo>
                      <a:pt x="228" y="126"/>
                    </a:lnTo>
                    <a:lnTo>
                      <a:pt x="228" y="186"/>
                    </a:lnTo>
                    <a:lnTo>
                      <a:pt x="240" y="258"/>
                    </a:lnTo>
                    <a:lnTo>
                      <a:pt x="240" y="270"/>
                    </a:lnTo>
                    <a:lnTo>
                      <a:pt x="246" y="282"/>
                    </a:lnTo>
                    <a:lnTo>
                      <a:pt x="252" y="306"/>
                    </a:lnTo>
                    <a:lnTo>
                      <a:pt x="264" y="342"/>
                    </a:lnTo>
                    <a:lnTo>
                      <a:pt x="276" y="372"/>
                    </a:lnTo>
                    <a:lnTo>
                      <a:pt x="282" y="384"/>
                    </a:lnTo>
                    <a:lnTo>
                      <a:pt x="324" y="384"/>
                    </a:lnTo>
                    <a:lnTo>
                      <a:pt x="318" y="390"/>
                    </a:lnTo>
                    <a:lnTo>
                      <a:pt x="306" y="414"/>
                    </a:lnTo>
                    <a:lnTo>
                      <a:pt x="318" y="438"/>
                    </a:lnTo>
                    <a:lnTo>
                      <a:pt x="330" y="444"/>
                    </a:lnTo>
                    <a:lnTo>
                      <a:pt x="336" y="450"/>
                    </a:lnTo>
                    <a:lnTo>
                      <a:pt x="348" y="450"/>
                    </a:lnTo>
                    <a:lnTo>
                      <a:pt x="354" y="474"/>
                    </a:lnTo>
                    <a:lnTo>
                      <a:pt x="384" y="474"/>
                    </a:lnTo>
                    <a:lnTo>
                      <a:pt x="390" y="516"/>
                    </a:lnTo>
                    <a:lnTo>
                      <a:pt x="384" y="516"/>
                    </a:lnTo>
                    <a:lnTo>
                      <a:pt x="378" y="522"/>
                    </a:lnTo>
                    <a:lnTo>
                      <a:pt x="366" y="528"/>
                    </a:lnTo>
                    <a:lnTo>
                      <a:pt x="360" y="534"/>
                    </a:lnTo>
                    <a:lnTo>
                      <a:pt x="354" y="546"/>
                    </a:lnTo>
                    <a:lnTo>
                      <a:pt x="354" y="558"/>
                    </a:lnTo>
                    <a:lnTo>
                      <a:pt x="360" y="564"/>
                    </a:lnTo>
                    <a:lnTo>
                      <a:pt x="372" y="570"/>
                    </a:lnTo>
                    <a:lnTo>
                      <a:pt x="384" y="558"/>
                    </a:lnTo>
                    <a:lnTo>
                      <a:pt x="384" y="564"/>
                    </a:lnTo>
                    <a:lnTo>
                      <a:pt x="396" y="576"/>
                    </a:lnTo>
                    <a:lnTo>
                      <a:pt x="396" y="588"/>
                    </a:lnTo>
                    <a:lnTo>
                      <a:pt x="402" y="594"/>
                    </a:lnTo>
                    <a:lnTo>
                      <a:pt x="414" y="594"/>
                    </a:lnTo>
                    <a:lnTo>
                      <a:pt x="426" y="600"/>
                    </a:lnTo>
                    <a:lnTo>
                      <a:pt x="432" y="600"/>
                    </a:lnTo>
                    <a:lnTo>
                      <a:pt x="438" y="606"/>
                    </a:lnTo>
                    <a:lnTo>
                      <a:pt x="438" y="624"/>
                    </a:lnTo>
                    <a:lnTo>
                      <a:pt x="432" y="630"/>
                    </a:lnTo>
                    <a:lnTo>
                      <a:pt x="432" y="636"/>
                    </a:lnTo>
                    <a:lnTo>
                      <a:pt x="426" y="648"/>
                    </a:lnTo>
                    <a:lnTo>
                      <a:pt x="426" y="654"/>
                    </a:lnTo>
                    <a:lnTo>
                      <a:pt x="468" y="654"/>
                    </a:lnTo>
                    <a:lnTo>
                      <a:pt x="468" y="684"/>
                    </a:lnTo>
                    <a:lnTo>
                      <a:pt x="504" y="720"/>
                    </a:lnTo>
                    <a:lnTo>
                      <a:pt x="510" y="732"/>
                    </a:lnTo>
                    <a:lnTo>
                      <a:pt x="528" y="750"/>
                    </a:lnTo>
                    <a:lnTo>
                      <a:pt x="534" y="768"/>
                    </a:lnTo>
                    <a:lnTo>
                      <a:pt x="546" y="780"/>
                    </a:lnTo>
                    <a:lnTo>
                      <a:pt x="552" y="798"/>
                    </a:lnTo>
                    <a:lnTo>
                      <a:pt x="558" y="810"/>
                    </a:lnTo>
                    <a:lnTo>
                      <a:pt x="558" y="870"/>
                    </a:lnTo>
                    <a:lnTo>
                      <a:pt x="564" y="882"/>
                    </a:lnTo>
                    <a:lnTo>
                      <a:pt x="576" y="894"/>
                    </a:lnTo>
                    <a:lnTo>
                      <a:pt x="576" y="906"/>
                    </a:lnTo>
                    <a:lnTo>
                      <a:pt x="570" y="918"/>
                    </a:lnTo>
                    <a:lnTo>
                      <a:pt x="552" y="936"/>
                    </a:lnTo>
                    <a:lnTo>
                      <a:pt x="546" y="948"/>
                    </a:lnTo>
                    <a:lnTo>
                      <a:pt x="546" y="954"/>
                    </a:lnTo>
                    <a:lnTo>
                      <a:pt x="552" y="960"/>
                    </a:lnTo>
                    <a:lnTo>
                      <a:pt x="564" y="966"/>
                    </a:lnTo>
                    <a:lnTo>
                      <a:pt x="540" y="966"/>
                    </a:lnTo>
                    <a:lnTo>
                      <a:pt x="528" y="972"/>
                    </a:lnTo>
                    <a:lnTo>
                      <a:pt x="528" y="1038"/>
                    </a:lnTo>
                    <a:lnTo>
                      <a:pt x="534" y="1056"/>
                    </a:lnTo>
                    <a:lnTo>
                      <a:pt x="540" y="1062"/>
                    </a:lnTo>
                    <a:lnTo>
                      <a:pt x="546" y="1074"/>
                    </a:lnTo>
                    <a:lnTo>
                      <a:pt x="558" y="1074"/>
                    </a:lnTo>
                    <a:lnTo>
                      <a:pt x="576" y="1080"/>
                    </a:lnTo>
                    <a:lnTo>
                      <a:pt x="600" y="1080"/>
                    </a:lnTo>
                    <a:lnTo>
                      <a:pt x="612" y="1086"/>
                    </a:lnTo>
                    <a:lnTo>
                      <a:pt x="636" y="1110"/>
                    </a:lnTo>
                    <a:lnTo>
                      <a:pt x="642" y="1122"/>
                    </a:lnTo>
                    <a:lnTo>
                      <a:pt x="648" y="1140"/>
                    </a:lnTo>
                    <a:lnTo>
                      <a:pt x="654" y="1152"/>
                    </a:lnTo>
                    <a:lnTo>
                      <a:pt x="666" y="1164"/>
                    </a:lnTo>
                    <a:lnTo>
                      <a:pt x="678" y="1170"/>
                    </a:lnTo>
                    <a:lnTo>
                      <a:pt x="732" y="1170"/>
                    </a:lnTo>
                    <a:lnTo>
                      <a:pt x="750" y="1176"/>
                    </a:lnTo>
                    <a:lnTo>
                      <a:pt x="762" y="1182"/>
                    </a:lnTo>
                    <a:lnTo>
                      <a:pt x="768" y="1188"/>
                    </a:lnTo>
                    <a:lnTo>
                      <a:pt x="774" y="1200"/>
                    </a:lnTo>
                    <a:lnTo>
                      <a:pt x="786" y="1218"/>
                    </a:lnTo>
                    <a:lnTo>
                      <a:pt x="810" y="1242"/>
                    </a:lnTo>
                    <a:lnTo>
                      <a:pt x="834" y="1254"/>
                    </a:lnTo>
                    <a:lnTo>
                      <a:pt x="870" y="1266"/>
                    </a:lnTo>
                    <a:lnTo>
                      <a:pt x="912" y="1272"/>
                    </a:lnTo>
                    <a:lnTo>
                      <a:pt x="942" y="1278"/>
                    </a:lnTo>
                    <a:lnTo>
                      <a:pt x="960" y="1290"/>
                    </a:lnTo>
                    <a:lnTo>
                      <a:pt x="966" y="1302"/>
                    </a:lnTo>
                    <a:lnTo>
                      <a:pt x="978" y="1314"/>
                    </a:lnTo>
                    <a:lnTo>
                      <a:pt x="990" y="1320"/>
                    </a:lnTo>
                    <a:lnTo>
                      <a:pt x="996" y="1320"/>
                    </a:lnTo>
                    <a:lnTo>
                      <a:pt x="1002" y="1326"/>
                    </a:lnTo>
                    <a:lnTo>
                      <a:pt x="1008" y="1338"/>
                    </a:lnTo>
                    <a:lnTo>
                      <a:pt x="1014" y="1344"/>
                    </a:lnTo>
                    <a:lnTo>
                      <a:pt x="1080" y="1344"/>
                    </a:lnTo>
                    <a:lnTo>
                      <a:pt x="1092" y="1356"/>
                    </a:lnTo>
                    <a:lnTo>
                      <a:pt x="1098" y="1368"/>
                    </a:lnTo>
                    <a:lnTo>
                      <a:pt x="1104" y="1374"/>
                    </a:lnTo>
                    <a:lnTo>
                      <a:pt x="1116" y="1374"/>
                    </a:lnTo>
                    <a:lnTo>
                      <a:pt x="1140" y="1362"/>
                    </a:lnTo>
                    <a:lnTo>
                      <a:pt x="1170" y="1350"/>
                    </a:lnTo>
                    <a:lnTo>
                      <a:pt x="1206" y="1332"/>
                    </a:lnTo>
                    <a:lnTo>
                      <a:pt x="1260" y="1314"/>
                    </a:lnTo>
                    <a:lnTo>
                      <a:pt x="1278" y="1326"/>
                    </a:lnTo>
                    <a:lnTo>
                      <a:pt x="1308" y="1350"/>
                    </a:lnTo>
                    <a:lnTo>
                      <a:pt x="1344" y="1374"/>
                    </a:lnTo>
                    <a:lnTo>
                      <a:pt x="1386" y="1416"/>
                    </a:lnTo>
                    <a:lnTo>
                      <a:pt x="1386" y="1428"/>
                    </a:lnTo>
                    <a:lnTo>
                      <a:pt x="1392" y="1446"/>
                    </a:lnTo>
                    <a:lnTo>
                      <a:pt x="1398" y="1458"/>
                    </a:lnTo>
                    <a:lnTo>
                      <a:pt x="1416" y="1458"/>
                    </a:lnTo>
                    <a:lnTo>
                      <a:pt x="1422" y="1452"/>
                    </a:lnTo>
                    <a:lnTo>
                      <a:pt x="1422" y="144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8" name="Jamaic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8B0EB6E-52CD-4584-95A8-10B254F4DA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12137" y="3855130"/>
                <a:ext cx="69887" cy="23029"/>
              </a:xfrm>
              <a:custGeom>
                <a:avLst/>
                <a:gdLst>
                  <a:gd name="T0" fmla="*/ 2147483647 w 156"/>
                  <a:gd name="T1" fmla="*/ 2147483647 h 54"/>
                  <a:gd name="T2" fmla="*/ 2147483647 w 156"/>
                  <a:gd name="T3" fmla="*/ 2147483647 h 54"/>
                  <a:gd name="T4" fmla="*/ 2147483647 w 156"/>
                  <a:gd name="T5" fmla="*/ 2147483647 h 54"/>
                  <a:gd name="T6" fmla="*/ 2147483647 w 156"/>
                  <a:gd name="T7" fmla="*/ 2147483647 h 54"/>
                  <a:gd name="T8" fmla="*/ 2147483647 w 156"/>
                  <a:gd name="T9" fmla="*/ 2147483647 h 54"/>
                  <a:gd name="T10" fmla="*/ 2147483647 w 156"/>
                  <a:gd name="T11" fmla="*/ 2147483647 h 54"/>
                  <a:gd name="T12" fmla="*/ 2147483647 w 156"/>
                  <a:gd name="T13" fmla="*/ 2147483647 h 54"/>
                  <a:gd name="T14" fmla="*/ 2147483647 w 156"/>
                  <a:gd name="T15" fmla="*/ 2147483647 h 54"/>
                  <a:gd name="T16" fmla="*/ 2147483647 w 156"/>
                  <a:gd name="T17" fmla="*/ 0 h 54"/>
                  <a:gd name="T18" fmla="*/ 2147483647 w 156"/>
                  <a:gd name="T19" fmla="*/ 0 h 54"/>
                  <a:gd name="T20" fmla="*/ 2147483647 w 156"/>
                  <a:gd name="T21" fmla="*/ 2147483647 h 54"/>
                  <a:gd name="T22" fmla="*/ 0 w 156"/>
                  <a:gd name="T23" fmla="*/ 2147483647 h 54"/>
                  <a:gd name="T24" fmla="*/ 2147483647 w 156"/>
                  <a:gd name="T25" fmla="*/ 2147483647 h 54"/>
                  <a:gd name="T26" fmla="*/ 2147483647 w 156"/>
                  <a:gd name="T27" fmla="*/ 2147483647 h 54"/>
                  <a:gd name="T28" fmla="*/ 2147483647 w 156"/>
                  <a:gd name="T29" fmla="*/ 2147483647 h 54"/>
                  <a:gd name="T30" fmla="*/ 2147483647 w 156"/>
                  <a:gd name="T31" fmla="*/ 2147483647 h 54"/>
                  <a:gd name="T32" fmla="*/ 2147483647 w 156"/>
                  <a:gd name="T33" fmla="*/ 2147483647 h 54"/>
                  <a:gd name="T34" fmla="*/ 2147483647 w 156"/>
                  <a:gd name="T35" fmla="*/ 2147483647 h 54"/>
                  <a:gd name="T36" fmla="*/ 2147483647 w 156"/>
                  <a:gd name="T37" fmla="*/ 2147483647 h 5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56"/>
                  <a:gd name="T58" fmla="*/ 0 h 54"/>
                  <a:gd name="T59" fmla="*/ 156 w 156"/>
                  <a:gd name="T60" fmla="*/ 54 h 5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56" h="54">
                    <a:moveTo>
                      <a:pt x="108" y="54"/>
                    </a:moveTo>
                    <a:lnTo>
                      <a:pt x="114" y="36"/>
                    </a:lnTo>
                    <a:lnTo>
                      <a:pt x="156" y="48"/>
                    </a:lnTo>
                    <a:lnTo>
                      <a:pt x="156" y="42"/>
                    </a:lnTo>
                    <a:lnTo>
                      <a:pt x="150" y="36"/>
                    </a:lnTo>
                    <a:lnTo>
                      <a:pt x="144" y="24"/>
                    </a:lnTo>
                    <a:lnTo>
                      <a:pt x="126" y="6"/>
                    </a:lnTo>
                    <a:lnTo>
                      <a:pt x="84" y="6"/>
                    </a:lnTo>
                    <a:lnTo>
                      <a:pt x="66" y="0"/>
                    </a:lnTo>
                    <a:lnTo>
                      <a:pt x="24" y="0"/>
                    </a:lnTo>
                    <a:lnTo>
                      <a:pt x="12" y="6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18" y="24"/>
                    </a:lnTo>
                    <a:lnTo>
                      <a:pt x="24" y="36"/>
                    </a:lnTo>
                    <a:lnTo>
                      <a:pt x="36" y="42"/>
                    </a:lnTo>
                    <a:lnTo>
                      <a:pt x="60" y="42"/>
                    </a:lnTo>
                    <a:lnTo>
                      <a:pt x="78" y="48"/>
                    </a:lnTo>
                    <a:lnTo>
                      <a:pt x="108" y="5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19" name="Honduras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C54BEE57-4B35-4067-8B4E-29D4EF5462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59208" y="3941928"/>
                <a:ext cx="197429" cy="109827"/>
              </a:xfrm>
              <a:custGeom>
                <a:avLst/>
                <a:gdLst>
                  <a:gd name="T0" fmla="*/ 2147483647 w 444"/>
                  <a:gd name="T1" fmla="*/ 2147483647 h 246"/>
                  <a:gd name="T2" fmla="*/ 2147483647 w 444"/>
                  <a:gd name="T3" fmla="*/ 2147483647 h 246"/>
                  <a:gd name="T4" fmla="*/ 2147483647 w 444"/>
                  <a:gd name="T5" fmla="*/ 2147483647 h 246"/>
                  <a:gd name="T6" fmla="*/ 2147483647 w 444"/>
                  <a:gd name="T7" fmla="*/ 2147483647 h 246"/>
                  <a:gd name="T8" fmla="*/ 2147483647 w 444"/>
                  <a:gd name="T9" fmla="*/ 2147483647 h 246"/>
                  <a:gd name="T10" fmla="*/ 2147483647 w 444"/>
                  <a:gd name="T11" fmla="*/ 2147483647 h 246"/>
                  <a:gd name="T12" fmla="*/ 2147483647 w 444"/>
                  <a:gd name="T13" fmla="*/ 2147483647 h 246"/>
                  <a:gd name="T14" fmla="*/ 2147483647 w 444"/>
                  <a:gd name="T15" fmla="*/ 2147483647 h 246"/>
                  <a:gd name="T16" fmla="*/ 2147483647 w 444"/>
                  <a:gd name="T17" fmla="*/ 2147483647 h 246"/>
                  <a:gd name="T18" fmla="*/ 2147483647 w 444"/>
                  <a:gd name="T19" fmla="*/ 2147483647 h 246"/>
                  <a:gd name="T20" fmla="*/ 2147483647 w 444"/>
                  <a:gd name="T21" fmla="*/ 2147483647 h 246"/>
                  <a:gd name="T22" fmla="*/ 2147483647 w 444"/>
                  <a:gd name="T23" fmla="*/ 2147483647 h 246"/>
                  <a:gd name="T24" fmla="*/ 2147483647 w 444"/>
                  <a:gd name="T25" fmla="*/ 2147483647 h 246"/>
                  <a:gd name="T26" fmla="*/ 2147483647 w 444"/>
                  <a:gd name="T27" fmla="*/ 2147483647 h 246"/>
                  <a:gd name="T28" fmla="*/ 2147483647 w 444"/>
                  <a:gd name="T29" fmla="*/ 2147483647 h 246"/>
                  <a:gd name="T30" fmla="*/ 2147483647 w 444"/>
                  <a:gd name="T31" fmla="*/ 2147483647 h 246"/>
                  <a:gd name="T32" fmla="*/ 2147483647 w 444"/>
                  <a:gd name="T33" fmla="*/ 2147483647 h 246"/>
                  <a:gd name="T34" fmla="*/ 2147483647 w 444"/>
                  <a:gd name="T35" fmla="*/ 2147483647 h 246"/>
                  <a:gd name="T36" fmla="*/ 2147483647 w 444"/>
                  <a:gd name="T37" fmla="*/ 2147483647 h 246"/>
                  <a:gd name="T38" fmla="*/ 2147483647 w 444"/>
                  <a:gd name="T39" fmla="*/ 0 h 246"/>
                  <a:gd name="T40" fmla="*/ 2147483647 w 444"/>
                  <a:gd name="T41" fmla="*/ 2147483647 h 246"/>
                  <a:gd name="T42" fmla="*/ 2147483647 w 444"/>
                  <a:gd name="T43" fmla="*/ 2147483647 h 246"/>
                  <a:gd name="T44" fmla="*/ 2147483647 w 444"/>
                  <a:gd name="T45" fmla="*/ 0 h 246"/>
                  <a:gd name="T46" fmla="*/ 2147483647 w 444"/>
                  <a:gd name="T47" fmla="*/ 2147483647 h 246"/>
                  <a:gd name="T48" fmla="*/ 2147483647 w 444"/>
                  <a:gd name="T49" fmla="*/ 2147483647 h 246"/>
                  <a:gd name="T50" fmla="*/ 2147483647 w 444"/>
                  <a:gd name="T51" fmla="*/ 2147483647 h 246"/>
                  <a:gd name="T52" fmla="*/ 2147483647 w 444"/>
                  <a:gd name="T53" fmla="*/ 2147483647 h 246"/>
                  <a:gd name="T54" fmla="*/ 2147483647 w 444"/>
                  <a:gd name="T55" fmla="*/ 2147483647 h 246"/>
                  <a:gd name="T56" fmla="*/ 2147483647 w 444"/>
                  <a:gd name="T57" fmla="*/ 2147483647 h 246"/>
                  <a:gd name="T58" fmla="*/ 2147483647 w 444"/>
                  <a:gd name="T59" fmla="*/ 2147483647 h 246"/>
                  <a:gd name="T60" fmla="*/ 2147483647 w 444"/>
                  <a:gd name="T61" fmla="*/ 0 h 246"/>
                  <a:gd name="T62" fmla="*/ 2147483647 w 444"/>
                  <a:gd name="T63" fmla="*/ 2147483647 h 246"/>
                  <a:gd name="T64" fmla="*/ 2147483647 w 444"/>
                  <a:gd name="T65" fmla="*/ 2147483647 h 246"/>
                  <a:gd name="T66" fmla="*/ 2147483647 w 444"/>
                  <a:gd name="T67" fmla="*/ 2147483647 h 246"/>
                  <a:gd name="T68" fmla="*/ 2147483647 w 444"/>
                  <a:gd name="T69" fmla="*/ 2147483647 h 246"/>
                  <a:gd name="T70" fmla="*/ 2147483647 w 444"/>
                  <a:gd name="T71" fmla="*/ 2147483647 h 246"/>
                  <a:gd name="T72" fmla="*/ 0 w 444"/>
                  <a:gd name="T73" fmla="*/ 2147483647 h 246"/>
                  <a:gd name="T74" fmla="*/ 2147483647 w 444"/>
                  <a:gd name="T75" fmla="*/ 2147483647 h 246"/>
                  <a:gd name="T76" fmla="*/ 2147483647 w 444"/>
                  <a:gd name="T77" fmla="*/ 2147483647 h 246"/>
                  <a:gd name="T78" fmla="*/ 2147483647 w 444"/>
                  <a:gd name="T79" fmla="*/ 2147483647 h 246"/>
                  <a:gd name="T80" fmla="*/ 2147483647 w 444"/>
                  <a:gd name="T81" fmla="*/ 2147483647 h 246"/>
                  <a:gd name="T82" fmla="*/ 2147483647 w 444"/>
                  <a:gd name="T83" fmla="*/ 2147483647 h 246"/>
                  <a:gd name="T84" fmla="*/ 2147483647 w 444"/>
                  <a:gd name="T85" fmla="*/ 2147483647 h 246"/>
                  <a:gd name="T86" fmla="*/ 2147483647 w 444"/>
                  <a:gd name="T87" fmla="*/ 2147483647 h 24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444"/>
                  <a:gd name="T133" fmla="*/ 0 h 246"/>
                  <a:gd name="T134" fmla="*/ 444 w 444"/>
                  <a:gd name="T135" fmla="*/ 246 h 24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444" h="246">
                    <a:moveTo>
                      <a:pt x="156" y="240"/>
                    </a:moveTo>
                    <a:lnTo>
                      <a:pt x="156" y="222"/>
                    </a:lnTo>
                    <a:lnTo>
                      <a:pt x="174" y="222"/>
                    </a:lnTo>
                    <a:lnTo>
                      <a:pt x="168" y="216"/>
                    </a:lnTo>
                    <a:lnTo>
                      <a:pt x="168" y="204"/>
                    </a:lnTo>
                    <a:lnTo>
                      <a:pt x="162" y="198"/>
                    </a:lnTo>
                    <a:lnTo>
                      <a:pt x="162" y="186"/>
                    </a:lnTo>
                    <a:lnTo>
                      <a:pt x="168" y="180"/>
                    </a:lnTo>
                    <a:lnTo>
                      <a:pt x="204" y="180"/>
                    </a:lnTo>
                    <a:lnTo>
                      <a:pt x="210" y="168"/>
                    </a:lnTo>
                    <a:lnTo>
                      <a:pt x="216" y="162"/>
                    </a:lnTo>
                    <a:lnTo>
                      <a:pt x="228" y="162"/>
                    </a:lnTo>
                    <a:lnTo>
                      <a:pt x="228" y="168"/>
                    </a:lnTo>
                    <a:lnTo>
                      <a:pt x="234" y="174"/>
                    </a:lnTo>
                    <a:lnTo>
                      <a:pt x="252" y="174"/>
                    </a:lnTo>
                    <a:lnTo>
                      <a:pt x="276" y="150"/>
                    </a:lnTo>
                    <a:lnTo>
                      <a:pt x="288" y="126"/>
                    </a:lnTo>
                    <a:lnTo>
                      <a:pt x="306" y="126"/>
                    </a:lnTo>
                    <a:lnTo>
                      <a:pt x="306" y="108"/>
                    </a:lnTo>
                    <a:lnTo>
                      <a:pt x="318" y="96"/>
                    </a:lnTo>
                    <a:lnTo>
                      <a:pt x="330" y="96"/>
                    </a:lnTo>
                    <a:lnTo>
                      <a:pt x="348" y="114"/>
                    </a:lnTo>
                    <a:lnTo>
                      <a:pt x="360" y="114"/>
                    </a:lnTo>
                    <a:lnTo>
                      <a:pt x="372" y="102"/>
                    </a:lnTo>
                    <a:lnTo>
                      <a:pt x="372" y="96"/>
                    </a:lnTo>
                    <a:lnTo>
                      <a:pt x="420" y="96"/>
                    </a:lnTo>
                    <a:lnTo>
                      <a:pt x="426" y="90"/>
                    </a:lnTo>
                    <a:lnTo>
                      <a:pt x="432" y="90"/>
                    </a:lnTo>
                    <a:lnTo>
                      <a:pt x="444" y="84"/>
                    </a:lnTo>
                    <a:lnTo>
                      <a:pt x="444" y="78"/>
                    </a:lnTo>
                    <a:lnTo>
                      <a:pt x="426" y="60"/>
                    </a:lnTo>
                    <a:lnTo>
                      <a:pt x="402" y="48"/>
                    </a:lnTo>
                    <a:lnTo>
                      <a:pt x="396" y="48"/>
                    </a:lnTo>
                    <a:lnTo>
                      <a:pt x="390" y="42"/>
                    </a:lnTo>
                    <a:lnTo>
                      <a:pt x="384" y="30"/>
                    </a:lnTo>
                    <a:lnTo>
                      <a:pt x="372" y="24"/>
                    </a:lnTo>
                    <a:lnTo>
                      <a:pt x="366" y="18"/>
                    </a:lnTo>
                    <a:lnTo>
                      <a:pt x="348" y="18"/>
                    </a:lnTo>
                    <a:lnTo>
                      <a:pt x="342" y="6"/>
                    </a:lnTo>
                    <a:lnTo>
                      <a:pt x="336" y="0"/>
                    </a:lnTo>
                    <a:lnTo>
                      <a:pt x="312" y="0"/>
                    </a:lnTo>
                    <a:lnTo>
                      <a:pt x="300" y="6"/>
                    </a:lnTo>
                    <a:lnTo>
                      <a:pt x="294" y="12"/>
                    </a:lnTo>
                    <a:lnTo>
                      <a:pt x="282" y="12"/>
                    </a:lnTo>
                    <a:lnTo>
                      <a:pt x="270" y="0"/>
                    </a:lnTo>
                    <a:lnTo>
                      <a:pt x="252" y="0"/>
                    </a:lnTo>
                    <a:lnTo>
                      <a:pt x="240" y="6"/>
                    </a:lnTo>
                    <a:lnTo>
                      <a:pt x="234" y="18"/>
                    </a:lnTo>
                    <a:lnTo>
                      <a:pt x="222" y="24"/>
                    </a:lnTo>
                    <a:lnTo>
                      <a:pt x="186" y="24"/>
                    </a:lnTo>
                    <a:lnTo>
                      <a:pt x="174" y="18"/>
                    </a:lnTo>
                    <a:lnTo>
                      <a:pt x="168" y="12"/>
                    </a:lnTo>
                    <a:lnTo>
                      <a:pt x="156" y="12"/>
                    </a:lnTo>
                    <a:lnTo>
                      <a:pt x="150" y="18"/>
                    </a:lnTo>
                    <a:lnTo>
                      <a:pt x="144" y="18"/>
                    </a:lnTo>
                    <a:lnTo>
                      <a:pt x="138" y="24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26" y="12"/>
                    </a:lnTo>
                    <a:lnTo>
                      <a:pt x="126" y="6"/>
                    </a:lnTo>
                    <a:lnTo>
                      <a:pt x="120" y="0"/>
                    </a:lnTo>
                    <a:lnTo>
                      <a:pt x="114" y="0"/>
                    </a:lnTo>
                    <a:lnTo>
                      <a:pt x="96" y="18"/>
                    </a:lnTo>
                    <a:lnTo>
                      <a:pt x="90" y="18"/>
                    </a:lnTo>
                    <a:lnTo>
                      <a:pt x="84" y="30"/>
                    </a:lnTo>
                    <a:lnTo>
                      <a:pt x="72" y="36"/>
                    </a:lnTo>
                    <a:lnTo>
                      <a:pt x="60" y="48"/>
                    </a:lnTo>
                    <a:lnTo>
                      <a:pt x="48" y="54"/>
                    </a:lnTo>
                    <a:lnTo>
                      <a:pt x="36" y="66"/>
                    </a:lnTo>
                    <a:lnTo>
                      <a:pt x="24" y="72"/>
                    </a:lnTo>
                    <a:lnTo>
                      <a:pt x="18" y="84"/>
                    </a:lnTo>
                    <a:lnTo>
                      <a:pt x="18" y="102"/>
                    </a:lnTo>
                    <a:lnTo>
                      <a:pt x="12" y="114"/>
                    </a:lnTo>
                    <a:lnTo>
                      <a:pt x="0" y="126"/>
                    </a:lnTo>
                    <a:lnTo>
                      <a:pt x="6" y="138"/>
                    </a:lnTo>
                    <a:lnTo>
                      <a:pt x="18" y="150"/>
                    </a:lnTo>
                    <a:lnTo>
                      <a:pt x="42" y="150"/>
                    </a:lnTo>
                    <a:lnTo>
                      <a:pt x="42" y="168"/>
                    </a:lnTo>
                    <a:lnTo>
                      <a:pt x="48" y="174"/>
                    </a:lnTo>
                    <a:lnTo>
                      <a:pt x="60" y="174"/>
                    </a:lnTo>
                    <a:lnTo>
                      <a:pt x="66" y="168"/>
                    </a:lnTo>
                    <a:lnTo>
                      <a:pt x="102" y="168"/>
                    </a:lnTo>
                    <a:lnTo>
                      <a:pt x="102" y="210"/>
                    </a:lnTo>
                    <a:lnTo>
                      <a:pt x="126" y="222"/>
                    </a:lnTo>
                    <a:lnTo>
                      <a:pt x="132" y="228"/>
                    </a:lnTo>
                    <a:lnTo>
                      <a:pt x="132" y="246"/>
                    </a:lnTo>
                    <a:lnTo>
                      <a:pt x="144" y="246"/>
                    </a:lnTo>
                    <a:lnTo>
                      <a:pt x="156" y="24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0" name="Haiti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2161409-D16E-48C0-B584-A0172768C5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3176" y="3801983"/>
                <a:ext cx="87359" cy="69086"/>
              </a:xfrm>
              <a:custGeom>
                <a:avLst/>
                <a:gdLst>
                  <a:gd name="T0" fmla="*/ 2147483647 w 198"/>
                  <a:gd name="T1" fmla="*/ 2147483647 h 156"/>
                  <a:gd name="T2" fmla="*/ 2147483647 w 198"/>
                  <a:gd name="T3" fmla="*/ 2147483647 h 156"/>
                  <a:gd name="T4" fmla="*/ 2147483647 w 198"/>
                  <a:gd name="T5" fmla="*/ 2147483647 h 156"/>
                  <a:gd name="T6" fmla="*/ 2147483647 w 198"/>
                  <a:gd name="T7" fmla="*/ 2147483647 h 156"/>
                  <a:gd name="T8" fmla="*/ 2147483647 w 198"/>
                  <a:gd name="T9" fmla="*/ 2147483647 h 156"/>
                  <a:gd name="T10" fmla="*/ 2147483647 w 198"/>
                  <a:gd name="T11" fmla="*/ 2147483647 h 156"/>
                  <a:gd name="T12" fmla="*/ 2147483647 w 198"/>
                  <a:gd name="T13" fmla="*/ 2147483647 h 156"/>
                  <a:gd name="T14" fmla="*/ 2147483647 w 198"/>
                  <a:gd name="T15" fmla="*/ 2147483647 h 156"/>
                  <a:gd name="T16" fmla="*/ 2147483647 w 198"/>
                  <a:gd name="T17" fmla="*/ 2147483647 h 156"/>
                  <a:gd name="T18" fmla="*/ 2147483647 w 198"/>
                  <a:gd name="T19" fmla="*/ 2147483647 h 156"/>
                  <a:gd name="T20" fmla="*/ 2147483647 w 198"/>
                  <a:gd name="T21" fmla="*/ 2147483647 h 156"/>
                  <a:gd name="T22" fmla="*/ 2147483647 w 198"/>
                  <a:gd name="T23" fmla="*/ 2147483647 h 156"/>
                  <a:gd name="T24" fmla="*/ 2147483647 w 198"/>
                  <a:gd name="T25" fmla="*/ 2147483647 h 156"/>
                  <a:gd name="T26" fmla="*/ 2147483647 w 198"/>
                  <a:gd name="T27" fmla="*/ 2147483647 h 156"/>
                  <a:gd name="T28" fmla="*/ 2147483647 w 198"/>
                  <a:gd name="T29" fmla="*/ 2147483647 h 156"/>
                  <a:gd name="T30" fmla="*/ 2147483647 w 198"/>
                  <a:gd name="T31" fmla="*/ 2147483647 h 156"/>
                  <a:gd name="T32" fmla="*/ 2147483647 w 198"/>
                  <a:gd name="T33" fmla="*/ 2147483647 h 156"/>
                  <a:gd name="T34" fmla="*/ 2147483647 w 198"/>
                  <a:gd name="T35" fmla="*/ 0 h 156"/>
                  <a:gd name="T36" fmla="*/ 2147483647 w 198"/>
                  <a:gd name="T37" fmla="*/ 0 h 156"/>
                  <a:gd name="T38" fmla="*/ 2147483647 w 198"/>
                  <a:gd name="T39" fmla="*/ 2147483647 h 156"/>
                  <a:gd name="T40" fmla="*/ 2147483647 w 198"/>
                  <a:gd name="T41" fmla="*/ 2147483647 h 156"/>
                  <a:gd name="T42" fmla="*/ 2147483647 w 198"/>
                  <a:gd name="T43" fmla="*/ 2147483647 h 156"/>
                  <a:gd name="T44" fmla="*/ 2147483647 w 198"/>
                  <a:gd name="T45" fmla="*/ 2147483647 h 156"/>
                  <a:gd name="T46" fmla="*/ 2147483647 w 198"/>
                  <a:gd name="T47" fmla="*/ 2147483647 h 156"/>
                  <a:gd name="T48" fmla="*/ 2147483647 w 198"/>
                  <a:gd name="T49" fmla="*/ 2147483647 h 156"/>
                  <a:gd name="T50" fmla="*/ 2147483647 w 198"/>
                  <a:gd name="T51" fmla="*/ 2147483647 h 156"/>
                  <a:gd name="T52" fmla="*/ 2147483647 w 198"/>
                  <a:gd name="T53" fmla="*/ 2147483647 h 156"/>
                  <a:gd name="T54" fmla="*/ 2147483647 w 198"/>
                  <a:gd name="T55" fmla="*/ 2147483647 h 156"/>
                  <a:gd name="T56" fmla="*/ 2147483647 w 198"/>
                  <a:gd name="T57" fmla="*/ 2147483647 h 156"/>
                  <a:gd name="T58" fmla="*/ 2147483647 w 198"/>
                  <a:gd name="T59" fmla="*/ 2147483647 h 156"/>
                  <a:gd name="T60" fmla="*/ 2147483647 w 198"/>
                  <a:gd name="T61" fmla="*/ 2147483647 h 156"/>
                  <a:gd name="T62" fmla="*/ 2147483647 w 198"/>
                  <a:gd name="T63" fmla="*/ 2147483647 h 156"/>
                  <a:gd name="T64" fmla="*/ 2147483647 w 198"/>
                  <a:gd name="T65" fmla="*/ 2147483647 h 156"/>
                  <a:gd name="T66" fmla="*/ 2147483647 w 198"/>
                  <a:gd name="T67" fmla="*/ 2147483647 h 156"/>
                  <a:gd name="T68" fmla="*/ 2147483647 w 198"/>
                  <a:gd name="T69" fmla="*/ 2147483647 h 156"/>
                  <a:gd name="T70" fmla="*/ 2147483647 w 198"/>
                  <a:gd name="T71" fmla="*/ 2147483647 h 156"/>
                  <a:gd name="T72" fmla="*/ 2147483647 w 198"/>
                  <a:gd name="T73" fmla="*/ 2147483647 h 156"/>
                  <a:gd name="T74" fmla="*/ 2147483647 w 198"/>
                  <a:gd name="T75" fmla="*/ 2147483647 h 156"/>
                  <a:gd name="T76" fmla="*/ 2147483647 w 198"/>
                  <a:gd name="T77" fmla="*/ 2147483647 h 156"/>
                  <a:gd name="T78" fmla="*/ 2147483647 w 198"/>
                  <a:gd name="T79" fmla="*/ 2147483647 h 156"/>
                  <a:gd name="T80" fmla="*/ 2147483647 w 198"/>
                  <a:gd name="T81" fmla="*/ 2147483647 h 156"/>
                  <a:gd name="T82" fmla="*/ 0 w 198"/>
                  <a:gd name="T83" fmla="*/ 2147483647 h 156"/>
                  <a:gd name="T84" fmla="*/ 0 w 198"/>
                  <a:gd name="T85" fmla="*/ 2147483647 h 156"/>
                  <a:gd name="T86" fmla="*/ 2147483647 w 198"/>
                  <a:gd name="T87" fmla="*/ 2147483647 h 156"/>
                  <a:gd name="T88" fmla="*/ 2147483647 w 198"/>
                  <a:gd name="T89" fmla="*/ 2147483647 h 156"/>
                  <a:gd name="T90" fmla="*/ 2147483647 w 198"/>
                  <a:gd name="T91" fmla="*/ 2147483647 h 156"/>
                  <a:gd name="T92" fmla="*/ 2147483647 w 198"/>
                  <a:gd name="T93" fmla="*/ 2147483647 h 156"/>
                  <a:gd name="T94" fmla="*/ 2147483647 w 198"/>
                  <a:gd name="T95" fmla="*/ 2147483647 h 156"/>
                  <a:gd name="T96" fmla="*/ 2147483647 w 198"/>
                  <a:gd name="T97" fmla="*/ 2147483647 h 156"/>
                  <a:gd name="T98" fmla="*/ 2147483647 w 198"/>
                  <a:gd name="T99" fmla="*/ 2147483647 h 156"/>
                  <a:gd name="T100" fmla="*/ 2147483647 w 198"/>
                  <a:gd name="T101" fmla="*/ 2147483647 h 156"/>
                  <a:gd name="T102" fmla="*/ 2147483647 w 198"/>
                  <a:gd name="T103" fmla="*/ 2147483647 h 156"/>
                  <a:gd name="T104" fmla="*/ 2147483647 w 198"/>
                  <a:gd name="T105" fmla="*/ 2147483647 h 156"/>
                  <a:gd name="T106" fmla="*/ 2147483647 w 198"/>
                  <a:gd name="T107" fmla="*/ 2147483647 h 156"/>
                  <a:gd name="T108" fmla="*/ 2147483647 w 198"/>
                  <a:gd name="T109" fmla="*/ 2147483647 h 156"/>
                  <a:gd name="T110" fmla="*/ 2147483647 w 198"/>
                  <a:gd name="T111" fmla="*/ 2147483647 h 156"/>
                  <a:gd name="T112" fmla="*/ 2147483647 w 198"/>
                  <a:gd name="T113" fmla="*/ 2147483647 h 15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98"/>
                  <a:gd name="T172" fmla="*/ 0 h 156"/>
                  <a:gd name="T173" fmla="*/ 198 w 198"/>
                  <a:gd name="T174" fmla="*/ 156 h 15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98" h="156">
                    <a:moveTo>
                      <a:pt x="168" y="114"/>
                    </a:moveTo>
                    <a:lnTo>
                      <a:pt x="168" y="108"/>
                    </a:lnTo>
                    <a:lnTo>
                      <a:pt x="174" y="102"/>
                    </a:lnTo>
                    <a:lnTo>
                      <a:pt x="180" y="90"/>
                    </a:lnTo>
                    <a:lnTo>
                      <a:pt x="180" y="78"/>
                    </a:lnTo>
                    <a:lnTo>
                      <a:pt x="186" y="72"/>
                    </a:lnTo>
                    <a:lnTo>
                      <a:pt x="192" y="60"/>
                    </a:lnTo>
                    <a:lnTo>
                      <a:pt x="198" y="54"/>
                    </a:lnTo>
                    <a:lnTo>
                      <a:pt x="198" y="42"/>
                    </a:lnTo>
                    <a:lnTo>
                      <a:pt x="186" y="6"/>
                    </a:lnTo>
                    <a:lnTo>
                      <a:pt x="180" y="12"/>
                    </a:lnTo>
                    <a:lnTo>
                      <a:pt x="180" y="18"/>
                    </a:lnTo>
                    <a:lnTo>
                      <a:pt x="174" y="18"/>
                    </a:lnTo>
                    <a:lnTo>
                      <a:pt x="168" y="12"/>
                    </a:lnTo>
                    <a:lnTo>
                      <a:pt x="156" y="12"/>
                    </a:lnTo>
                    <a:lnTo>
                      <a:pt x="144" y="6"/>
                    </a:lnTo>
                    <a:lnTo>
                      <a:pt x="126" y="6"/>
                    </a:lnTo>
                    <a:lnTo>
                      <a:pt x="114" y="0"/>
                    </a:lnTo>
                    <a:lnTo>
                      <a:pt x="84" y="0"/>
                    </a:lnTo>
                    <a:lnTo>
                      <a:pt x="72" y="6"/>
                    </a:lnTo>
                    <a:lnTo>
                      <a:pt x="66" y="12"/>
                    </a:lnTo>
                    <a:lnTo>
                      <a:pt x="66" y="18"/>
                    </a:lnTo>
                    <a:lnTo>
                      <a:pt x="72" y="24"/>
                    </a:lnTo>
                    <a:lnTo>
                      <a:pt x="108" y="24"/>
                    </a:lnTo>
                    <a:lnTo>
                      <a:pt x="114" y="30"/>
                    </a:lnTo>
                    <a:lnTo>
                      <a:pt x="120" y="42"/>
                    </a:lnTo>
                    <a:lnTo>
                      <a:pt x="126" y="48"/>
                    </a:lnTo>
                    <a:lnTo>
                      <a:pt x="114" y="54"/>
                    </a:lnTo>
                    <a:lnTo>
                      <a:pt x="108" y="60"/>
                    </a:lnTo>
                    <a:lnTo>
                      <a:pt x="108" y="72"/>
                    </a:lnTo>
                    <a:lnTo>
                      <a:pt x="114" y="84"/>
                    </a:lnTo>
                    <a:lnTo>
                      <a:pt x="114" y="96"/>
                    </a:lnTo>
                    <a:lnTo>
                      <a:pt x="120" y="102"/>
                    </a:lnTo>
                    <a:lnTo>
                      <a:pt x="114" y="108"/>
                    </a:lnTo>
                    <a:lnTo>
                      <a:pt x="96" y="108"/>
                    </a:lnTo>
                    <a:lnTo>
                      <a:pt x="78" y="102"/>
                    </a:lnTo>
                    <a:lnTo>
                      <a:pt x="66" y="102"/>
                    </a:lnTo>
                    <a:lnTo>
                      <a:pt x="54" y="96"/>
                    </a:lnTo>
                    <a:lnTo>
                      <a:pt x="36" y="96"/>
                    </a:lnTo>
                    <a:lnTo>
                      <a:pt x="24" y="102"/>
                    </a:lnTo>
                    <a:lnTo>
                      <a:pt x="6" y="102"/>
                    </a:lnTo>
                    <a:lnTo>
                      <a:pt x="0" y="108"/>
                    </a:lnTo>
                    <a:lnTo>
                      <a:pt x="0" y="114"/>
                    </a:lnTo>
                    <a:lnTo>
                      <a:pt x="6" y="120"/>
                    </a:lnTo>
                    <a:lnTo>
                      <a:pt x="12" y="132"/>
                    </a:lnTo>
                    <a:lnTo>
                      <a:pt x="24" y="138"/>
                    </a:lnTo>
                    <a:lnTo>
                      <a:pt x="30" y="150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8" y="150"/>
                    </a:lnTo>
                    <a:lnTo>
                      <a:pt x="54" y="138"/>
                    </a:lnTo>
                    <a:lnTo>
                      <a:pt x="60" y="132"/>
                    </a:lnTo>
                    <a:lnTo>
                      <a:pt x="138" y="132"/>
                    </a:lnTo>
                    <a:lnTo>
                      <a:pt x="156" y="126"/>
                    </a:lnTo>
                    <a:lnTo>
                      <a:pt x="168" y="126"/>
                    </a:lnTo>
                    <a:lnTo>
                      <a:pt x="180" y="144"/>
                    </a:lnTo>
                    <a:lnTo>
                      <a:pt x="168" y="11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1" name="Guatemal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7953664-471E-4A73-9A3A-921AAD9D18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66607" y="3872841"/>
                <a:ext cx="131037" cy="150571"/>
              </a:xfrm>
              <a:custGeom>
                <a:avLst/>
                <a:gdLst>
                  <a:gd name="T0" fmla="*/ 2147483647 w 300"/>
                  <a:gd name="T1" fmla="*/ 2147483647 h 336"/>
                  <a:gd name="T2" fmla="*/ 2147483647 w 300"/>
                  <a:gd name="T3" fmla="*/ 2147483647 h 336"/>
                  <a:gd name="T4" fmla="*/ 2147483647 w 300"/>
                  <a:gd name="T5" fmla="*/ 2147483647 h 336"/>
                  <a:gd name="T6" fmla="*/ 2147483647 w 300"/>
                  <a:gd name="T7" fmla="*/ 2147483647 h 336"/>
                  <a:gd name="T8" fmla="*/ 2147483647 w 300"/>
                  <a:gd name="T9" fmla="*/ 2147483647 h 336"/>
                  <a:gd name="T10" fmla="*/ 2147483647 w 300"/>
                  <a:gd name="T11" fmla="*/ 0 h 336"/>
                  <a:gd name="T12" fmla="*/ 2147483647 w 300"/>
                  <a:gd name="T13" fmla="*/ 2147483647 h 336"/>
                  <a:gd name="T14" fmla="*/ 2147483647 w 300"/>
                  <a:gd name="T15" fmla="*/ 2147483647 h 336"/>
                  <a:gd name="T16" fmla="*/ 2147483647 w 300"/>
                  <a:gd name="T17" fmla="*/ 2147483647 h 336"/>
                  <a:gd name="T18" fmla="*/ 2147483647 w 300"/>
                  <a:gd name="T19" fmla="*/ 2147483647 h 336"/>
                  <a:gd name="T20" fmla="*/ 2147483647 w 300"/>
                  <a:gd name="T21" fmla="*/ 2147483647 h 336"/>
                  <a:gd name="T22" fmla="*/ 2147483647 w 300"/>
                  <a:gd name="T23" fmla="*/ 2147483647 h 336"/>
                  <a:gd name="T24" fmla="*/ 2147483647 w 300"/>
                  <a:gd name="T25" fmla="*/ 2147483647 h 336"/>
                  <a:gd name="T26" fmla="*/ 2147483647 w 300"/>
                  <a:gd name="T27" fmla="*/ 2147483647 h 336"/>
                  <a:gd name="T28" fmla="*/ 2147483647 w 300"/>
                  <a:gd name="T29" fmla="*/ 2147483647 h 336"/>
                  <a:gd name="T30" fmla="*/ 2147483647 w 300"/>
                  <a:gd name="T31" fmla="*/ 2147483647 h 336"/>
                  <a:gd name="T32" fmla="*/ 2147483647 w 300"/>
                  <a:gd name="T33" fmla="*/ 2147483647 h 336"/>
                  <a:gd name="T34" fmla="*/ 2147483647 w 300"/>
                  <a:gd name="T35" fmla="*/ 2147483647 h 336"/>
                  <a:gd name="T36" fmla="*/ 2147483647 w 300"/>
                  <a:gd name="T37" fmla="*/ 2147483647 h 336"/>
                  <a:gd name="T38" fmla="*/ 2147483647 w 300"/>
                  <a:gd name="T39" fmla="*/ 2147483647 h 336"/>
                  <a:gd name="T40" fmla="*/ 2147483647 w 300"/>
                  <a:gd name="T41" fmla="*/ 2147483647 h 336"/>
                  <a:gd name="T42" fmla="*/ 2147483647 w 300"/>
                  <a:gd name="T43" fmla="*/ 2147483647 h 336"/>
                  <a:gd name="T44" fmla="*/ 2147483647 w 300"/>
                  <a:gd name="T45" fmla="*/ 2147483647 h 336"/>
                  <a:gd name="T46" fmla="*/ 2147483647 w 300"/>
                  <a:gd name="T47" fmla="*/ 2147483647 h 336"/>
                  <a:gd name="T48" fmla="*/ 2147483647 w 300"/>
                  <a:gd name="T49" fmla="*/ 2147483647 h 336"/>
                  <a:gd name="T50" fmla="*/ 2147483647 w 300"/>
                  <a:gd name="T51" fmla="*/ 2147483647 h 336"/>
                  <a:gd name="T52" fmla="*/ 2147483647 w 300"/>
                  <a:gd name="T53" fmla="*/ 2147483647 h 336"/>
                  <a:gd name="T54" fmla="*/ 2147483647 w 300"/>
                  <a:gd name="T55" fmla="*/ 2147483647 h 336"/>
                  <a:gd name="T56" fmla="*/ 2147483647 w 300"/>
                  <a:gd name="T57" fmla="*/ 2147483647 h 336"/>
                  <a:gd name="T58" fmla="*/ 0 w 300"/>
                  <a:gd name="T59" fmla="*/ 2147483647 h 336"/>
                  <a:gd name="T60" fmla="*/ 2147483647 w 300"/>
                  <a:gd name="T61" fmla="*/ 2147483647 h 336"/>
                  <a:gd name="T62" fmla="*/ 2147483647 w 300"/>
                  <a:gd name="T63" fmla="*/ 2147483647 h 336"/>
                  <a:gd name="T64" fmla="*/ 2147483647 w 300"/>
                  <a:gd name="T65" fmla="*/ 2147483647 h 336"/>
                  <a:gd name="T66" fmla="*/ 2147483647 w 300"/>
                  <a:gd name="T67" fmla="*/ 2147483647 h 336"/>
                  <a:gd name="T68" fmla="*/ 2147483647 w 300"/>
                  <a:gd name="T69" fmla="*/ 2147483647 h 336"/>
                  <a:gd name="T70" fmla="*/ 2147483647 w 300"/>
                  <a:gd name="T71" fmla="*/ 2147483647 h 336"/>
                  <a:gd name="T72" fmla="*/ 2147483647 w 300"/>
                  <a:gd name="T73" fmla="*/ 2147483647 h 336"/>
                  <a:gd name="T74" fmla="*/ 2147483647 w 300"/>
                  <a:gd name="T75" fmla="*/ 2147483647 h 336"/>
                  <a:gd name="T76" fmla="*/ 2147483647 w 300"/>
                  <a:gd name="T77" fmla="*/ 2147483647 h 336"/>
                  <a:gd name="T78" fmla="*/ 2147483647 w 300"/>
                  <a:gd name="T79" fmla="*/ 2147483647 h 336"/>
                  <a:gd name="T80" fmla="*/ 2147483647 w 300"/>
                  <a:gd name="T81" fmla="*/ 2147483647 h 336"/>
                  <a:gd name="T82" fmla="*/ 2147483647 w 300"/>
                  <a:gd name="T83" fmla="*/ 2147483647 h 336"/>
                  <a:gd name="T84" fmla="*/ 2147483647 w 300"/>
                  <a:gd name="T85" fmla="*/ 2147483647 h 336"/>
                  <a:gd name="T86" fmla="*/ 2147483647 w 300"/>
                  <a:gd name="T87" fmla="*/ 2147483647 h 336"/>
                  <a:gd name="T88" fmla="*/ 2147483647 w 300"/>
                  <a:gd name="T89" fmla="*/ 2147483647 h 336"/>
                  <a:gd name="T90" fmla="*/ 2147483647 w 300"/>
                  <a:gd name="T91" fmla="*/ 2147483647 h 336"/>
                  <a:gd name="T92" fmla="*/ 2147483647 w 300"/>
                  <a:gd name="T93" fmla="*/ 2147483647 h 336"/>
                  <a:gd name="T94" fmla="*/ 2147483647 w 300"/>
                  <a:gd name="T95" fmla="*/ 2147483647 h 336"/>
                  <a:gd name="T96" fmla="*/ 2147483647 w 300"/>
                  <a:gd name="T97" fmla="*/ 2147483647 h 336"/>
                  <a:gd name="T98" fmla="*/ 2147483647 w 300"/>
                  <a:gd name="T99" fmla="*/ 2147483647 h 336"/>
                  <a:gd name="T100" fmla="*/ 2147483647 w 300"/>
                  <a:gd name="T101" fmla="*/ 2147483647 h 336"/>
                  <a:gd name="T102" fmla="*/ 2147483647 w 300"/>
                  <a:gd name="T103" fmla="*/ 2147483647 h 336"/>
                  <a:gd name="T104" fmla="*/ 2147483647 w 300"/>
                  <a:gd name="T105" fmla="*/ 2147483647 h 336"/>
                  <a:gd name="T106" fmla="*/ 2147483647 w 300"/>
                  <a:gd name="T107" fmla="*/ 2147483647 h 336"/>
                  <a:gd name="T108" fmla="*/ 2147483647 w 300"/>
                  <a:gd name="T109" fmla="*/ 2147483647 h 336"/>
                  <a:gd name="T110" fmla="*/ 2147483647 w 300"/>
                  <a:gd name="T111" fmla="*/ 2147483647 h 336"/>
                  <a:gd name="T112" fmla="*/ 2147483647 w 300"/>
                  <a:gd name="T113" fmla="*/ 2147483647 h 336"/>
                  <a:gd name="T114" fmla="*/ 2147483647 w 300"/>
                  <a:gd name="T115" fmla="*/ 2147483647 h 336"/>
                  <a:gd name="T116" fmla="*/ 2147483647 w 300"/>
                  <a:gd name="T117" fmla="*/ 2147483647 h 336"/>
                  <a:gd name="T118" fmla="*/ 2147483647 w 300"/>
                  <a:gd name="T119" fmla="*/ 2147483647 h 336"/>
                  <a:gd name="T120" fmla="*/ 2147483647 w 300"/>
                  <a:gd name="T121" fmla="*/ 2147483647 h 3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00"/>
                  <a:gd name="T184" fmla="*/ 0 h 336"/>
                  <a:gd name="T185" fmla="*/ 300 w 300"/>
                  <a:gd name="T186" fmla="*/ 336 h 3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00" h="336">
                    <a:moveTo>
                      <a:pt x="288" y="156"/>
                    </a:moveTo>
                    <a:lnTo>
                      <a:pt x="270" y="168"/>
                    </a:lnTo>
                    <a:lnTo>
                      <a:pt x="258" y="162"/>
                    </a:lnTo>
                    <a:lnTo>
                      <a:pt x="228" y="162"/>
                    </a:lnTo>
                    <a:lnTo>
                      <a:pt x="252" y="6"/>
                    </a:lnTo>
                    <a:lnTo>
                      <a:pt x="120" y="0"/>
                    </a:lnTo>
                    <a:lnTo>
                      <a:pt x="120" y="12"/>
                    </a:lnTo>
                    <a:lnTo>
                      <a:pt x="126" y="24"/>
                    </a:lnTo>
                    <a:lnTo>
                      <a:pt x="126" y="48"/>
                    </a:lnTo>
                    <a:lnTo>
                      <a:pt x="120" y="48"/>
                    </a:lnTo>
                    <a:lnTo>
                      <a:pt x="108" y="54"/>
                    </a:lnTo>
                    <a:lnTo>
                      <a:pt x="84" y="54"/>
                    </a:lnTo>
                    <a:lnTo>
                      <a:pt x="96" y="60"/>
                    </a:lnTo>
                    <a:lnTo>
                      <a:pt x="96" y="66"/>
                    </a:lnTo>
                    <a:lnTo>
                      <a:pt x="102" y="78"/>
                    </a:lnTo>
                    <a:lnTo>
                      <a:pt x="108" y="84"/>
                    </a:lnTo>
                    <a:lnTo>
                      <a:pt x="114" y="84"/>
                    </a:lnTo>
                    <a:lnTo>
                      <a:pt x="126" y="90"/>
                    </a:lnTo>
                    <a:lnTo>
                      <a:pt x="132" y="90"/>
                    </a:lnTo>
                    <a:lnTo>
                      <a:pt x="138" y="114"/>
                    </a:lnTo>
                    <a:lnTo>
                      <a:pt x="156" y="114"/>
                    </a:lnTo>
                    <a:lnTo>
                      <a:pt x="156" y="126"/>
                    </a:lnTo>
                    <a:lnTo>
                      <a:pt x="150" y="132"/>
                    </a:lnTo>
                    <a:lnTo>
                      <a:pt x="144" y="132"/>
                    </a:lnTo>
                    <a:lnTo>
                      <a:pt x="144" y="150"/>
                    </a:lnTo>
                    <a:lnTo>
                      <a:pt x="54" y="144"/>
                    </a:lnTo>
                    <a:lnTo>
                      <a:pt x="24" y="192"/>
                    </a:lnTo>
                    <a:lnTo>
                      <a:pt x="24" y="264"/>
                    </a:lnTo>
                    <a:lnTo>
                      <a:pt x="18" y="270"/>
                    </a:lnTo>
                    <a:lnTo>
                      <a:pt x="0" y="270"/>
                    </a:lnTo>
                    <a:lnTo>
                      <a:pt x="6" y="282"/>
                    </a:lnTo>
                    <a:lnTo>
                      <a:pt x="12" y="288"/>
                    </a:lnTo>
                    <a:lnTo>
                      <a:pt x="24" y="288"/>
                    </a:lnTo>
                    <a:lnTo>
                      <a:pt x="42" y="300"/>
                    </a:lnTo>
                    <a:lnTo>
                      <a:pt x="60" y="318"/>
                    </a:lnTo>
                    <a:lnTo>
                      <a:pt x="72" y="324"/>
                    </a:lnTo>
                    <a:lnTo>
                      <a:pt x="120" y="324"/>
                    </a:lnTo>
                    <a:lnTo>
                      <a:pt x="126" y="330"/>
                    </a:lnTo>
                    <a:lnTo>
                      <a:pt x="132" y="330"/>
                    </a:lnTo>
                    <a:lnTo>
                      <a:pt x="138" y="336"/>
                    </a:lnTo>
                    <a:lnTo>
                      <a:pt x="150" y="324"/>
                    </a:lnTo>
                    <a:lnTo>
                      <a:pt x="162" y="318"/>
                    </a:lnTo>
                    <a:lnTo>
                      <a:pt x="168" y="312"/>
                    </a:lnTo>
                    <a:lnTo>
                      <a:pt x="174" y="312"/>
                    </a:lnTo>
                    <a:lnTo>
                      <a:pt x="180" y="300"/>
                    </a:lnTo>
                    <a:lnTo>
                      <a:pt x="186" y="294"/>
                    </a:lnTo>
                    <a:lnTo>
                      <a:pt x="186" y="282"/>
                    </a:lnTo>
                    <a:lnTo>
                      <a:pt x="204" y="282"/>
                    </a:lnTo>
                    <a:lnTo>
                      <a:pt x="210" y="276"/>
                    </a:lnTo>
                    <a:lnTo>
                      <a:pt x="222" y="270"/>
                    </a:lnTo>
                    <a:lnTo>
                      <a:pt x="222" y="264"/>
                    </a:lnTo>
                    <a:lnTo>
                      <a:pt x="228" y="252"/>
                    </a:lnTo>
                    <a:lnTo>
                      <a:pt x="228" y="234"/>
                    </a:lnTo>
                    <a:lnTo>
                      <a:pt x="234" y="222"/>
                    </a:lnTo>
                    <a:lnTo>
                      <a:pt x="246" y="216"/>
                    </a:lnTo>
                    <a:lnTo>
                      <a:pt x="258" y="204"/>
                    </a:lnTo>
                    <a:lnTo>
                      <a:pt x="270" y="198"/>
                    </a:lnTo>
                    <a:lnTo>
                      <a:pt x="282" y="186"/>
                    </a:lnTo>
                    <a:lnTo>
                      <a:pt x="294" y="180"/>
                    </a:lnTo>
                    <a:lnTo>
                      <a:pt x="300" y="168"/>
                    </a:lnTo>
                    <a:lnTo>
                      <a:pt x="288" y="15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2" name="El Salvador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87C36E8-4730-4F18-937D-1F47250709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27759" y="3998611"/>
                <a:ext cx="75128" cy="49601"/>
              </a:xfrm>
              <a:custGeom>
                <a:avLst/>
                <a:gdLst>
                  <a:gd name="T0" fmla="*/ 2147483647 w 174"/>
                  <a:gd name="T1" fmla="*/ 2147483647 h 114"/>
                  <a:gd name="T2" fmla="*/ 2147483647 w 174"/>
                  <a:gd name="T3" fmla="*/ 2147483647 h 114"/>
                  <a:gd name="T4" fmla="*/ 2147483647 w 174"/>
                  <a:gd name="T5" fmla="*/ 2147483647 h 114"/>
                  <a:gd name="T6" fmla="*/ 2147483647 w 174"/>
                  <a:gd name="T7" fmla="*/ 2147483647 h 114"/>
                  <a:gd name="T8" fmla="*/ 2147483647 w 174"/>
                  <a:gd name="T9" fmla="*/ 2147483647 h 114"/>
                  <a:gd name="T10" fmla="*/ 2147483647 w 174"/>
                  <a:gd name="T11" fmla="*/ 2147483647 h 114"/>
                  <a:gd name="T12" fmla="*/ 2147483647 w 174"/>
                  <a:gd name="T13" fmla="*/ 2147483647 h 114"/>
                  <a:gd name="T14" fmla="*/ 2147483647 w 174"/>
                  <a:gd name="T15" fmla="*/ 2147483647 h 114"/>
                  <a:gd name="T16" fmla="*/ 2147483647 w 174"/>
                  <a:gd name="T17" fmla="*/ 2147483647 h 114"/>
                  <a:gd name="T18" fmla="*/ 2147483647 w 174"/>
                  <a:gd name="T19" fmla="*/ 0 h 114"/>
                  <a:gd name="T20" fmla="*/ 2147483647 w 174"/>
                  <a:gd name="T21" fmla="*/ 2147483647 h 114"/>
                  <a:gd name="T22" fmla="*/ 2147483647 w 174"/>
                  <a:gd name="T23" fmla="*/ 2147483647 h 114"/>
                  <a:gd name="T24" fmla="*/ 2147483647 w 174"/>
                  <a:gd name="T25" fmla="*/ 2147483647 h 114"/>
                  <a:gd name="T26" fmla="*/ 2147483647 w 174"/>
                  <a:gd name="T27" fmla="*/ 2147483647 h 114"/>
                  <a:gd name="T28" fmla="*/ 2147483647 w 174"/>
                  <a:gd name="T29" fmla="*/ 2147483647 h 114"/>
                  <a:gd name="T30" fmla="*/ 2147483647 w 174"/>
                  <a:gd name="T31" fmla="*/ 2147483647 h 114"/>
                  <a:gd name="T32" fmla="*/ 2147483647 w 174"/>
                  <a:gd name="T33" fmla="*/ 2147483647 h 114"/>
                  <a:gd name="T34" fmla="*/ 2147483647 w 174"/>
                  <a:gd name="T35" fmla="*/ 2147483647 h 114"/>
                  <a:gd name="T36" fmla="*/ 0 w 174"/>
                  <a:gd name="T37" fmla="*/ 2147483647 h 114"/>
                  <a:gd name="T38" fmla="*/ 2147483647 w 174"/>
                  <a:gd name="T39" fmla="*/ 2147483647 h 114"/>
                  <a:gd name="T40" fmla="*/ 2147483647 w 174"/>
                  <a:gd name="T41" fmla="*/ 2147483647 h 114"/>
                  <a:gd name="T42" fmla="*/ 2147483647 w 174"/>
                  <a:gd name="T43" fmla="*/ 2147483647 h 114"/>
                  <a:gd name="T44" fmla="*/ 2147483647 w 174"/>
                  <a:gd name="T45" fmla="*/ 2147483647 h 114"/>
                  <a:gd name="T46" fmla="*/ 2147483647 w 174"/>
                  <a:gd name="T47" fmla="*/ 2147483647 h 114"/>
                  <a:gd name="T48" fmla="*/ 2147483647 w 174"/>
                  <a:gd name="T49" fmla="*/ 2147483647 h 114"/>
                  <a:gd name="T50" fmla="*/ 2147483647 w 174"/>
                  <a:gd name="T51" fmla="*/ 2147483647 h 114"/>
                  <a:gd name="T52" fmla="*/ 2147483647 w 174"/>
                  <a:gd name="T53" fmla="*/ 2147483647 h 114"/>
                  <a:gd name="T54" fmla="*/ 2147483647 w 174"/>
                  <a:gd name="T55" fmla="*/ 2147483647 h 114"/>
                  <a:gd name="T56" fmla="*/ 2147483647 w 174"/>
                  <a:gd name="T57" fmla="*/ 2147483647 h 11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4"/>
                  <a:gd name="T88" fmla="*/ 0 h 114"/>
                  <a:gd name="T89" fmla="*/ 174 w 174"/>
                  <a:gd name="T90" fmla="*/ 114 h 11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4" h="114">
                    <a:moveTo>
                      <a:pt x="174" y="84"/>
                    </a:moveTo>
                    <a:lnTo>
                      <a:pt x="174" y="42"/>
                    </a:lnTo>
                    <a:lnTo>
                      <a:pt x="138" y="42"/>
                    </a:lnTo>
                    <a:lnTo>
                      <a:pt x="132" y="48"/>
                    </a:lnTo>
                    <a:lnTo>
                      <a:pt x="120" y="48"/>
                    </a:lnTo>
                    <a:lnTo>
                      <a:pt x="114" y="42"/>
                    </a:lnTo>
                    <a:lnTo>
                      <a:pt x="114" y="24"/>
                    </a:lnTo>
                    <a:lnTo>
                      <a:pt x="90" y="24"/>
                    </a:lnTo>
                    <a:lnTo>
                      <a:pt x="78" y="12"/>
                    </a:lnTo>
                    <a:lnTo>
                      <a:pt x="72" y="0"/>
                    </a:lnTo>
                    <a:lnTo>
                      <a:pt x="60" y="6"/>
                    </a:lnTo>
                    <a:lnTo>
                      <a:pt x="48" y="6"/>
                    </a:lnTo>
                    <a:lnTo>
                      <a:pt x="48" y="18"/>
                    </a:lnTo>
                    <a:lnTo>
                      <a:pt x="42" y="24"/>
                    </a:lnTo>
                    <a:lnTo>
                      <a:pt x="36" y="36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12" y="48"/>
                    </a:lnTo>
                    <a:lnTo>
                      <a:pt x="0" y="60"/>
                    </a:lnTo>
                    <a:lnTo>
                      <a:pt x="6" y="66"/>
                    </a:lnTo>
                    <a:lnTo>
                      <a:pt x="18" y="72"/>
                    </a:lnTo>
                    <a:lnTo>
                      <a:pt x="24" y="78"/>
                    </a:lnTo>
                    <a:lnTo>
                      <a:pt x="72" y="78"/>
                    </a:lnTo>
                    <a:lnTo>
                      <a:pt x="96" y="102"/>
                    </a:lnTo>
                    <a:lnTo>
                      <a:pt x="132" y="96"/>
                    </a:lnTo>
                    <a:lnTo>
                      <a:pt x="150" y="114"/>
                    </a:lnTo>
                    <a:lnTo>
                      <a:pt x="168" y="84"/>
                    </a:lnTo>
                    <a:lnTo>
                      <a:pt x="174" y="90"/>
                    </a:lnTo>
                    <a:lnTo>
                      <a:pt x="174" y="8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3" name="Dominican Republic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ED4BD15-72E9-48BA-87B0-F1F7CADB13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8305" y="3801984"/>
                <a:ext cx="110071" cy="74399"/>
              </a:xfrm>
              <a:custGeom>
                <a:avLst/>
                <a:gdLst>
                  <a:gd name="T0" fmla="*/ 2147483647 w 252"/>
                  <a:gd name="T1" fmla="*/ 2147483647 h 168"/>
                  <a:gd name="T2" fmla="*/ 2147483647 w 252"/>
                  <a:gd name="T3" fmla="*/ 2147483647 h 168"/>
                  <a:gd name="T4" fmla="*/ 2147483647 w 252"/>
                  <a:gd name="T5" fmla="*/ 2147483647 h 168"/>
                  <a:gd name="T6" fmla="*/ 2147483647 w 252"/>
                  <a:gd name="T7" fmla="*/ 2147483647 h 168"/>
                  <a:gd name="T8" fmla="*/ 2147483647 w 252"/>
                  <a:gd name="T9" fmla="*/ 2147483647 h 168"/>
                  <a:gd name="T10" fmla="*/ 2147483647 w 252"/>
                  <a:gd name="T11" fmla="*/ 2147483647 h 168"/>
                  <a:gd name="T12" fmla="*/ 2147483647 w 252"/>
                  <a:gd name="T13" fmla="*/ 2147483647 h 168"/>
                  <a:gd name="T14" fmla="*/ 2147483647 w 252"/>
                  <a:gd name="T15" fmla="*/ 2147483647 h 168"/>
                  <a:gd name="T16" fmla="*/ 2147483647 w 252"/>
                  <a:gd name="T17" fmla="*/ 2147483647 h 168"/>
                  <a:gd name="T18" fmla="*/ 2147483647 w 252"/>
                  <a:gd name="T19" fmla="*/ 2147483647 h 168"/>
                  <a:gd name="T20" fmla="*/ 2147483647 w 252"/>
                  <a:gd name="T21" fmla="*/ 0 h 168"/>
                  <a:gd name="T22" fmla="*/ 2147483647 w 252"/>
                  <a:gd name="T23" fmla="*/ 0 h 168"/>
                  <a:gd name="T24" fmla="*/ 2147483647 w 252"/>
                  <a:gd name="T25" fmla="*/ 2147483647 h 168"/>
                  <a:gd name="T26" fmla="*/ 2147483647 w 252"/>
                  <a:gd name="T27" fmla="*/ 2147483647 h 168"/>
                  <a:gd name="T28" fmla="*/ 2147483647 w 252"/>
                  <a:gd name="T29" fmla="*/ 2147483647 h 168"/>
                  <a:gd name="T30" fmla="*/ 2147483647 w 252"/>
                  <a:gd name="T31" fmla="*/ 2147483647 h 168"/>
                  <a:gd name="T32" fmla="*/ 2147483647 w 252"/>
                  <a:gd name="T33" fmla="*/ 2147483647 h 168"/>
                  <a:gd name="T34" fmla="*/ 2147483647 w 252"/>
                  <a:gd name="T35" fmla="*/ 2147483647 h 168"/>
                  <a:gd name="T36" fmla="*/ 2147483647 w 252"/>
                  <a:gd name="T37" fmla="*/ 2147483647 h 168"/>
                  <a:gd name="T38" fmla="*/ 2147483647 w 252"/>
                  <a:gd name="T39" fmla="*/ 2147483647 h 168"/>
                  <a:gd name="T40" fmla="*/ 2147483647 w 252"/>
                  <a:gd name="T41" fmla="*/ 2147483647 h 168"/>
                  <a:gd name="T42" fmla="*/ 0 w 252"/>
                  <a:gd name="T43" fmla="*/ 2147483647 h 168"/>
                  <a:gd name="T44" fmla="*/ 0 w 252"/>
                  <a:gd name="T45" fmla="*/ 2147483647 h 168"/>
                  <a:gd name="T46" fmla="*/ 2147483647 w 252"/>
                  <a:gd name="T47" fmla="*/ 2147483647 h 168"/>
                  <a:gd name="T48" fmla="*/ 0 w 252"/>
                  <a:gd name="T49" fmla="*/ 2147483647 h 168"/>
                  <a:gd name="T50" fmla="*/ 2147483647 w 252"/>
                  <a:gd name="T51" fmla="*/ 2147483647 h 168"/>
                  <a:gd name="T52" fmla="*/ 2147483647 w 252"/>
                  <a:gd name="T53" fmla="*/ 2147483647 h 168"/>
                  <a:gd name="T54" fmla="*/ 2147483647 w 252"/>
                  <a:gd name="T55" fmla="*/ 2147483647 h 168"/>
                  <a:gd name="T56" fmla="*/ 2147483647 w 252"/>
                  <a:gd name="T57" fmla="*/ 2147483647 h 168"/>
                  <a:gd name="T58" fmla="*/ 2147483647 w 252"/>
                  <a:gd name="T59" fmla="*/ 2147483647 h 168"/>
                  <a:gd name="T60" fmla="*/ 2147483647 w 252"/>
                  <a:gd name="T61" fmla="*/ 2147483647 h 168"/>
                  <a:gd name="T62" fmla="*/ 2147483647 w 252"/>
                  <a:gd name="T63" fmla="*/ 2147483647 h 168"/>
                  <a:gd name="T64" fmla="*/ 2147483647 w 252"/>
                  <a:gd name="T65" fmla="*/ 2147483647 h 168"/>
                  <a:gd name="T66" fmla="*/ 2147483647 w 252"/>
                  <a:gd name="T67" fmla="*/ 2147483647 h 16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52"/>
                  <a:gd name="T103" fmla="*/ 0 h 168"/>
                  <a:gd name="T104" fmla="*/ 252 w 252"/>
                  <a:gd name="T105" fmla="*/ 168 h 16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52" h="168">
                    <a:moveTo>
                      <a:pt x="246" y="102"/>
                    </a:moveTo>
                    <a:lnTo>
                      <a:pt x="234" y="96"/>
                    </a:lnTo>
                    <a:lnTo>
                      <a:pt x="216" y="78"/>
                    </a:lnTo>
                    <a:lnTo>
                      <a:pt x="192" y="66"/>
                    </a:lnTo>
                    <a:lnTo>
                      <a:pt x="156" y="54"/>
                    </a:lnTo>
                    <a:lnTo>
                      <a:pt x="132" y="42"/>
                    </a:lnTo>
                    <a:lnTo>
                      <a:pt x="126" y="30"/>
                    </a:lnTo>
                    <a:lnTo>
                      <a:pt x="108" y="12"/>
                    </a:lnTo>
                    <a:lnTo>
                      <a:pt x="96" y="6"/>
                    </a:lnTo>
                    <a:lnTo>
                      <a:pt x="84" y="6"/>
                    </a:lnTo>
                    <a:lnTo>
                      <a:pt x="60" y="0"/>
                    </a:lnTo>
                    <a:lnTo>
                      <a:pt x="30" y="0"/>
                    </a:lnTo>
                    <a:lnTo>
                      <a:pt x="24" y="6"/>
                    </a:lnTo>
                    <a:lnTo>
                      <a:pt x="18" y="6"/>
                    </a:lnTo>
                    <a:lnTo>
                      <a:pt x="30" y="42"/>
                    </a:lnTo>
                    <a:lnTo>
                      <a:pt x="30" y="54"/>
                    </a:lnTo>
                    <a:lnTo>
                      <a:pt x="24" y="60"/>
                    </a:lnTo>
                    <a:lnTo>
                      <a:pt x="18" y="72"/>
                    </a:lnTo>
                    <a:lnTo>
                      <a:pt x="12" y="78"/>
                    </a:lnTo>
                    <a:lnTo>
                      <a:pt x="12" y="90"/>
                    </a:lnTo>
                    <a:lnTo>
                      <a:pt x="6" y="102"/>
                    </a:lnTo>
                    <a:lnTo>
                      <a:pt x="0" y="108"/>
                    </a:lnTo>
                    <a:lnTo>
                      <a:pt x="0" y="114"/>
                    </a:lnTo>
                    <a:lnTo>
                      <a:pt x="12" y="144"/>
                    </a:lnTo>
                    <a:lnTo>
                      <a:pt x="0" y="126"/>
                    </a:lnTo>
                    <a:lnTo>
                      <a:pt x="30" y="168"/>
                    </a:lnTo>
                    <a:lnTo>
                      <a:pt x="78" y="132"/>
                    </a:lnTo>
                    <a:lnTo>
                      <a:pt x="174" y="132"/>
                    </a:lnTo>
                    <a:lnTo>
                      <a:pt x="186" y="138"/>
                    </a:lnTo>
                    <a:lnTo>
                      <a:pt x="240" y="138"/>
                    </a:lnTo>
                    <a:lnTo>
                      <a:pt x="246" y="132"/>
                    </a:lnTo>
                    <a:lnTo>
                      <a:pt x="252" y="120"/>
                    </a:lnTo>
                    <a:lnTo>
                      <a:pt x="252" y="114"/>
                    </a:lnTo>
                    <a:lnTo>
                      <a:pt x="246" y="10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4" name="Costa Ric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A6B5221-DCC2-4265-AC77-F1EFB617AF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0059" y="4115527"/>
                <a:ext cx="106577" cy="102742"/>
              </a:xfrm>
              <a:custGeom>
                <a:avLst/>
                <a:gdLst>
                  <a:gd name="T0" fmla="*/ 2147483647 w 240"/>
                  <a:gd name="T1" fmla="*/ 2147483647 h 228"/>
                  <a:gd name="T2" fmla="*/ 2147483647 w 240"/>
                  <a:gd name="T3" fmla="*/ 2147483647 h 228"/>
                  <a:gd name="T4" fmla="*/ 2147483647 w 240"/>
                  <a:gd name="T5" fmla="*/ 2147483647 h 228"/>
                  <a:gd name="T6" fmla="*/ 2147483647 w 240"/>
                  <a:gd name="T7" fmla="*/ 2147483647 h 228"/>
                  <a:gd name="T8" fmla="*/ 2147483647 w 240"/>
                  <a:gd name="T9" fmla="*/ 2147483647 h 228"/>
                  <a:gd name="T10" fmla="*/ 2147483647 w 240"/>
                  <a:gd name="T11" fmla="*/ 2147483647 h 228"/>
                  <a:gd name="T12" fmla="*/ 2147483647 w 240"/>
                  <a:gd name="T13" fmla="*/ 2147483647 h 228"/>
                  <a:gd name="T14" fmla="*/ 2147483647 w 240"/>
                  <a:gd name="T15" fmla="*/ 2147483647 h 228"/>
                  <a:gd name="T16" fmla="*/ 2147483647 w 240"/>
                  <a:gd name="T17" fmla="*/ 2147483647 h 228"/>
                  <a:gd name="T18" fmla="*/ 2147483647 w 240"/>
                  <a:gd name="T19" fmla="*/ 2147483647 h 228"/>
                  <a:gd name="T20" fmla="*/ 2147483647 w 240"/>
                  <a:gd name="T21" fmla="*/ 2147483647 h 228"/>
                  <a:gd name="T22" fmla="*/ 2147483647 w 240"/>
                  <a:gd name="T23" fmla="*/ 2147483647 h 228"/>
                  <a:gd name="T24" fmla="*/ 2147483647 w 240"/>
                  <a:gd name="T25" fmla="*/ 2147483647 h 228"/>
                  <a:gd name="T26" fmla="*/ 2147483647 w 240"/>
                  <a:gd name="T27" fmla="*/ 2147483647 h 228"/>
                  <a:gd name="T28" fmla="*/ 2147483647 w 240"/>
                  <a:gd name="T29" fmla="*/ 2147483647 h 228"/>
                  <a:gd name="T30" fmla="*/ 2147483647 w 240"/>
                  <a:gd name="T31" fmla="*/ 0 h 228"/>
                  <a:gd name="T32" fmla="*/ 2147483647 w 240"/>
                  <a:gd name="T33" fmla="*/ 2147483647 h 228"/>
                  <a:gd name="T34" fmla="*/ 2147483647 w 240"/>
                  <a:gd name="T35" fmla="*/ 2147483647 h 228"/>
                  <a:gd name="T36" fmla="*/ 0 w 240"/>
                  <a:gd name="T37" fmla="*/ 2147483647 h 228"/>
                  <a:gd name="T38" fmla="*/ 2147483647 w 240"/>
                  <a:gd name="T39" fmla="*/ 2147483647 h 228"/>
                  <a:gd name="T40" fmla="*/ 2147483647 w 240"/>
                  <a:gd name="T41" fmla="*/ 2147483647 h 228"/>
                  <a:gd name="T42" fmla="*/ 2147483647 w 240"/>
                  <a:gd name="T43" fmla="*/ 2147483647 h 228"/>
                  <a:gd name="T44" fmla="*/ 2147483647 w 240"/>
                  <a:gd name="T45" fmla="*/ 2147483647 h 228"/>
                  <a:gd name="T46" fmla="*/ 2147483647 w 240"/>
                  <a:gd name="T47" fmla="*/ 2147483647 h 228"/>
                  <a:gd name="T48" fmla="*/ 2147483647 w 240"/>
                  <a:gd name="T49" fmla="*/ 2147483647 h 228"/>
                  <a:gd name="T50" fmla="*/ 2147483647 w 240"/>
                  <a:gd name="T51" fmla="*/ 2147483647 h 228"/>
                  <a:gd name="T52" fmla="*/ 2147483647 w 240"/>
                  <a:gd name="T53" fmla="*/ 2147483647 h 228"/>
                  <a:gd name="T54" fmla="*/ 2147483647 w 240"/>
                  <a:gd name="T55" fmla="*/ 2147483647 h 228"/>
                  <a:gd name="T56" fmla="*/ 2147483647 w 240"/>
                  <a:gd name="T57" fmla="*/ 2147483647 h 228"/>
                  <a:gd name="T58" fmla="*/ 2147483647 w 240"/>
                  <a:gd name="T59" fmla="*/ 2147483647 h 228"/>
                  <a:gd name="T60" fmla="*/ 2147483647 w 240"/>
                  <a:gd name="T61" fmla="*/ 2147483647 h 228"/>
                  <a:gd name="T62" fmla="*/ 2147483647 w 240"/>
                  <a:gd name="T63" fmla="*/ 2147483647 h 228"/>
                  <a:gd name="T64" fmla="*/ 2147483647 w 240"/>
                  <a:gd name="T65" fmla="*/ 2147483647 h 228"/>
                  <a:gd name="T66" fmla="*/ 2147483647 w 240"/>
                  <a:gd name="T67" fmla="*/ 2147483647 h 22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40"/>
                  <a:gd name="T103" fmla="*/ 0 h 228"/>
                  <a:gd name="T104" fmla="*/ 240 w 240"/>
                  <a:gd name="T105" fmla="*/ 228 h 22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40" h="228">
                    <a:moveTo>
                      <a:pt x="210" y="198"/>
                    </a:moveTo>
                    <a:lnTo>
                      <a:pt x="216" y="198"/>
                    </a:lnTo>
                    <a:lnTo>
                      <a:pt x="234" y="180"/>
                    </a:lnTo>
                    <a:lnTo>
                      <a:pt x="228" y="174"/>
                    </a:lnTo>
                    <a:lnTo>
                      <a:pt x="210" y="174"/>
                    </a:lnTo>
                    <a:lnTo>
                      <a:pt x="210" y="168"/>
                    </a:lnTo>
                    <a:lnTo>
                      <a:pt x="204" y="162"/>
                    </a:lnTo>
                    <a:lnTo>
                      <a:pt x="204" y="144"/>
                    </a:lnTo>
                    <a:lnTo>
                      <a:pt x="210" y="138"/>
                    </a:lnTo>
                    <a:lnTo>
                      <a:pt x="222" y="138"/>
                    </a:lnTo>
                    <a:lnTo>
                      <a:pt x="228" y="132"/>
                    </a:lnTo>
                    <a:lnTo>
                      <a:pt x="240" y="132"/>
                    </a:lnTo>
                    <a:lnTo>
                      <a:pt x="228" y="126"/>
                    </a:lnTo>
                    <a:lnTo>
                      <a:pt x="210" y="108"/>
                    </a:lnTo>
                    <a:lnTo>
                      <a:pt x="198" y="84"/>
                    </a:lnTo>
                    <a:lnTo>
                      <a:pt x="192" y="78"/>
                    </a:lnTo>
                    <a:lnTo>
                      <a:pt x="186" y="66"/>
                    </a:lnTo>
                    <a:lnTo>
                      <a:pt x="180" y="60"/>
                    </a:lnTo>
                    <a:lnTo>
                      <a:pt x="174" y="36"/>
                    </a:lnTo>
                    <a:lnTo>
                      <a:pt x="138" y="36"/>
                    </a:lnTo>
                    <a:lnTo>
                      <a:pt x="126" y="24"/>
                    </a:lnTo>
                    <a:lnTo>
                      <a:pt x="126" y="18"/>
                    </a:lnTo>
                    <a:lnTo>
                      <a:pt x="120" y="18"/>
                    </a:lnTo>
                    <a:lnTo>
                      <a:pt x="114" y="12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78" y="18"/>
                    </a:lnTo>
                    <a:lnTo>
                      <a:pt x="72" y="12"/>
                    </a:lnTo>
                    <a:lnTo>
                      <a:pt x="60" y="6"/>
                    </a:lnTo>
                    <a:lnTo>
                      <a:pt x="48" y="6"/>
                    </a:lnTo>
                    <a:lnTo>
                      <a:pt x="42" y="0"/>
                    </a:lnTo>
                    <a:lnTo>
                      <a:pt x="24" y="0"/>
                    </a:lnTo>
                    <a:lnTo>
                      <a:pt x="6" y="30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4" y="48"/>
                    </a:lnTo>
                    <a:lnTo>
                      <a:pt x="6" y="66"/>
                    </a:lnTo>
                    <a:lnTo>
                      <a:pt x="0" y="78"/>
                    </a:lnTo>
                    <a:lnTo>
                      <a:pt x="6" y="90"/>
                    </a:lnTo>
                    <a:lnTo>
                      <a:pt x="18" y="102"/>
                    </a:lnTo>
                    <a:lnTo>
                      <a:pt x="30" y="108"/>
                    </a:lnTo>
                    <a:lnTo>
                      <a:pt x="42" y="108"/>
                    </a:lnTo>
                    <a:lnTo>
                      <a:pt x="60" y="126"/>
                    </a:lnTo>
                    <a:lnTo>
                      <a:pt x="72" y="126"/>
                    </a:lnTo>
                    <a:lnTo>
                      <a:pt x="72" y="102"/>
                    </a:lnTo>
                    <a:lnTo>
                      <a:pt x="66" y="96"/>
                    </a:lnTo>
                    <a:lnTo>
                      <a:pt x="54" y="90"/>
                    </a:lnTo>
                    <a:lnTo>
                      <a:pt x="42" y="78"/>
                    </a:lnTo>
                    <a:lnTo>
                      <a:pt x="42" y="72"/>
                    </a:lnTo>
                    <a:lnTo>
                      <a:pt x="48" y="72"/>
                    </a:lnTo>
                    <a:lnTo>
                      <a:pt x="60" y="78"/>
                    </a:lnTo>
                    <a:lnTo>
                      <a:pt x="66" y="84"/>
                    </a:lnTo>
                    <a:lnTo>
                      <a:pt x="90" y="96"/>
                    </a:lnTo>
                    <a:lnTo>
                      <a:pt x="96" y="102"/>
                    </a:lnTo>
                    <a:lnTo>
                      <a:pt x="96" y="132"/>
                    </a:lnTo>
                    <a:lnTo>
                      <a:pt x="114" y="132"/>
                    </a:lnTo>
                    <a:lnTo>
                      <a:pt x="126" y="138"/>
                    </a:lnTo>
                    <a:lnTo>
                      <a:pt x="138" y="138"/>
                    </a:lnTo>
                    <a:lnTo>
                      <a:pt x="156" y="180"/>
                    </a:lnTo>
                    <a:lnTo>
                      <a:pt x="150" y="186"/>
                    </a:lnTo>
                    <a:lnTo>
                      <a:pt x="150" y="198"/>
                    </a:lnTo>
                    <a:lnTo>
                      <a:pt x="168" y="216"/>
                    </a:lnTo>
                    <a:lnTo>
                      <a:pt x="180" y="222"/>
                    </a:lnTo>
                    <a:lnTo>
                      <a:pt x="192" y="222"/>
                    </a:lnTo>
                    <a:lnTo>
                      <a:pt x="174" y="198"/>
                    </a:lnTo>
                    <a:lnTo>
                      <a:pt x="204" y="228"/>
                    </a:lnTo>
                    <a:lnTo>
                      <a:pt x="210" y="222"/>
                    </a:lnTo>
                    <a:lnTo>
                      <a:pt x="210" y="19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  <p:sp>
            <p:nvSpPr>
              <p:cNvPr id="225" name="Canada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DD76999-E01B-463B-9ADF-4074FC57EF8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049854" y="1708179"/>
                <a:ext cx="2468756" cy="1294902"/>
              </a:xfrm>
              <a:custGeom>
                <a:avLst/>
                <a:gdLst>
                  <a:gd name="T0" fmla="*/ 2147483647 w 5574"/>
                  <a:gd name="T1" fmla="*/ 2147483647 h 2886"/>
                  <a:gd name="T2" fmla="*/ 2147483647 w 5574"/>
                  <a:gd name="T3" fmla="*/ 2147483647 h 2886"/>
                  <a:gd name="T4" fmla="*/ 2147483647 w 5574"/>
                  <a:gd name="T5" fmla="*/ 2147483647 h 2886"/>
                  <a:gd name="T6" fmla="*/ 2147483647 w 5574"/>
                  <a:gd name="T7" fmla="*/ 2147483647 h 2886"/>
                  <a:gd name="T8" fmla="*/ 2147483647 w 5574"/>
                  <a:gd name="T9" fmla="*/ 2147483647 h 2886"/>
                  <a:gd name="T10" fmla="*/ 2147483647 w 5574"/>
                  <a:gd name="T11" fmla="*/ 2147483647 h 2886"/>
                  <a:gd name="T12" fmla="*/ 2147483647 w 5574"/>
                  <a:gd name="T13" fmla="*/ 2147483647 h 2886"/>
                  <a:gd name="T14" fmla="*/ 2147483647 w 5574"/>
                  <a:gd name="T15" fmla="*/ 2147483647 h 2886"/>
                  <a:gd name="T16" fmla="*/ 2147483647 w 5574"/>
                  <a:gd name="T17" fmla="*/ 2147483647 h 2886"/>
                  <a:gd name="T18" fmla="*/ 2147483647 w 5574"/>
                  <a:gd name="T19" fmla="*/ 2147483647 h 2886"/>
                  <a:gd name="T20" fmla="*/ 2147483647 w 5574"/>
                  <a:gd name="T21" fmla="*/ 2147483647 h 2886"/>
                  <a:gd name="T22" fmla="*/ 2147483647 w 5574"/>
                  <a:gd name="T23" fmla="*/ 2147483647 h 2886"/>
                  <a:gd name="T24" fmla="*/ 2147483647 w 5574"/>
                  <a:gd name="T25" fmla="*/ 2147483647 h 2886"/>
                  <a:gd name="T26" fmla="*/ 2147483647 w 5574"/>
                  <a:gd name="T27" fmla="*/ 2147483647 h 2886"/>
                  <a:gd name="T28" fmla="*/ 2147483647 w 5574"/>
                  <a:gd name="T29" fmla="*/ 2147483647 h 2886"/>
                  <a:gd name="T30" fmla="*/ 2147483647 w 5574"/>
                  <a:gd name="T31" fmla="*/ 2147483647 h 2886"/>
                  <a:gd name="T32" fmla="*/ 2147483647 w 5574"/>
                  <a:gd name="T33" fmla="*/ 2147483647 h 2886"/>
                  <a:gd name="T34" fmla="*/ 2147483647 w 5574"/>
                  <a:gd name="T35" fmla="*/ 2147483647 h 2886"/>
                  <a:gd name="T36" fmla="*/ 2147483647 w 5574"/>
                  <a:gd name="T37" fmla="*/ 2147483647 h 2886"/>
                  <a:gd name="T38" fmla="*/ 2147483647 w 5574"/>
                  <a:gd name="T39" fmla="*/ 2147483647 h 2886"/>
                  <a:gd name="T40" fmla="*/ 2147483647 w 5574"/>
                  <a:gd name="T41" fmla="*/ 2147483647 h 2886"/>
                  <a:gd name="T42" fmla="*/ 2147483647 w 5574"/>
                  <a:gd name="T43" fmla="*/ 2147483647 h 2886"/>
                  <a:gd name="T44" fmla="*/ 2147483647 w 5574"/>
                  <a:gd name="T45" fmla="*/ 2147483647 h 2886"/>
                  <a:gd name="T46" fmla="*/ 2147483647 w 5574"/>
                  <a:gd name="T47" fmla="*/ 2147483647 h 2886"/>
                  <a:gd name="T48" fmla="*/ 2147483647 w 5574"/>
                  <a:gd name="T49" fmla="*/ 2147483647 h 2886"/>
                  <a:gd name="T50" fmla="*/ 2147483647 w 5574"/>
                  <a:gd name="T51" fmla="*/ 2147483647 h 2886"/>
                  <a:gd name="T52" fmla="*/ 2147483647 w 5574"/>
                  <a:gd name="T53" fmla="*/ 2147483647 h 2886"/>
                  <a:gd name="T54" fmla="*/ 2147483647 w 5574"/>
                  <a:gd name="T55" fmla="*/ 2147483647 h 2886"/>
                  <a:gd name="T56" fmla="*/ 2147483647 w 5574"/>
                  <a:gd name="T57" fmla="*/ 2147483647 h 2886"/>
                  <a:gd name="T58" fmla="*/ 2147483647 w 5574"/>
                  <a:gd name="T59" fmla="*/ 2147483647 h 2886"/>
                  <a:gd name="T60" fmla="*/ 2147483647 w 5574"/>
                  <a:gd name="T61" fmla="*/ 2147483647 h 2886"/>
                  <a:gd name="T62" fmla="*/ 2147483647 w 5574"/>
                  <a:gd name="T63" fmla="*/ 2147483647 h 2886"/>
                  <a:gd name="T64" fmla="*/ 2147483647 w 5574"/>
                  <a:gd name="T65" fmla="*/ 2147483647 h 2886"/>
                  <a:gd name="T66" fmla="*/ 2147483647 w 5574"/>
                  <a:gd name="T67" fmla="*/ 2147483647 h 2886"/>
                  <a:gd name="T68" fmla="*/ 2147483647 w 5574"/>
                  <a:gd name="T69" fmla="*/ 2147483647 h 2886"/>
                  <a:gd name="T70" fmla="*/ 2147483647 w 5574"/>
                  <a:gd name="T71" fmla="*/ 2147483647 h 2886"/>
                  <a:gd name="T72" fmla="*/ 2147483647 w 5574"/>
                  <a:gd name="T73" fmla="*/ 2147483647 h 2886"/>
                  <a:gd name="T74" fmla="*/ 2147483647 w 5574"/>
                  <a:gd name="T75" fmla="*/ 2147483647 h 2886"/>
                  <a:gd name="T76" fmla="*/ 2147483647 w 5574"/>
                  <a:gd name="T77" fmla="*/ 2147483647 h 2886"/>
                  <a:gd name="T78" fmla="*/ 2147483647 w 5574"/>
                  <a:gd name="T79" fmla="*/ 2147483647 h 2886"/>
                  <a:gd name="T80" fmla="*/ 2147483647 w 5574"/>
                  <a:gd name="T81" fmla="*/ 2147483647 h 2886"/>
                  <a:gd name="T82" fmla="*/ 2147483647 w 5574"/>
                  <a:gd name="T83" fmla="*/ 2147483647 h 2886"/>
                  <a:gd name="T84" fmla="*/ 2147483647 w 5574"/>
                  <a:gd name="T85" fmla="*/ 2147483647 h 2886"/>
                  <a:gd name="T86" fmla="*/ 2147483647 w 5574"/>
                  <a:gd name="T87" fmla="*/ 2147483647 h 2886"/>
                  <a:gd name="T88" fmla="*/ 2147483647 w 5574"/>
                  <a:gd name="T89" fmla="*/ 2147483647 h 2886"/>
                  <a:gd name="T90" fmla="*/ 2147483647 w 5574"/>
                  <a:gd name="T91" fmla="*/ 2147483647 h 2886"/>
                  <a:gd name="T92" fmla="*/ 2147483647 w 5574"/>
                  <a:gd name="T93" fmla="*/ 2147483647 h 2886"/>
                  <a:gd name="T94" fmla="*/ 2147483647 w 5574"/>
                  <a:gd name="T95" fmla="*/ 2147483647 h 2886"/>
                  <a:gd name="T96" fmla="*/ 2147483647 w 5574"/>
                  <a:gd name="T97" fmla="*/ 2147483647 h 2886"/>
                  <a:gd name="T98" fmla="*/ 2147483647 w 5574"/>
                  <a:gd name="T99" fmla="*/ 2147483647 h 2886"/>
                  <a:gd name="T100" fmla="*/ 2147483647 w 5574"/>
                  <a:gd name="T101" fmla="*/ 2147483647 h 2886"/>
                  <a:gd name="T102" fmla="*/ 2147483647 w 5574"/>
                  <a:gd name="T103" fmla="*/ 2147483647 h 2886"/>
                  <a:gd name="T104" fmla="*/ 2147483647 w 5574"/>
                  <a:gd name="T105" fmla="*/ 2147483647 h 2886"/>
                  <a:gd name="T106" fmla="*/ 2147483647 w 5574"/>
                  <a:gd name="T107" fmla="*/ 2147483647 h 2886"/>
                  <a:gd name="T108" fmla="*/ 2147483647 w 5574"/>
                  <a:gd name="T109" fmla="*/ 2147483647 h 2886"/>
                  <a:gd name="T110" fmla="*/ 2147483647 w 5574"/>
                  <a:gd name="T111" fmla="*/ 2147483647 h 2886"/>
                  <a:gd name="T112" fmla="*/ 2147483647 w 5574"/>
                  <a:gd name="T113" fmla="*/ 2147483647 h 2886"/>
                  <a:gd name="T114" fmla="*/ 2147483647 w 5574"/>
                  <a:gd name="T115" fmla="*/ 2147483647 h 2886"/>
                  <a:gd name="T116" fmla="*/ 2147483647 w 5574"/>
                  <a:gd name="T117" fmla="*/ 2147483647 h 2886"/>
                  <a:gd name="T118" fmla="*/ 2147483647 w 5574"/>
                  <a:gd name="T119" fmla="*/ 2147483647 h 2886"/>
                  <a:gd name="T120" fmla="*/ 2147483647 w 5574"/>
                  <a:gd name="T121" fmla="*/ 2147483647 h 2886"/>
                  <a:gd name="T122" fmla="*/ 2147483647 w 5574"/>
                  <a:gd name="T123" fmla="*/ 2147483647 h 2886"/>
                  <a:gd name="T124" fmla="*/ 2147483647 w 5574"/>
                  <a:gd name="T125" fmla="*/ 2147483647 h 288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574"/>
                  <a:gd name="T190" fmla="*/ 0 h 2886"/>
                  <a:gd name="T191" fmla="*/ 5574 w 5574"/>
                  <a:gd name="T192" fmla="*/ 2886 h 288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574" h="2886">
                    <a:moveTo>
                      <a:pt x="3114" y="252"/>
                    </a:moveTo>
                    <a:lnTo>
                      <a:pt x="3138" y="252"/>
                    </a:lnTo>
                    <a:lnTo>
                      <a:pt x="3150" y="258"/>
                    </a:lnTo>
                    <a:lnTo>
                      <a:pt x="3168" y="258"/>
                    </a:lnTo>
                    <a:lnTo>
                      <a:pt x="3174" y="252"/>
                    </a:lnTo>
                    <a:lnTo>
                      <a:pt x="3174" y="246"/>
                    </a:lnTo>
                    <a:lnTo>
                      <a:pt x="3168" y="234"/>
                    </a:lnTo>
                    <a:lnTo>
                      <a:pt x="3156" y="228"/>
                    </a:lnTo>
                    <a:lnTo>
                      <a:pt x="3108" y="228"/>
                    </a:lnTo>
                    <a:lnTo>
                      <a:pt x="3066" y="234"/>
                    </a:lnTo>
                    <a:lnTo>
                      <a:pt x="3036" y="246"/>
                    </a:lnTo>
                    <a:lnTo>
                      <a:pt x="3018" y="246"/>
                    </a:lnTo>
                    <a:lnTo>
                      <a:pt x="3060" y="246"/>
                    </a:lnTo>
                    <a:lnTo>
                      <a:pt x="3096" y="252"/>
                    </a:lnTo>
                    <a:lnTo>
                      <a:pt x="3114" y="252"/>
                    </a:lnTo>
                    <a:close/>
                    <a:moveTo>
                      <a:pt x="2988" y="318"/>
                    </a:moveTo>
                    <a:lnTo>
                      <a:pt x="3036" y="318"/>
                    </a:lnTo>
                    <a:lnTo>
                      <a:pt x="3048" y="312"/>
                    </a:lnTo>
                    <a:lnTo>
                      <a:pt x="3060" y="312"/>
                    </a:lnTo>
                    <a:lnTo>
                      <a:pt x="3072" y="300"/>
                    </a:lnTo>
                    <a:lnTo>
                      <a:pt x="3072" y="294"/>
                    </a:lnTo>
                    <a:lnTo>
                      <a:pt x="3066" y="282"/>
                    </a:lnTo>
                    <a:lnTo>
                      <a:pt x="3138" y="270"/>
                    </a:lnTo>
                    <a:lnTo>
                      <a:pt x="3120" y="264"/>
                    </a:lnTo>
                    <a:lnTo>
                      <a:pt x="3054" y="264"/>
                    </a:lnTo>
                    <a:lnTo>
                      <a:pt x="3042" y="276"/>
                    </a:lnTo>
                    <a:lnTo>
                      <a:pt x="3030" y="276"/>
                    </a:lnTo>
                    <a:lnTo>
                      <a:pt x="2994" y="270"/>
                    </a:lnTo>
                    <a:lnTo>
                      <a:pt x="2958" y="270"/>
                    </a:lnTo>
                    <a:lnTo>
                      <a:pt x="2940" y="282"/>
                    </a:lnTo>
                    <a:lnTo>
                      <a:pt x="2940" y="294"/>
                    </a:lnTo>
                    <a:lnTo>
                      <a:pt x="2946" y="300"/>
                    </a:lnTo>
                    <a:lnTo>
                      <a:pt x="2970" y="312"/>
                    </a:lnTo>
                    <a:lnTo>
                      <a:pt x="2976" y="318"/>
                    </a:lnTo>
                    <a:lnTo>
                      <a:pt x="2988" y="318"/>
                    </a:lnTo>
                    <a:close/>
                    <a:moveTo>
                      <a:pt x="2682" y="384"/>
                    </a:moveTo>
                    <a:lnTo>
                      <a:pt x="2628" y="408"/>
                    </a:lnTo>
                    <a:lnTo>
                      <a:pt x="2634" y="408"/>
                    </a:lnTo>
                    <a:lnTo>
                      <a:pt x="2646" y="414"/>
                    </a:lnTo>
                    <a:lnTo>
                      <a:pt x="2652" y="414"/>
                    </a:lnTo>
                    <a:lnTo>
                      <a:pt x="2658" y="420"/>
                    </a:lnTo>
                    <a:lnTo>
                      <a:pt x="2658" y="426"/>
                    </a:lnTo>
                    <a:lnTo>
                      <a:pt x="2622" y="426"/>
                    </a:lnTo>
                    <a:lnTo>
                      <a:pt x="2586" y="432"/>
                    </a:lnTo>
                    <a:lnTo>
                      <a:pt x="2556" y="438"/>
                    </a:lnTo>
                    <a:lnTo>
                      <a:pt x="2544" y="438"/>
                    </a:lnTo>
                    <a:lnTo>
                      <a:pt x="2520" y="456"/>
                    </a:lnTo>
                    <a:lnTo>
                      <a:pt x="2580" y="450"/>
                    </a:lnTo>
                    <a:lnTo>
                      <a:pt x="2586" y="450"/>
                    </a:lnTo>
                    <a:lnTo>
                      <a:pt x="2592" y="456"/>
                    </a:lnTo>
                    <a:lnTo>
                      <a:pt x="2610" y="456"/>
                    </a:lnTo>
                    <a:lnTo>
                      <a:pt x="2628" y="462"/>
                    </a:lnTo>
                    <a:lnTo>
                      <a:pt x="2658" y="462"/>
                    </a:lnTo>
                    <a:lnTo>
                      <a:pt x="2694" y="450"/>
                    </a:lnTo>
                    <a:lnTo>
                      <a:pt x="2730" y="444"/>
                    </a:lnTo>
                    <a:lnTo>
                      <a:pt x="2742" y="438"/>
                    </a:lnTo>
                    <a:lnTo>
                      <a:pt x="2742" y="450"/>
                    </a:lnTo>
                    <a:lnTo>
                      <a:pt x="2760" y="450"/>
                    </a:lnTo>
                    <a:lnTo>
                      <a:pt x="2796" y="444"/>
                    </a:lnTo>
                    <a:lnTo>
                      <a:pt x="2856" y="444"/>
                    </a:lnTo>
                    <a:lnTo>
                      <a:pt x="2850" y="444"/>
                    </a:lnTo>
                    <a:lnTo>
                      <a:pt x="2844" y="450"/>
                    </a:lnTo>
                    <a:lnTo>
                      <a:pt x="2832" y="450"/>
                    </a:lnTo>
                    <a:lnTo>
                      <a:pt x="2790" y="456"/>
                    </a:lnTo>
                    <a:lnTo>
                      <a:pt x="2730" y="468"/>
                    </a:lnTo>
                    <a:lnTo>
                      <a:pt x="2706" y="468"/>
                    </a:lnTo>
                    <a:lnTo>
                      <a:pt x="2688" y="474"/>
                    </a:lnTo>
                    <a:lnTo>
                      <a:pt x="2670" y="474"/>
                    </a:lnTo>
                    <a:lnTo>
                      <a:pt x="2652" y="480"/>
                    </a:lnTo>
                    <a:lnTo>
                      <a:pt x="2646" y="486"/>
                    </a:lnTo>
                    <a:lnTo>
                      <a:pt x="2640" y="486"/>
                    </a:lnTo>
                    <a:lnTo>
                      <a:pt x="2658" y="486"/>
                    </a:lnTo>
                    <a:lnTo>
                      <a:pt x="2694" y="492"/>
                    </a:lnTo>
                    <a:lnTo>
                      <a:pt x="2760" y="498"/>
                    </a:lnTo>
                    <a:lnTo>
                      <a:pt x="2808" y="492"/>
                    </a:lnTo>
                    <a:lnTo>
                      <a:pt x="2850" y="480"/>
                    </a:lnTo>
                    <a:lnTo>
                      <a:pt x="2874" y="474"/>
                    </a:lnTo>
                    <a:lnTo>
                      <a:pt x="2886" y="468"/>
                    </a:lnTo>
                    <a:lnTo>
                      <a:pt x="2958" y="450"/>
                    </a:lnTo>
                    <a:lnTo>
                      <a:pt x="3000" y="450"/>
                    </a:lnTo>
                    <a:lnTo>
                      <a:pt x="3054" y="444"/>
                    </a:lnTo>
                    <a:lnTo>
                      <a:pt x="3096" y="438"/>
                    </a:lnTo>
                    <a:lnTo>
                      <a:pt x="3120" y="432"/>
                    </a:lnTo>
                    <a:lnTo>
                      <a:pt x="3138" y="420"/>
                    </a:lnTo>
                    <a:lnTo>
                      <a:pt x="3156" y="414"/>
                    </a:lnTo>
                    <a:lnTo>
                      <a:pt x="3168" y="408"/>
                    </a:lnTo>
                    <a:lnTo>
                      <a:pt x="3168" y="396"/>
                    </a:lnTo>
                    <a:lnTo>
                      <a:pt x="3156" y="384"/>
                    </a:lnTo>
                    <a:lnTo>
                      <a:pt x="3144" y="378"/>
                    </a:lnTo>
                    <a:lnTo>
                      <a:pt x="3120" y="378"/>
                    </a:lnTo>
                    <a:lnTo>
                      <a:pt x="3114" y="384"/>
                    </a:lnTo>
                    <a:lnTo>
                      <a:pt x="3108" y="384"/>
                    </a:lnTo>
                    <a:lnTo>
                      <a:pt x="3108" y="396"/>
                    </a:lnTo>
                    <a:lnTo>
                      <a:pt x="3072" y="396"/>
                    </a:lnTo>
                    <a:lnTo>
                      <a:pt x="3078" y="390"/>
                    </a:lnTo>
                    <a:lnTo>
                      <a:pt x="3078" y="378"/>
                    </a:lnTo>
                    <a:lnTo>
                      <a:pt x="3102" y="354"/>
                    </a:lnTo>
                    <a:lnTo>
                      <a:pt x="3102" y="342"/>
                    </a:lnTo>
                    <a:lnTo>
                      <a:pt x="3096" y="342"/>
                    </a:lnTo>
                    <a:lnTo>
                      <a:pt x="3054" y="348"/>
                    </a:lnTo>
                    <a:lnTo>
                      <a:pt x="2988" y="372"/>
                    </a:lnTo>
                    <a:lnTo>
                      <a:pt x="2976" y="378"/>
                    </a:lnTo>
                    <a:lnTo>
                      <a:pt x="3024" y="378"/>
                    </a:lnTo>
                    <a:lnTo>
                      <a:pt x="3018" y="408"/>
                    </a:lnTo>
                    <a:lnTo>
                      <a:pt x="2898" y="420"/>
                    </a:lnTo>
                    <a:lnTo>
                      <a:pt x="2898" y="414"/>
                    </a:lnTo>
                    <a:lnTo>
                      <a:pt x="2892" y="408"/>
                    </a:lnTo>
                    <a:lnTo>
                      <a:pt x="2892" y="372"/>
                    </a:lnTo>
                    <a:lnTo>
                      <a:pt x="2886" y="366"/>
                    </a:lnTo>
                    <a:lnTo>
                      <a:pt x="2874" y="366"/>
                    </a:lnTo>
                    <a:lnTo>
                      <a:pt x="2856" y="360"/>
                    </a:lnTo>
                    <a:lnTo>
                      <a:pt x="2814" y="360"/>
                    </a:lnTo>
                    <a:lnTo>
                      <a:pt x="2682" y="384"/>
                    </a:lnTo>
                    <a:close/>
                    <a:moveTo>
                      <a:pt x="2832" y="342"/>
                    </a:moveTo>
                    <a:lnTo>
                      <a:pt x="2844" y="330"/>
                    </a:lnTo>
                    <a:lnTo>
                      <a:pt x="2844" y="318"/>
                    </a:lnTo>
                    <a:lnTo>
                      <a:pt x="2838" y="312"/>
                    </a:lnTo>
                    <a:lnTo>
                      <a:pt x="2814" y="312"/>
                    </a:lnTo>
                    <a:lnTo>
                      <a:pt x="2802" y="318"/>
                    </a:lnTo>
                    <a:lnTo>
                      <a:pt x="2796" y="324"/>
                    </a:lnTo>
                    <a:lnTo>
                      <a:pt x="2796" y="330"/>
                    </a:lnTo>
                    <a:lnTo>
                      <a:pt x="2802" y="336"/>
                    </a:lnTo>
                    <a:lnTo>
                      <a:pt x="2814" y="336"/>
                    </a:lnTo>
                    <a:lnTo>
                      <a:pt x="2820" y="342"/>
                    </a:lnTo>
                    <a:lnTo>
                      <a:pt x="2832" y="342"/>
                    </a:lnTo>
                    <a:close/>
                    <a:moveTo>
                      <a:pt x="3012" y="564"/>
                    </a:moveTo>
                    <a:lnTo>
                      <a:pt x="2988" y="540"/>
                    </a:lnTo>
                    <a:lnTo>
                      <a:pt x="2958" y="540"/>
                    </a:lnTo>
                    <a:lnTo>
                      <a:pt x="2952" y="534"/>
                    </a:lnTo>
                    <a:lnTo>
                      <a:pt x="2946" y="534"/>
                    </a:lnTo>
                    <a:lnTo>
                      <a:pt x="2934" y="528"/>
                    </a:lnTo>
                    <a:lnTo>
                      <a:pt x="2916" y="528"/>
                    </a:lnTo>
                    <a:lnTo>
                      <a:pt x="2898" y="534"/>
                    </a:lnTo>
                    <a:lnTo>
                      <a:pt x="2892" y="540"/>
                    </a:lnTo>
                    <a:lnTo>
                      <a:pt x="2892" y="552"/>
                    </a:lnTo>
                    <a:lnTo>
                      <a:pt x="2928" y="570"/>
                    </a:lnTo>
                    <a:lnTo>
                      <a:pt x="2934" y="576"/>
                    </a:lnTo>
                    <a:lnTo>
                      <a:pt x="2946" y="582"/>
                    </a:lnTo>
                    <a:lnTo>
                      <a:pt x="3012" y="564"/>
                    </a:lnTo>
                    <a:close/>
                    <a:moveTo>
                      <a:pt x="2460" y="414"/>
                    </a:moveTo>
                    <a:lnTo>
                      <a:pt x="2442" y="420"/>
                    </a:lnTo>
                    <a:lnTo>
                      <a:pt x="2430" y="426"/>
                    </a:lnTo>
                    <a:lnTo>
                      <a:pt x="2430" y="438"/>
                    </a:lnTo>
                    <a:lnTo>
                      <a:pt x="2442" y="438"/>
                    </a:lnTo>
                    <a:lnTo>
                      <a:pt x="2472" y="432"/>
                    </a:lnTo>
                    <a:lnTo>
                      <a:pt x="2490" y="426"/>
                    </a:lnTo>
                    <a:lnTo>
                      <a:pt x="2502" y="420"/>
                    </a:lnTo>
                    <a:lnTo>
                      <a:pt x="2502" y="414"/>
                    </a:lnTo>
                    <a:lnTo>
                      <a:pt x="2496" y="408"/>
                    </a:lnTo>
                    <a:lnTo>
                      <a:pt x="2484" y="408"/>
                    </a:lnTo>
                    <a:lnTo>
                      <a:pt x="2460" y="414"/>
                    </a:lnTo>
                    <a:close/>
                    <a:moveTo>
                      <a:pt x="2970" y="858"/>
                    </a:moveTo>
                    <a:lnTo>
                      <a:pt x="2988" y="858"/>
                    </a:lnTo>
                    <a:lnTo>
                      <a:pt x="3006" y="864"/>
                    </a:lnTo>
                    <a:lnTo>
                      <a:pt x="3018" y="870"/>
                    </a:lnTo>
                    <a:lnTo>
                      <a:pt x="3036" y="876"/>
                    </a:lnTo>
                    <a:lnTo>
                      <a:pt x="3060" y="882"/>
                    </a:lnTo>
                    <a:lnTo>
                      <a:pt x="3096" y="882"/>
                    </a:lnTo>
                    <a:lnTo>
                      <a:pt x="3126" y="876"/>
                    </a:lnTo>
                    <a:lnTo>
                      <a:pt x="3138" y="876"/>
                    </a:lnTo>
                    <a:lnTo>
                      <a:pt x="3120" y="810"/>
                    </a:lnTo>
                    <a:lnTo>
                      <a:pt x="3018" y="792"/>
                    </a:lnTo>
                    <a:lnTo>
                      <a:pt x="2988" y="828"/>
                    </a:lnTo>
                    <a:lnTo>
                      <a:pt x="2958" y="828"/>
                    </a:lnTo>
                    <a:lnTo>
                      <a:pt x="2952" y="834"/>
                    </a:lnTo>
                    <a:lnTo>
                      <a:pt x="2952" y="846"/>
                    </a:lnTo>
                    <a:lnTo>
                      <a:pt x="2958" y="852"/>
                    </a:lnTo>
                    <a:lnTo>
                      <a:pt x="2970" y="858"/>
                    </a:lnTo>
                    <a:close/>
                    <a:moveTo>
                      <a:pt x="168" y="2034"/>
                    </a:moveTo>
                    <a:lnTo>
                      <a:pt x="168" y="2040"/>
                    </a:lnTo>
                    <a:lnTo>
                      <a:pt x="174" y="2046"/>
                    </a:lnTo>
                    <a:lnTo>
                      <a:pt x="192" y="2046"/>
                    </a:lnTo>
                    <a:lnTo>
                      <a:pt x="186" y="2070"/>
                    </a:lnTo>
                    <a:lnTo>
                      <a:pt x="216" y="2052"/>
                    </a:lnTo>
                    <a:lnTo>
                      <a:pt x="216" y="2028"/>
                    </a:lnTo>
                    <a:lnTo>
                      <a:pt x="174" y="2028"/>
                    </a:lnTo>
                    <a:lnTo>
                      <a:pt x="168" y="2034"/>
                    </a:lnTo>
                    <a:close/>
                    <a:moveTo>
                      <a:pt x="252" y="2298"/>
                    </a:moveTo>
                    <a:lnTo>
                      <a:pt x="252" y="2292"/>
                    </a:lnTo>
                    <a:lnTo>
                      <a:pt x="246" y="2286"/>
                    </a:lnTo>
                    <a:lnTo>
                      <a:pt x="246" y="2268"/>
                    </a:lnTo>
                    <a:lnTo>
                      <a:pt x="252" y="2256"/>
                    </a:lnTo>
                    <a:lnTo>
                      <a:pt x="252" y="2238"/>
                    </a:lnTo>
                    <a:lnTo>
                      <a:pt x="246" y="2226"/>
                    </a:lnTo>
                    <a:lnTo>
                      <a:pt x="228" y="2226"/>
                    </a:lnTo>
                    <a:lnTo>
                      <a:pt x="216" y="2220"/>
                    </a:lnTo>
                    <a:lnTo>
                      <a:pt x="204" y="2220"/>
                    </a:lnTo>
                    <a:lnTo>
                      <a:pt x="192" y="2214"/>
                    </a:lnTo>
                    <a:lnTo>
                      <a:pt x="186" y="2208"/>
                    </a:lnTo>
                    <a:lnTo>
                      <a:pt x="174" y="2202"/>
                    </a:lnTo>
                    <a:lnTo>
                      <a:pt x="150" y="2178"/>
                    </a:lnTo>
                    <a:lnTo>
                      <a:pt x="138" y="2172"/>
                    </a:lnTo>
                    <a:lnTo>
                      <a:pt x="126" y="2172"/>
                    </a:lnTo>
                    <a:lnTo>
                      <a:pt x="102" y="2184"/>
                    </a:lnTo>
                    <a:lnTo>
                      <a:pt x="96" y="2196"/>
                    </a:lnTo>
                    <a:lnTo>
                      <a:pt x="96" y="2202"/>
                    </a:lnTo>
                    <a:lnTo>
                      <a:pt x="108" y="2208"/>
                    </a:lnTo>
                    <a:lnTo>
                      <a:pt x="114" y="2214"/>
                    </a:lnTo>
                    <a:lnTo>
                      <a:pt x="120" y="2214"/>
                    </a:lnTo>
                    <a:lnTo>
                      <a:pt x="132" y="2202"/>
                    </a:lnTo>
                    <a:lnTo>
                      <a:pt x="144" y="2208"/>
                    </a:lnTo>
                    <a:lnTo>
                      <a:pt x="132" y="2220"/>
                    </a:lnTo>
                    <a:lnTo>
                      <a:pt x="120" y="2220"/>
                    </a:lnTo>
                    <a:lnTo>
                      <a:pt x="114" y="2226"/>
                    </a:lnTo>
                    <a:lnTo>
                      <a:pt x="102" y="2232"/>
                    </a:lnTo>
                    <a:lnTo>
                      <a:pt x="102" y="2244"/>
                    </a:lnTo>
                    <a:lnTo>
                      <a:pt x="108" y="2250"/>
                    </a:lnTo>
                    <a:lnTo>
                      <a:pt x="126" y="2250"/>
                    </a:lnTo>
                    <a:lnTo>
                      <a:pt x="138" y="2244"/>
                    </a:lnTo>
                    <a:lnTo>
                      <a:pt x="132" y="2262"/>
                    </a:lnTo>
                    <a:lnTo>
                      <a:pt x="150" y="2262"/>
                    </a:lnTo>
                    <a:lnTo>
                      <a:pt x="132" y="2280"/>
                    </a:lnTo>
                    <a:lnTo>
                      <a:pt x="168" y="2274"/>
                    </a:lnTo>
                    <a:lnTo>
                      <a:pt x="156" y="2280"/>
                    </a:lnTo>
                    <a:lnTo>
                      <a:pt x="144" y="2292"/>
                    </a:lnTo>
                    <a:lnTo>
                      <a:pt x="138" y="2292"/>
                    </a:lnTo>
                    <a:lnTo>
                      <a:pt x="138" y="2298"/>
                    </a:lnTo>
                    <a:lnTo>
                      <a:pt x="150" y="2298"/>
                    </a:lnTo>
                    <a:lnTo>
                      <a:pt x="162" y="2286"/>
                    </a:lnTo>
                    <a:lnTo>
                      <a:pt x="168" y="2286"/>
                    </a:lnTo>
                    <a:lnTo>
                      <a:pt x="174" y="2292"/>
                    </a:lnTo>
                    <a:lnTo>
                      <a:pt x="174" y="2304"/>
                    </a:lnTo>
                    <a:lnTo>
                      <a:pt x="162" y="2316"/>
                    </a:lnTo>
                    <a:lnTo>
                      <a:pt x="162" y="2328"/>
                    </a:lnTo>
                    <a:lnTo>
                      <a:pt x="210" y="2328"/>
                    </a:lnTo>
                    <a:lnTo>
                      <a:pt x="228" y="2316"/>
                    </a:lnTo>
                    <a:lnTo>
                      <a:pt x="210" y="2340"/>
                    </a:lnTo>
                    <a:lnTo>
                      <a:pt x="192" y="2340"/>
                    </a:lnTo>
                    <a:lnTo>
                      <a:pt x="186" y="2346"/>
                    </a:lnTo>
                    <a:lnTo>
                      <a:pt x="186" y="2352"/>
                    </a:lnTo>
                    <a:lnTo>
                      <a:pt x="210" y="2364"/>
                    </a:lnTo>
                    <a:lnTo>
                      <a:pt x="216" y="2364"/>
                    </a:lnTo>
                    <a:lnTo>
                      <a:pt x="228" y="2370"/>
                    </a:lnTo>
                    <a:lnTo>
                      <a:pt x="234" y="2376"/>
                    </a:lnTo>
                    <a:lnTo>
                      <a:pt x="246" y="2376"/>
                    </a:lnTo>
                    <a:lnTo>
                      <a:pt x="258" y="2382"/>
                    </a:lnTo>
                    <a:lnTo>
                      <a:pt x="270" y="2376"/>
                    </a:lnTo>
                    <a:lnTo>
                      <a:pt x="288" y="2358"/>
                    </a:lnTo>
                    <a:lnTo>
                      <a:pt x="294" y="2346"/>
                    </a:lnTo>
                    <a:lnTo>
                      <a:pt x="294" y="2340"/>
                    </a:lnTo>
                    <a:lnTo>
                      <a:pt x="288" y="2334"/>
                    </a:lnTo>
                    <a:lnTo>
                      <a:pt x="282" y="2322"/>
                    </a:lnTo>
                    <a:lnTo>
                      <a:pt x="270" y="2316"/>
                    </a:lnTo>
                    <a:lnTo>
                      <a:pt x="264" y="2304"/>
                    </a:lnTo>
                    <a:lnTo>
                      <a:pt x="252" y="2298"/>
                    </a:lnTo>
                    <a:close/>
                    <a:moveTo>
                      <a:pt x="2304" y="372"/>
                    </a:moveTo>
                    <a:lnTo>
                      <a:pt x="2316" y="372"/>
                    </a:lnTo>
                    <a:lnTo>
                      <a:pt x="2328" y="366"/>
                    </a:lnTo>
                    <a:lnTo>
                      <a:pt x="2376" y="366"/>
                    </a:lnTo>
                    <a:lnTo>
                      <a:pt x="2388" y="378"/>
                    </a:lnTo>
                    <a:lnTo>
                      <a:pt x="2388" y="390"/>
                    </a:lnTo>
                    <a:lnTo>
                      <a:pt x="2424" y="390"/>
                    </a:lnTo>
                    <a:lnTo>
                      <a:pt x="2442" y="384"/>
                    </a:lnTo>
                    <a:lnTo>
                      <a:pt x="2454" y="384"/>
                    </a:lnTo>
                    <a:lnTo>
                      <a:pt x="2466" y="390"/>
                    </a:lnTo>
                    <a:lnTo>
                      <a:pt x="2472" y="396"/>
                    </a:lnTo>
                    <a:lnTo>
                      <a:pt x="2490" y="396"/>
                    </a:lnTo>
                    <a:lnTo>
                      <a:pt x="2514" y="384"/>
                    </a:lnTo>
                    <a:lnTo>
                      <a:pt x="2520" y="372"/>
                    </a:lnTo>
                    <a:lnTo>
                      <a:pt x="2520" y="354"/>
                    </a:lnTo>
                    <a:lnTo>
                      <a:pt x="2550" y="354"/>
                    </a:lnTo>
                    <a:lnTo>
                      <a:pt x="2616" y="336"/>
                    </a:lnTo>
                    <a:lnTo>
                      <a:pt x="2580" y="366"/>
                    </a:lnTo>
                    <a:lnTo>
                      <a:pt x="2634" y="378"/>
                    </a:lnTo>
                    <a:lnTo>
                      <a:pt x="2688" y="354"/>
                    </a:lnTo>
                    <a:lnTo>
                      <a:pt x="2784" y="312"/>
                    </a:lnTo>
                    <a:lnTo>
                      <a:pt x="2778" y="312"/>
                    </a:lnTo>
                    <a:lnTo>
                      <a:pt x="2772" y="306"/>
                    </a:lnTo>
                    <a:lnTo>
                      <a:pt x="2754" y="300"/>
                    </a:lnTo>
                    <a:lnTo>
                      <a:pt x="2736" y="300"/>
                    </a:lnTo>
                    <a:lnTo>
                      <a:pt x="2724" y="294"/>
                    </a:lnTo>
                    <a:lnTo>
                      <a:pt x="2706" y="288"/>
                    </a:lnTo>
                    <a:lnTo>
                      <a:pt x="2676" y="288"/>
                    </a:lnTo>
                    <a:lnTo>
                      <a:pt x="2646" y="282"/>
                    </a:lnTo>
                    <a:lnTo>
                      <a:pt x="2604" y="282"/>
                    </a:lnTo>
                    <a:lnTo>
                      <a:pt x="2526" y="294"/>
                    </a:lnTo>
                    <a:lnTo>
                      <a:pt x="2526" y="318"/>
                    </a:lnTo>
                    <a:lnTo>
                      <a:pt x="2406" y="324"/>
                    </a:lnTo>
                    <a:lnTo>
                      <a:pt x="2400" y="324"/>
                    </a:lnTo>
                    <a:lnTo>
                      <a:pt x="2394" y="318"/>
                    </a:lnTo>
                    <a:lnTo>
                      <a:pt x="2334" y="318"/>
                    </a:lnTo>
                    <a:lnTo>
                      <a:pt x="2322" y="324"/>
                    </a:lnTo>
                    <a:lnTo>
                      <a:pt x="2310" y="324"/>
                    </a:lnTo>
                    <a:lnTo>
                      <a:pt x="2304" y="330"/>
                    </a:lnTo>
                    <a:lnTo>
                      <a:pt x="2304" y="372"/>
                    </a:lnTo>
                    <a:close/>
                    <a:moveTo>
                      <a:pt x="150" y="1980"/>
                    </a:moveTo>
                    <a:lnTo>
                      <a:pt x="162" y="2004"/>
                    </a:lnTo>
                    <a:lnTo>
                      <a:pt x="174" y="2010"/>
                    </a:lnTo>
                    <a:lnTo>
                      <a:pt x="186" y="1980"/>
                    </a:lnTo>
                    <a:lnTo>
                      <a:pt x="180" y="1974"/>
                    </a:lnTo>
                    <a:lnTo>
                      <a:pt x="174" y="1974"/>
                    </a:lnTo>
                    <a:lnTo>
                      <a:pt x="162" y="1968"/>
                    </a:lnTo>
                    <a:lnTo>
                      <a:pt x="156" y="1968"/>
                    </a:lnTo>
                    <a:lnTo>
                      <a:pt x="150" y="1974"/>
                    </a:lnTo>
                    <a:lnTo>
                      <a:pt x="150" y="1980"/>
                    </a:lnTo>
                    <a:close/>
                    <a:moveTo>
                      <a:pt x="126" y="1932"/>
                    </a:moveTo>
                    <a:lnTo>
                      <a:pt x="120" y="1932"/>
                    </a:lnTo>
                    <a:lnTo>
                      <a:pt x="108" y="1938"/>
                    </a:lnTo>
                    <a:lnTo>
                      <a:pt x="96" y="1938"/>
                    </a:lnTo>
                    <a:lnTo>
                      <a:pt x="84" y="1944"/>
                    </a:lnTo>
                    <a:lnTo>
                      <a:pt x="78" y="1944"/>
                    </a:lnTo>
                    <a:lnTo>
                      <a:pt x="78" y="1950"/>
                    </a:lnTo>
                    <a:lnTo>
                      <a:pt x="72" y="1962"/>
                    </a:lnTo>
                    <a:lnTo>
                      <a:pt x="66" y="1968"/>
                    </a:lnTo>
                    <a:lnTo>
                      <a:pt x="48" y="1968"/>
                    </a:lnTo>
                    <a:lnTo>
                      <a:pt x="42" y="1962"/>
                    </a:lnTo>
                    <a:lnTo>
                      <a:pt x="48" y="1956"/>
                    </a:lnTo>
                    <a:lnTo>
                      <a:pt x="60" y="1956"/>
                    </a:lnTo>
                    <a:lnTo>
                      <a:pt x="66" y="1950"/>
                    </a:lnTo>
                    <a:lnTo>
                      <a:pt x="72" y="1950"/>
                    </a:lnTo>
                    <a:lnTo>
                      <a:pt x="78" y="1944"/>
                    </a:lnTo>
                    <a:lnTo>
                      <a:pt x="84" y="1944"/>
                    </a:lnTo>
                    <a:lnTo>
                      <a:pt x="78" y="1938"/>
                    </a:lnTo>
                    <a:lnTo>
                      <a:pt x="54" y="1938"/>
                    </a:lnTo>
                    <a:lnTo>
                      <a:pt x="48" y="1944"/>
                    </a:lnTo>
                    <a:lnTo>
                      <a:pt x="48" y="1932"/>
                    </a:lnTo>
                    <a:lnTo>
                      <a:pt x="36" y="1932"/>
                    </a:lnTo>
                    <a:lnTo>
                      <a:pt x="24" y="1944"/>
                    </a:lnTo>
                    <a:lnTo>
                      <a:pt x="6" y="1980"/>
                    </a:lnTo>
                    <a:lnTo>
                      <a:pt x="6" y="2004"/>
                    </a:lnTo>
                    <a:lnTo>
                      <a:pt x="12" y="2004"/>
                    </a:lnTo>
                    <a:lnTo>
                      <a:pt x="12" y="2010"/>
                    </a:lnTo>
                    <a:lnTo>
                      <a:pt x="18" y="2016"/>
                    </a:lnTo>
                    <a:lnTo>
                      <a:pt x="0" y="2022"/>
                    </a:lnTo>
                    <a:lnTo>
                      <a:pt x="12" y="2076"/>
                    </a:lnTo>
                    <a:lnTo>
                      <a:pt x="12" y="2082"/>
                    </a:lnTo>
                    <a:lnTo>
                      <a:pt x="6" y="2082"/>
                    </a:lnTo>
                    <a:lnTo>
                      <a:pt x="12" y="2088"/>
                    </a:lnTo>
                    <a:lnTo>
                      <a:pt x="12" y="2094"/>
                    </a:lnTo>
                    <a:lnTo>
                      <a:pt x="30" y="2094"/>
                    </a:lnTo>
                    <a:lnTo>
                      <a:pt x="30" y="2070"/>
                    </a:lnTo>
                    <a:lnTo>
                      <a:pt x="24" y="2058"/>
                    </a:lnTo>
                    <a:lnTo>
                      <a:pt x="24" y="2040"/>
                    </a:lnTo>
                    <a:lnTo>
                      <a:pt x="36" y="2028"/>
                    </a:lnTo>
                    <a:lnTo>
                      <a:pt x="42" y="2028"/>
                    </a:lnTo>
                    <a:lnTo>
                      <a:pt x="48" y="2016"/>
                    </a:lnTo>
                    <a:lnTo>
                      <a:pt x="54" y="2010"/>
                    </a:lnTo>
                    <a:lnTo>
                      <a:pt x="54" y="1986"/>
                    </a:lnTo>
                    <a:lnTo>
                      <a:pt x="84" y="1956"/>
                    </a:lnTo>
                    <a:lnTo>
                      <a:pt x="108" y="1944"/>
                    </a:lnTo>
                    <a:lnTo>
                      <a:pt x="114" y="1944"/>
                    </a:lnTo>
                    <a:lnTo>
                      <a:pt x="126" y="1938"/>
                    </a:lnTo>
                    <a:lnTo>
                      <a:pt x="126" y="1932"/>
                    </a:lnTo>
                    <a:close/>
                    <a:moveTo>
                      <a:pt x="1896" y="678"/>
                    </a:moveTo>
                    <a:lnTo>
                      <a:pt x="1896" y="690"/>
                    </a:lnTo>
                    <a:lnTo>
                      <a:pt x="1884" y="702"/>
                    </a:lnTo>
                    <a:lnTo>
                      <a:pt x="1884" y="714"/>
                    </a:lnTo>
                    <a:lnTo>
                      <a:pt x="1902" y="714"/>
                    </a:lnTo>
                    <a:lnTo>
                      <a:pt x="1926" y="708"/>
                    </a:lnTo>
                    <a:lnTo>
                      <a:pt x="1944" y="708"/>
                    </a:lnTo>
                    <a:lnTo>
                      <a:pt x="1980" y="696"/>
                    </a:lnTo>
                    <a:lnTo>
                      <a:pt x="1986" y="690"/>
                    </a:lnTo>
                    <a:lnTo>
                      <a:pt x="1992" y="690"/>
                    </a:lnTo>
                    <a:lnTo>
                      <a:pt x="2034" y="702"/>
                    </a:lnTo>
                    <a:lnTo>
                      <a:pt x="2112" y="642"/>
                    </a:lnTo>
                    <a:lnTo>
                      <a:pt x="2244" y="600"/>
                    </a:lnTo>
                    <a:lnTo>
                      <a:pt x="2370" y="564"/>
                    </a:lnTo>
                    <a:lnTo>
                      <a:pt x="2466" y="546"/>
                    </a:lnTo>
                    <a:lnTo>
                      <a:pt x="2454" y="540"/>
                    </a:lnTo>
                    <a:lnTo>
                      <a:pt x="2448" y="528"/>
                    </a:lnTo>
                    <a:lnTo>
                      <a:pt x="2436" y="522"/>
                    </a:lnTo>
                    <a:lnTo>
                      <a:pt x="2424" y="510"/>
                    </a:lnTo>
                    <a:lnTo>
                      <a:pt x="2412" y="504"/>
                    </a:lnTo>
                    <a:lnTo>
                      <a:pt x="2400" y="492"/>
                    </a:lnTo>
                    <a:lnTo>
                      <a:pt x="2352" y="492"/>
                    </a:lnTo>
                    <a:lnTo>
                      <a:pt x="2340" y="498"/>
                    </a:lnTo>
                    <a:lnTo>
                      <a:pt x="2328" y="498"/>
                    </a:lnTo>
                    <a:lnTo>
                      <a:pt x="2262" y="504"/>
                    </a:lnTo>
                    <a:lnTo>
                      <a:pt x="2226" y="480"/>
                    </a:lnTo>
                    <a:lnTo>
                      <a:pt x="2142" y="486"/>
                    </a:lnTo>
                    <a:lnTo>
                      <a:pt x="2094" y="504"/>
                    </a:lnTo>
                    <a:lnTo>
                      <a:pt x="2076" y="522"/>
                    </a:lnTo>
                    <a:lnTo>
                      <a:pt x="2064" y="552"/>
                    </a:lnTo>
                    <a:lnTo>
                      <a:pt x="2010" y="564"/>
                    </a:lnTo>
                    <a:lnTo>
                      <a:pt x="1944" y="588"/>
                    </a:lnTo>
                    <a:lnTo>
                      <a:pt x="1962" y="600"/>
                    </a:lnTo>
                    <a:lnTo>
                      <a:pt x="1842" y="654"/>
                    </a:lnTo>
                    <a:lnTo>
                      <a:pt x="1854" y="654"/>
                    </a:lnTo>
                    <a:lnTo>
                      <a:pt x="1890" y="672"/>
                    </a:lnTo>
                    <a:lnTo>
                      <a:pt x="1896" y="678"/>
                    </a:lnTo>
                    <a:close/>
                    <a:moveTo>
                      <a:pt x="198" y="1968"/>
                    </a:moveTo>
                    <a:lnTo>
                      <a:pt x="192" y="1992"/>
                    </a:lnTo>
                    <a:lnTo>
                      <a:pt x="192" y="2010"/>
                    </a:lnTo>
                    <a:lnTo>
                      <a:pt x="216" y="1998"/>
                    </a:lnTo>
                    <a:lnTo>
                      <a:pt x="198" y="1968"/>
                    </a:lnTo>
                    <a:close/>
                    <a:moveTo>
                      <a:pt x="4182" y="600"/>
                    </a:moveTo>
                    <a:lnTo>
                      <a:pt x="4194" y="606"/>
                    </a:lnTo>
                    <a:lnTo>
                      <a:pt x="4206" y="600"/>
                    </a:lnTo>
                    <a:lnTo>
                      <a:pt x="4218" y="600"/>
                    </a:lnTo>
                    <a:lnTo>
                      <a:pt x="4242" y="588"/>
                    </a:lnTo>
                    <a:lnTo>
                      <a:pt x="4308" y="588"/>
                    </a:lnTo>
                    <a:lnTo>
                      <a:pt x="4314" y="594"/>
                    </a:lnTo>
                    <a:lnTo>
                      <a:pt x="4350" y="594"/>
                    </a:lnTo>
                    <a:lnTo>
                      <a:pt x="4356" y="588"/>
                    </a:lnTo>
                    <a:lnTo>
                      <a:pt x="4356" y="582"/>
                    </a:lnTo>
                    <a:lnTo>
                      <a:pt x="4344" y="558"/>
                    </a:lnTo>
                    <a:lnTo>
                      <a:pt x="4338" y="552"/>
                    </a:lnTo>
                    <a:lnTo>
                      <a:pt x="4326" y="546"/>
                    </a:lnTo>
                    <a:lnTo>
                      <a:pt x="4230" y="546"/>
                    </a:lnTo>
                    <a:lnTo>
                      <a:pt x="4224" y="540"/>
                    </a:lnTo>
                    <a:lnTo>
                      <a:pt x="4212" y="540"/>
                    </a:lnTo>
                    <a:lnTo>
                      <a:pt x="4200" y="534"/>
                    </a:lnTo>
                    <a:lnTo>
                      <a:pt x="4188" y="534"/>
                    </a:lnTo>
                    <a:lnTo>
                      <a:pt x="4176" y="540"/>
                    </a:lnTo>
                    <a:lnTo>
                      <a:pt x="4158" y="558"/>
                    </a:lnTo>
                    <a:lnTo>
                      <a:pt x="4158" y="564"/>
                    </a:lnTo>
                    <a:lnTo>
                      <a:pt x="4176" y="576"/>
                    </a:lnTo>
                    <a:lnTo>
                      <a:pt x="4170" y="582"/>
                    </a:lnTo>
                    <a:lnTo>
                      <a:pt x="4170" y="594"/>
                    </a:lnTo>
                    <a:lnTo>
                      <a:pt x="4176" y="594"/>
                    </a:lnTo>
                    <a:lnTo>
                      <a:pt x="4182" y="600"/>
                    </a:lnTo>
                    <a:close/>
                    <a:moveTo>
                      <a:pt x="3708" y="516"/>
                    </a:moveTo>
                    <a:lnTo>
                      <a:pt x="3678" y="516"/>
                    </a:lnTo>
                    <a:lnTo>
                      <a:pt x="3624" y="510"/>
                    </a:lnTo>
                    <a:lnTo>
                      <a:pt x="3564" y="504"/>
                    </a:lnTo>
                    <a:lnTo>
                      <a:pt x="3468" y="504"/>
                    </a:lnTo>
                    <a:lnTo>
                      <a:pt x="3468" y="516"/>
                    </a:lnTo>
                    <a:lnTo>
                      <a:pt x="3462" y="522"/>
                    </a:lnTo>
                    <a:lnTo>
                      <a:pt x="3426" y="540"/>
                    </a:lnTo>
                    <a:lnTo>
                      <a:pt x="3396" y="546"/>
                    </a:lnTo>
                    <a:lnTo>
                      <a:pt x="3378" y="552"/>
                    </a:lnTo>
                    <a:lnTo>
                      <a:pt x="3372" y="552"/>
                    </a:lnTo>
                    <a:lnTo>
                      <a:pt x="3372" y="558"/>
                    </a:lnTo>
                    <a:lnTo>
                      <a:pt x="3384" y="570"/>
                    </a:lnTo>
                    <a:lnTo>
                      <a:pt x="3390" y="582"/>
                    </a:lnTo>
                    <a:lnTo>
                      <a:pt x="3390" y="594"/>
                    </a:lnTo>
                    <a:lnTo>
                      <a:pt x="3372" y="618"/>
                    </a:lnTo>
                    <a:lnTo>
                      <a:pt x="3402" y="636"/>
                    </a:lnTo>
                    <a:lnTo>
                      <a:pt x="3480" y="606"/>
                    </a:lnTo>
                    <a:lnTo>
                      <a:pt x="3474" y="600"/>
                    </a:lnTo>
                    <a:lnTo>
                      <a:pt x="3468" y="600"/>
                    </a:lnTo>
                    <a:lnTo>
                      <a:pt x="3468" y="594"/>
                    </a:lnTo>
                    <a:lnTo>
                      <a:pt x="3474" y="588"/>
                    </a:lnTo>
                    <a:lnTo>
                      <a:pt x="3486" y="582"/>
                    </a:lnTo>
                    <a:lnTo>
                      <a:pt x="3522" y="582"/>
                    </a:lnTo>
                    <a:lnTo>
                      <a:pt x="3546" y="594"/>
                    </a:lnTo>
                    <a:lnTo>
                      <a:pt x="3552" y="600"/>
                    </a:lnTo>
                    <a:lnTo>
                      <a:pt x="3606" y="594"/>
                    </a:lnTo>
                    <a:lnTo>
                      <a:pt x="3600" y="570"/>
                    </a:lnTo>
                    <a:lnTo>
                      <a:pt x="3630" y="570"/>
                    </a:lnTo>
                    <a:lnTo>
                      <a:pt x="3648" y="564"/>
                    </a:lnTo>
                    <a:lnTo>
                      <a:pt x="3666" y="564"/>
                    </a:lnTo>
                    <a:lnTo>
                      <a:pt x="3690" y="552"/>
                    </a:lnTo>
                    <a:lnTo>
                      <a:pt x="3696" y="546"/>
                    </a:lnTo>
                    <a:lnTo>
                      <a:pt x="3702" y="534"/>
                    </a:lnTo>
                    <a:lnTo>
                      <a:pt x="3714" y="522"/>
                    </a:lnTo>
                    <a:lnTo>
                      <a:pt x="3720" y="522"/>
                    </a:lnTo>
                    <a:lnTo>
                      <a:pt x="3714" y="516"/>
                    </a:lnTo>
                    <a:lnTo>
                      <a:pt x="3708" y="516"/>
                    </a:lnTo>
                    <a:close/>
                    <a:moveTo>
                      <a:pt x="3792" y="150"/>
                    </a:moveTo>
                    <a:lnTo>
                      <a:pt x="3738" y="156"/>
                    </a:lnTo>
                    <a:lnTo>
                      <a:pt x="3756" y="180"/>
                    </a:lnTo>
                    <a:lnTo>
                      <a:pt x="3792" y="150"/>
                    </a:lnTo>
                    <a:close/>
                    <a:moveTo>
                      <a:pt x="3612" y="480"/>
                    </a:moveTo>
                    <a:lnTo>
                      <a:pt x="3636" y="468"/>
                    </a:lnTo>
                    <a:lnTo>
                      <a:pt x="3642" y="456"/>
                    </a:lnTo>
                    <a:lnTo>
                      <a:pt x="3654" y="450"/>
                    </a:lnTo>
                    <a:lnTo>
                      <a:pt x="3660" y="438"/>
                    </a:lnTo>
                    <a:lnTo>
                      <a:pt x="3660" y="432"/>
                    </a:lnTo>
                    <a:lnTo>
                      <a:pt x="3654" y="426"/>
                    </a:lnTo>
                    <a:lnTo>
                      <a:pt x="3642" y="426"/>
                    </a:lnTo>
                    <a:lnTo>
                      <a:pt x="3630" y="420"/>
                    </a:lnTo>
                    <a:lnTo>
                      <a:pt x="3588" y="420"/>
                    </a:lnTo>
                    <a:lnTo>
                      <a:pt x="3570" y="426"/>
                    </a:lnTo>
                    <a:lnTo>
                      <a:pt x="3552" y="426"/>
                    </a:lnTo>
                    <a:lnTo>
                      <a:pt x="3534" y="438"/>
                    </a:lnTo>
                    <a:lnTo>
                      <a:pt x="3516" y="444"/>
                    </a:lnTo>
                    <a:lnTo>
                      <a:pt x="3504" y="450"/>
                    </a:lnTo>
                    <a:lnTo>
                      <a:pt x="3504" y="462"/>
                    </a:lnTo>
                    <a:lnTo>
                      <a:pt x="3528" y="468"/>
                    </a:lnTo>
                    <a:lnTo>
                      <a:pt x="3600" y="480"/>
                    </a:lnTo>
                    <a:lnTo>
                      <a:pt x="3612" y="480"/>
                    </a:lnTo>
                    <a:close/>
                    <a:moveTo>
                      <a:pt x="3954" y="180"/>
                    </a:moveTo>
                    <a:lnTo>
                      <a:pt x="3900" y="192"/>
                    </a:lnTo>
                    <a:lnTo>
                      <a:pt x="3936" y="210"/>
                    </a:lnTo>
                    <a:lnTo>
                      <a:pt x="3924" y="216"/>
                    </a:lnTo>
                    <a:lnTo>
                      <a:pt x="3918" y="222"/>
                    </a:lnTo>
                    <a:lnTo>
                      <a:pt x="3918" y="228"/>
                    </a:lnTo>
                    <a:lnTo>
                      <a:pt x="3924" y="234"/>
                    </a:lnTo>
                    <a:lnTo>
                      <a:pt x="3936" y="240"/>
                    </a:lnTo>
                    <a:lnTo>
                      <a:pt x="3966" y="240"/>
                    </a:lnTo>
                    <a:lnTo>
                      <a:pt x="3942" y="252"/>
                    </a:lnTo>
                    <a:lnTo>
                      <a:pt x="3954" y="252"/>
                    </a:lnTo>
                    <a:lnTo>
                      <a:pt x="4002" y="276"/>
                    </a:lnTo>
                    <a:lnTo>
                      <a:pt x="4014" y="276"/>
                    </a:lnTo>
                    <a:lnTo>
                      <a:pt x="4026" y="270"/>
                    </a:lnTo>
                    <a:lnTo>
                      <a:pt x="4032" y="264"/>
                    </a:lnTo>
                    <a:lnTo>
                      <a:pt x="4044" y="258"/>
                    </a:lnTo>
                    <a:lnTo>
                      <a:pt x="4050" y="252"/>
                    </a:lnTo>
                    <a:lnTo>
                      <a:pt x="4074" y="246"/>
                    </a:lnTo>
                    <a:lnTo>
                      <a:pt x="4086" y="258"/>
                    </a:lnTo>
                    <a:lnTo>
                      <a:pt x="4092" y="270"/>
                    </a:lnTo>
                    <a:lnTo>
                      <a:pt x="4098" y="276"/>
                    </a:lnTo>
                    <a:lnTo>
                      <a:pt x="4104" y="270"/>
                    </a:lnTo>
                    <a:lnTo>
                      <a:pt x="4116" y="270"/>
                    </a:lnTo>
                    <a:lnTo>
                      <a:pt x="4128" y="264"/>
                    </a:lnTo>
                    <a:lnTo>
                      <a:pt x="4134" y="258"/>
                    </a:lnTo>
                    <a:lnTo>
                      <a:pt x="4146" y="258"/>
                    </a:lnTo>
                    <a:lnTo>
                      <a:pt x="4152" y="252"/>
                    </a:lnTo>
                    <a:lnTo>
                      <a:pt x="4158" y="252"/>
                    </a:lnTo>
                    <a:lnTo>
                      <a:pt x="4170" y="246"/>
                    </a:lnTo>
                    <a:lnTo>
                      <a:pt x="4176" y="234"/>
                    </a:lnTo>
                    <a:lnTo>
                      <a:pt x="4182" y="228"/>
                    </a:lnTo>
                    <a:lnTo>
                      <a:pt x="4194" y="246"/>
                    </a:lnTo>
                    <a:lnTo>
                      <a:pt x="4218" y="222"/>
                    </a:lnTo>
                    <a:lnTo>
                      <a:pt x="4218" y="216"/>
                    </a:lnTo>
                    <a:lnTo>
                      <a:pt x="4236" y="210"/>
                    </a:lnTo>
                    <a:lnTo>
                      <a:pt x="4326" y="210"/>
                    </a:lnTo>
                    <a:lnTo>
                      <a:pt x="4332" y="204"/>
                    </a:lnTo>
                    <a:lnTo>
                      <a:pt x="4332" y="192"/>
                    </a:lnTo>
                    <a:lnTo>
                      <a:pt x="4266" y="186"/>
                    </a:lnTo>
                    <a:lnTo>
                      <a:pt x="4302" y="174"/>
                    </a:lnTo>
                    <a:lnTo>
                      <a:pt x="4302" y="132"/>
                    </a:lnTo>
                    <a:lnTo>
                      <a:pt x="4278" y="132"/>
                    </a:lnTo>
                    <a:lnTo>
                      <a:pt x="4266" y="138"/>
                    </a:lnTo>
                    <a:lnTo>
                      <a:pt x="4260" y="144"/>
                    </a:lnTo>
                    <a:lnTo>
                      <a:pt x="4248" y="150"/>
                    </a:lnTo>
                    <a:lnTo>
                      <a:pt x="4242" y="126"/>
                    </a:lnTo>
                    <a:lnTo>
                      <a:pt x="4194" y="132"/>
                    </a:lnTo>
                    <a:lnTo>
                      <a:pt x="4194" y="120"/>
                    </a:lnTo>
                    <a:lnTo>
                      <a:pt x="4176" y="84"/>
                    </a:lnTo>
                    <a:lnTo>
                      <a:pt x="4140" y="84"/>
                    </a:lnTo>
                    <a:lnTo>
                      <a:pt x="4122" y="90"/>
                    </a:lnTo>
                    <a:lnTo>
                      <a:pt x="4110" y="96"/>
                    </a:lnTo>
                    <a:lnTo>
                      <a:pt x="4104" y="102"/>
                    </a:lnTo>
                    <a:lnTo>
                      <a:pt x="4098" y="102"/>
                    </a:lnTo>
                    <a:lnTo>
                      <a:pt x="4020" y="108"/>
                    </a:lnTo>
                    <a:lnTo>
                      <a:pt x="4044" y="126"/>
                    </a:lnTo>
                    <a:lnTo>
                      <a:pt x="3996" y="126"/>
                    </a:lnTo>
                    <a:lnTo>
                      <a:pt x="3984" y="132"/>
                    </a:lnTo>
                    <a:lnTo>
                      <a:pt x="3972" y="132"/>
                    </a:lnTo>
                    <a:lnTo>
                      <a:pt x="3966" y="138"/>
                    </a:lnTo>
                    <a:lnTo>
                      <a:pt x="3984" y="156"/>
                    </a:lnTo>
                    <a:lnTo>
                      <a:pt x="3972" y="156"/>
                    </a:lnTo>
                    <a:lnTo>
                      <a:pt x="3936" y="150"/>
                    </a:lnTo>
                    <a:lnTo>
                      <a:pt x="3906" y="156"/>
                    </a:lnTo>
                    <a:lnTo>
                      <a:pt x="3888" y="168"/>
                    </a:lnTo>
                    <a:lnTo>
                      <a:pt x="3888" y="174"/>
                    </a:lnTo>
                    <a:lnTo>
                      <a:pt x="3894" y="180"/>
                    </a:lnTo>
                    <a:lnTo>
                      <a:pt x="3954" y="180"/>
                    </a:lnTo>
                    <a:close/>
                    <a:moveTo>
                      <a:pt x="3972" y="294"/>
                    </a:moveTo>
                    <a:lnTo>
                      <a:pt x="3954" y="300"/>
                    </a:lnTo>
                    <a:lnTo>
                      <a:pt x="3942" y="306"/>
                    </a:lnTo>
                    <a:lnTo>
                      <a:pt x="3936" y="312"/>
                    </a:lnTo>
                    <a:lnTo>
                      <a:pt x="3936" y="318"/>
                    </a:lnTo>
                    <a:lnTo>
                      <a:pt x="3966" y="324"/>
                    </a:lnTo>
                    <a:lnTo>
                      <a:pt x="3972" y="324"/>
                    </a:lnTo>
                    <a:lnTo>
                      <a:pt x="3990" y="306"/>
                    </a:lnTo>
                    <a:lnTo>
                      <a:pt x="3990" y="300"/>
                    </a:lnTo>
                    <a:lnTo>
                      <a:pt x="3984" y="294"/>
                    </a:lnTo>
                    <a:lnTo>
                      <a:pt x="3972" y="294"/>
                    </a:lnTo>
                    <a:close/>
                    <a:moveTo>
                      <a:pt x="3738" y="336"/>
                    </a:moveTo>
                    <a:lnTo>
                      <a:pt x="3726" y="336"/>
                    </a:lnTo>
                    <a:lnTo>
                      <a:pt x="3720" y="330"/>
                    </a:lnTo>
                    <a:lnTo>
                      <a:pt x="3672" y="330"/>
                    </a:lnTo>
                    <a:lnTo>
                      <a:pt x="3636" y="336"/>
                    </a:lnTo>
                    <a:lnTo>
                      <a:pt x="3624" y="342"/>
                    </a:lnTo>
                    <a:lnTo>
                      <a:pt x="3642" y="360"/>
                    </a:lnTo>
                    <a:lnTo>
                      <a:pt x="3654" y="360"/>
                    </a:lnTo>
                    <a:lnTo>
                      <a:pt x="3660" y="378"/>
                    </a:lnTo>
                    <a:lnTo>
                      <a:pt x="3768" y="378"/>
                    </a:lnTo>
                    <a:lnTo>
                      <a:pt x="3768" y="390"/>
                    </a:lnTo>
                    <a:lnTo>
                      <a:pt x="3762" y="396"/>
                    </a:lnTo>
                    <a:lnTo>
                      <a:pt x="3762" y="408"/>
                    </a:lnTo>
                    <a:lnTo>
                      <a:pt x="3708" y="450"/>
                    </a:lnTo>
                    <a:lnTo>
                      <a:pt x="3732" y="456"/>
                    </a:lnTo>
                    <a:lnTo>
                      <a:pt x="3720" y="468"/>
                    </a:lnTo>
                    <a:lnTo>
                      <a:pt x="3714" y="468"/>
                    </a:lnTo>
                    <a:lnTo>
                      <a:pt x="3708" y="474"/>
                    </a:lnTo>
                    <a:lnTo>
                      <a:pt x="3708" y="480"/>
                    </a:lnTo>
                    <a:lnTo>
                      <a:pt x="3726" y="480"/>
                    </a:lnTo>
                    <a:lnTo>
                      <a:pt x="3738" y="474"/>
                    </a:lnTo>
                    <a:lnTo>
                      <a:pt x="3744" y="474"/>
                    </a:lnTo>
                    <a:lnTo>
                      <a:pt x="3756" y="468"/>
                    </a:lnTo>
                    <a:lnTo>
                      <a:pt x="3756" y="480"/>
                    </a:lnTo>
                    <a:lnTo>
                      <a:pt x="3792" y="480"/>
                    </a:lnTo>
                    <a:lnTo>
                      <a:pt x="3810" y="474"/>
                    </a:lnTo>
                    <a:lnTo>
                      <a:pt x="3822" y="468"/>
                    </a:lnTo>
                    <a:lnTo>
                      <a:pt x="3840" y="468"/>
                    </a:lnTo>
                    <a:lnTo>
                      <a:pt x="3846" y="462"/>
                    </a:lnTo>
                    <a:lnTo>
                      <a:pt x="3852" y="462"/>
                    </a:lnTo>
                    <a:lnTo>
                      <a:pt x="3858" y="486"/>
                    </a:lnTo>
                    <a:lnTo>
                      <a:pt x="3924" y="480"/>
                    </a:lnTo>
                    <a:lnTo>
                      <a:pt x="4002" y="498"/>
                    </a:lnTo>
                    <a:lnTo>
                      <a:pt x="4098" y="486"/>
                    </a:lnTo>
                    <a:lnTo>
                      <a:pt x="4128" y="468"/>
                    </a:lnTo>
                    <a:lnTo>
                      <a:pt x="4122" y="474"/>
                    </a:lnTo>
                    <a:lnTo>
                      <a:pt x="4122" y="486"/>
                    </a:lnTo>
                    <a:lnTo>
                      <a:pt x="4260" y="486"/>
                    </a:lnTo>
                    <a:lnTo>
                      <a:pt x="4272" y="468"/>
                    </a:lnTo>
                    <a:lnTo>
                      <a:pt x="4338" y="438"/>
                    </a:lnTo>
                    <a:lnTo>
                      <a:pt x="4320" y="432"/>
                    </a:lnTo>
                    <a:lnTo>
                      <a:pt x="4320" y="420"/>
                    </a:lnTo>
                    <a:lnTo>
                      <a:pt x="4314" y="420"/>
                    </a:lnTo>
                    <a:lnTo>
                      <a:pt x="4308" y="414"/>
                    </a:lnTo>
                    <a:lnTo>
                      <a:pt x="4290" y="414"/>
                    </a:lnTo>
                    <a:lnTo>
                      <a:pt x="4278" y="408"/>
                    </a:lnTo>
                    <a:lnTo>
                      <a:pt x="4260" y="408"/>
                    </a:lnTo>
                    <a:lnTo>
                      <a:pt x="4242" y="402"/>
                    </a:lnTo>
                    <a:lnTo>
                      <a:pt x="4206" y="402"/>
                    </a:lnTo>
                    <a:lnTo>
                      <a:pt x="4164" y="414"/>
                    </a:lnTo>
                    <a:lnTo>
                      <a:pt x="4116" y="420"/>
                    </a:lnTo>
                    <a:lnTo>
                      <a:pt x="4074" y="426"/>
                    </a:lnTo>
                    <a:lnTo>
                      <a:pt x="4038" y="438"/>
                    </a:lnTo>
                    <a:lnTo>
                      <a:pt x="4026" y="438"/>
                    </a:lnTo>
                    <a:lnTo>
                      <a:pt x="4014" y="432"/>
                    </a:lnTo>
                    <a:lnTo>
                      <a:pt x="4008" y="426"/>
                    </a:lnTo>
                    <a:lnTo>
                      <a:pt x="3996" y="420"/>
                    </a:lnTo>
                    <a:lnTo>
                      <a:pt x="3984" y="420"/>
                    </a:lnTo>
                    <a:lnTo>
                      <a:pt x="3972" y="426"/>
                    </a:lnTo>
                    <a:lnTo>
                      <a:pt x="3960" y="426"/>
                    </a:lnTo>
                    <a:lnTo>
                      <a:pt x="3948" y="432"/>
                    </a:lnTo>
                    <a:lnTo>
                      <a:pt x="3942" y="438"/>
                    </a:lnTo>
                    <a:lnTo>
                      <a:pt x="3936" y="438"/>
                    </a:lnTo>
                    <a:lnTo>
                      <a:pt x="3912" y="414"/>
                    </a:lnTo>
                    <a:lnTo>
                      <a:pt x="3894" y="426"/>
                    </a:lnTo>
                    <a:lnTo>
                      <a:pt x="3864" y="420"/>
                    </a:lnTo>
                    <a:lnTo>
                      <a:pt x="3894" y="408"/>
                    </a:lnTo>
                    <a:lnTo>
                      <a:pt x="3876" y="396"/>
                    </a:lnTo>
                    <a:lnTo>
                      <a:pt x="3822" y="408"/>
                    </a:lnTo>
                    <a:lnTo>
                      <a:pt x="3858" y="396"/>
                    </a:lnTo>
                    <a:lnTo>
                      <a:pt x="3858" y="390"/>
                    </a:lnTo>
                    <a:lnTo>
                      <a:pt x="3924" y="384"/>
                    </a:lnTo>
                    <a:lnTo>
                      <a:pt x="3888" y="372"/>
                    </a:lnTo>
                    <a:lnTo>
                      <a:pt x="3870" y="372"/>
                    </a:lnTo>
                    <a:lnTo>
                      <a:pt x="3876" y="366"/>
                    </a:lnTo>
                    <a:lnTo>
                      <a:pt x="3876" y="360"/>
                    </a:lnTo>
                    <a:lnTo>
                      <a:pt x="3870" y="354"/>
                    </a:lnTo>
                    <a:lnTo>
                      <a:pt x="3840" y="354"/>
                    </a:lnTo>
                    <a:lnTo>
                      <a:pt x="3822" y="360"/>
                    </a:lnTo>
                    <a:lnTo>
                      <a:pt x="3804" y="360"/>
                    </a:lnTo>
                    <a:lnTo>
                      <a:pt x="3786" y="366"/>
                    </a:lnTo>
                    <a:lnTo>
                      <a:pt x="3774" y="354"/>
                    </a:lnTo>
                    <a:lnTo>
                      <a:pt x="3762" y="348"/>
                    </a:lnTo>
                    <a:lnTo>
                      <a:pt x="3756" y="342"/>
                    </a:lnTo>
                    <a:lnTo>
                      <a:pt x="3744" y="336"/>
                    </a:lnTo>
                    <a:lnTo>
                      <a:pt x="3738" y="336"/>
                    </a:lnTo>
                    <a:close/>
                    <a:moveTo>
                      <a:pt x="3264" y="420"/>
                    </a:moveTo>
                    <a:lnTo>
                      <a:pt x="3282" y="420"/>
                    </a:lnTo>
                    <a:lnTo>
                      <a:pt x="3300" y="426"/>
                    </a:lnTo>
                    <a:lnTo>
                      <a:pt x="3318" y="426"/>
                    </a:lnTo>
                    <a:lnTo>
                      <a:pt x="3330" y="432"/>
                    </a:lnTo>
                    <a:lnTo>
                      <a:pt x="3342" y="432"/>
                    </a:lnTo>
                    <a:lnTo>
                      <a:pt x="3330" y="444"/>
                    </a:lnTo>
                    <a:lnTo>
                      <a:pt x="3324" y="444"/>
                    </a:lnTo>
                    <a:lnTo>
                      <a:pt x="3324" y="456"/>
                    </a:lnTo>
                    <a:lnTo>
                      <a:pt x="3438" y="456"/>
                    </a:lnTo>
                    <a:lnTo>
                      <a:pt x="3462" y="444"/>
                    </a:lnTo>
                    <a:lnTo>
                      <a:pt x="3462" y="432"/>
                    </a:lnTo>
                    <a:lnTo>
                      <a:pt x="3468" y="426"/>
                    </a:lnTo>
                    <a:lnTo>
                      <a:pt x="3480" y="426"/>
                    </a:lnTo>
                    <a:lnTo>
                      <a:pt x="3492" y="420"/>
                    </a:lnTo>
                    <a:lnTo>
                      <a:pt x="3504" y="420"/>
                    </a:lnTo>
                    <a:lnTo>
                      <a:pt x="3510" y="414"/>
                    </a:lnTo>
                    <a:lnTo>
                      <a:pt x="3510" y="408"/>
                    </a:lnTo>
                    <a:lnTo>
                      <a:pt x="3522" y="396"/>
                    </a:lnTo>
                    <a:lnTo>
                      <a:pt x="3534" y="390"/>
                    </a:lnTo>
                    <a:lnTo>
                      <a:pt x="3540" y="384"/>
                    </a:lnTo>
                    <a:lnTo>
                      <a:pt x="3552" y="378"/>
                    </a:lnTo>
                    <a:lnTo>
                      <a:pt x="3552" y="372"/>
                    </a:lnTo>
                    <a:lnTo>
                      <a:pt x="3546" y="366"/>
                    </a:lnTo>
                    <a:lnTo>
                      <a:pt x="3534" y="360"/>
                    </a:lnTo>
                    <a:lnTo>
                      <a:pt x="3510" y="360"/>
                    </a:lnTo>
                    <a:lnTo>
                      <a:pt x="3504" y="366"/>
                    </a:lnTo>
                    <a:lnTo>
                      <a:pt x="3492" y="366"/>
                    </a:lnTo>
                    <a:lnTo>
                      <a:pt x="3486" y="360"/>
                    </a:lnTo>
                    <a:lnTo>
                      <a:pt x="3474" y="360"/>
                    </a:lnTo>
                    <a:lnTo>
                      <a:pt x="3462" y="354"/>
                    </a:lnTo>
                    <a:lnTo>
                      <a:pt x="3450" y="354"/>
                    </a:lnTo>
                    <a:lnTo>
                      <a:pt x="3432" y="348"/>
                    </a:lnTo>
                    <a:lnTo>
                      <a:pt x="3426" y="354"/>
                    </a:lnTo>
                    <a:lnTo>
                      <a:pt x="3420" y="354"/>
                    </a:lnTo>
                    <a:lnTo>
                      <a:pt x="3414" y="366"/>
                    </a:lnTo>
                    <a:lnTo>
                      <a:pt x="3414" y="396"/>
                    </a:lnTo>
                    <a:lnTo>
                      <a:pt x="3396" y="378"/>
                    </a:lnTo>
                    <a:lnTo>
                      <a:pt x="3384" y="372"/>
                    </a:lnTo>
                    <a:lnTo>
                      <a:pt x="3366" y="372"/>
                    </a:lnTo>
                    <a:lnTo>
                      <a:pt x="3354" y="384"/>
                    </a:lnTo>
                    <a:lnTo>
                      <a:pt x="3348" y="396"/>
                    </a:lnTo>
                    <a:lnTo>
                      <a:pt x="3330" y="414"/>
                    </a:lnTo>
                    <a:lnTo>
                      <a:pt x="3324" y="414"/>
                    </a:lnTo>
                    <a:lnTo>
                      <a:pt x="3300" y="366"/>
                    </a:lnTo>
                    <a:lnTo>
                      <a:pt x="3288" y="360"/>
                    </a:lnTo>
                    <a:lnTo>
                      <a:pt x="3258" y="360"/>
                    </a:lnTo>
                    <a:lnTo>
                      <a:pt x="3246" y="366"/>
                    </a:lnTo>
                    <a:lnTo>
                      <a:pt x="3240" y="372"/>
                    </a:lnTo>
                    <a:lnTo>
                      <a:pt x="3240" y="396"/>
                    </a:lnTo>
                    <a:lnTo>
                      <a:pt x="3246" y="408"/>
                    </a:lnTo>
                    <a:lnTo>
                      <a:pt x="3258" y="414"/>
                    </a:lnTo>
                    <a:lnTo>
                      <a:pt x="3264" y="420"/>
                    </a:lnTo>
                    <a:close/>
                    <a:moveTo>
                      <a:pt x="3720" y="288"/>
                    </a:moveTo>
                    <a:lnTo>
                      <a:pt x="3726" y="288"/>
                    </a:lnTo>
                    <a:lnTo>
                      <a:pt x="3732" y="294"/>
                    </a:lnTo>
                    <a:lnTo>
                      <a:pt x="3738" y="306"/>
                    </a:lnTo>
                    <a:lnTo>
                      <a:pt x="3768" y="306"/>
                    </a:lnTo>
                    <a:lnTo>
                      <a:pt x="3780" y="300"/>
                    </a:lnTo>
                    <a:lnTo>
                      <a:pt x="3834" y="300"/>
                    </a:lnTo>
                    <a:lnTo>
                      <a:pt x="3834" y="294"/>
                    </a:lnTo>
                    <a:lnTo>
                      <a:pt x="3828" y="294"/>
                    </a:lnTo>
                    <a:lnTo>
                      <a:pt x="3822" y="288"/>
                    </a:lnTo>
                    <a:lnTo>
                      <a:pt x="3810" y="288"/>
                    </a:lnTo>
                    <a:lnTo>
                      <a:pt x="3804" y="282"/>
                    </a:lnTo>
                    <a:lnTo>
                      <a:pt x="3792" y="282"/>
                    </a:lnTo>
                    <a:lnTo>
                      <a:pt x="3804" y="270"/>
                    </a:lnTo>
                    <a:lnTo>
                      <a:pt x="3816" y="264"/>
                    </a:lnTo>
                    <a:lnTo>
                      <a:pt x="3822" y="264"/>
                    </a:lnTo>
                    <a:lnTo>
                      <a:pt x="3828" y="258"/>
                    </a:lnTo>
                    <a:lnTo>
                      <a:pt x="3822" y="258"/>
                    </a:lnTo>
                    <a:lnTo>
                      <a:pt x="3810" y="252"/>
                    </a:lnTo>
                    <a:lnTo>
                      <a:pt x="3738" y="228"/>
                    </a:lnTo>
                    <a:lnTo>
                      <a:pt x="3732" y="228"/>
                    </a:lnTo>
                    <a:lnTo>
                      <a:pt x="3726" y="234"/>
                    </a:lnTo>
                    <a:lnTo>
                      <a:pt x="3714" y="240"/>
                    </a:lnTo>
                    <a:lnTo>
                      <a:pt x="3702" y="240"/>
                    </a:lnTo>
                    <a:lnTo>
                      <a:pt x="3690" y="252"/>
                    </a:lnTo>
                    <a:lnTo>
                      <a:pt x="3690" y="258"/>
                    </a:lnTo>
                    <a:lnTo>
                      <a:pt x="3696" y="264"/>
                    </a:lnTo>
                    <a:lnTo>
                      <a:pt x="3702" y="276"/>
                    </a:lnTo>
                    <a:lnTo>
                      <a:pt x="3714" y="282"/>
                    </a:lnTo>
                    <a:lnTo>
                      <a:pt x="3720" y="288"/>
                    </a:lnTo>
                    <a:close/>
                    <a:moveTo>
                      <a:pt x="3288" y="504"/>
                    </a:moveTo>
                    <a:lnTo>
                      <a:pt x="3270" y="504"/>
                    </a:lnTo>
                    <a:lnTo>
                      <a:pt x="3234" y="510"/>
                    </a:lnTo>
                    <a:lnTo>
                      <a:pt x="3186" y="516"/>
                    </a:lnTo>
                    <a:lnTo>
                      <a:pt x="3144" y="528"/>
                    </a:lnTo>
                    <a:lnTo>
                      <a:pt x="3132" y="534"/>
                    </a:lnTo>
                    <a:lnTo>
                      <a:pt x="3126" y="540"/>
                    </a:lnTo>
                    <a:lnTo>
                      <a:pt x="3132" y="540"/>
                    </a:lnTo>
                    <a:lnTo>
                      <a:pt x="3150" y="558"/>
                    </a:lnTo>
                    <a:lnTo>
                      <a:pt x="3156" y="570"/>
                    </a:lnTo>
                    <a:lnTo>
                      <a:pt x="3156" y="576"/>
                    </a:lnTo>
                    <a:lnTo>
                      <a:pt x="3138" y="582"/>
                    </a:lnTo>
                    <a:lnTo>
                      <a:pt x="3120" y="570"/>
                    </a:lnTo>
                    <a:lnTo>
                      <a:pt x="3090" y="564"/>
                    </a:lnTo>
                    <a:lnTo>
                      <a:pt x="3048" y="570"/>
                    </a:lnTo>
                    <a:lnTo>
                      <a:pt x="3066" y="606"/>
                    </a:lnTo>
                    <a:lnTo>
                      <a:pt x="3072" y="612"/>
                    </a:lnTo>
                    <a:lnTo>
                      <a:pt x="3084" y="618"/>
                    </a:lnTo>
                    <a:lnTo>
                      <a:pt x="3102" y="624"/>
                    </a:lnTo>
                    <a:lnTo>
                      <a:pt x="3114" y="630"/>
                    </a:lnTo>
                    <a:lnTo>
                      <a:pt x="3120" y="642"/>
                    </a:lnTo>
                    <a:lnTo>
                      <a:pt x="3120" y="654"/>
                    </a:lnTo>
                    <a:lnTo>
                      <a:pt x="3126" y="666"/>
                    </a:lnTo>
                    <a:lnTo>
                      <a:pt x="3126" y="678"/>
                    </a:lnTo>
                    <a:lnTo>
                      <a:pt x="3144" y="678"/>
                    </a:lnTo>
                    <a:lnTo>
                      <a:pt x="3228" y="666"/>
                    </a:lnTo>
                    <a:lnTo>
                      <a:pt x="3264" y="660"/>
                    </a:lnTo>
                    <a:lnTo>
                      <a:pt x="3276" y="654"/>
                    </a:lnTo>
                    <a:lnTo>
                      <a:pt x="3282" y="642"/>
                    </a:lnTo>
                    <a:lnTo>
                      <a:pt x="3288" y="624"/>
                    </a:lnTo>
                    <a:lnTo>
                      <a:pt x="3300" y="600"/>
                    </a:lnTo>
                    <a:lnTo>
                      <a:pt x="3300" y="588"/>
                    </a:lnTo>
                    <a:lnTo>
                      <a:pt x="3228" y="576"/>
                    </a:lnTo>
                    <a:lnTo>
                      <a:pt x="3240" y="570"/>
                    </a:lnTo>
                    <a:lnTo>
                      <a:pt x="3348" y="534"/>
                    </a:lnTo>
                    <a:lnTo>
                      <a:pt x="3360" y="528"/>
                    </a:lnTo>
                    <a:lnTo>
                      <a:pt x="3354" y="522"/>
                    </a:lnTo>
                    <a:lnTo>
                      <a:pt x="3342" y="516"/>
                    </a:lnTo>
                    <a:lnTo>
                      <a:pt x="3324" y="510"/>
                    </a:lnTo>
                    <a:lnTo>
                      <a:pt x="3312" y="510"/>
                    </a:lnTo>
                    <a:lnTo>
                      <a:pt x="3300" y="504"/>
                    </a:lnTo>
                    <a:lnTo>
                      <a:pt x="3288" y="504"/>
                    </a:lnTo>
                    <a:close/>
                    <a:moveTo>
                      <a:pt x="2898" y="744"/>
                    </a:moveTo>
                    <a:lnTo>
                      <a:pt x="2880" y="738"/>
                    </a:lnTo>
                    <a:lnTo>
                      <a:pt x="2796" y="738"/>
                    </a:lnTo>
                    <a:lnTo>
                      <a:pt x="2874" y="696"/>
                    </a:lnTo>
                    <a:lnTo>
                      <a:pt x="2880" y="684"/>
                    </a:lnTo>
                    <a:lnTo>
                      <a:pt x="2886" y="654"/>
                    </a:lnTo>
                    <a:lnTo>
                      <a:pt x="2898" y="624"/>
                    </a:lnTo>
                    <a:lnTo>
                      <a:pt x="2898" y="588"/>
                    </a:lnTo>
                    <a:lnTo>
                      <a:pt x="2880" y="570"/>
                    </a:lnTo>
                    <a:lnTo>
                      <a:pt x="2850" y="570"/>
                    </a:lnTo>
                    <a:lnTo>
                      <a:pt x="2814" y="576"/>
                    </a:lnTo>
                    <a:lnTo>
                      <a:pt x="2796" y="582"/>
                    </a:lnTo>
                    <a:lnTo>
                      <a:pt x="2784" y="588"/>
                    </a:lnTo>
                    <a:lnTo>
                      <a:pt x="2784" y="594"/>
                    </a:lnTo>
                    <a:lnTo>
                      <a:pt x="2766" y="612"/>
                    </a:lnTo>
                    <a:lnTo>
                      <a:pt x="2760" y="630"/>
                    </a:lnTo>
                    <a:lnTo>
                      <a:pt x="2736" y="654"/>
                    </a:lnTo>
                    <a:lnTo>
                      <a:pt x="2718" y="666"/>
                    </a:lnTo>
                    <a:lnTo>
                      <a:pt x="2706" y="672"/>
                    </a:lnTo>
                    <a:lnTo>
                      <a:pt x="2700" y="672"/>
                    </a:lnTo>
                    <a:lnTo>
                      <a:pt x="2694" y="666"/>
                    </a:lnTo>
                    <a:lnTo>
                      <a:pt x="2694" y="660"/>
                    </a:lnTo>
                    <a:lnTo>
                      <a:pt x="2700" y="654"/>
                    </a:lnTo>
                    <a:lnTo>
                      <a:pt x="2706" y="642"/>
                    </a:lnTo>
                    <a:lnTo>
                      <a:pt x="2712" y="636"/>
                    </a:lnTo>
                    <a:lnTo>
                      <a:pt x="2718" y="624"/>
                    </a:lnTo>
                    <a:lnTo>
                      <a:pt x="2718" y="612"/>
                    </a:lnTo>
                    <a:lnTo>
                      <a:pt x="2724" y="606"/>
                    </a:lnTo>
                    <a:lnTo>
                      <a:pt x="2724" y="600"/>
                    </a:lnTo>
                    <a:lnTo>
                      <a:pt x="2706" y="594"/>
                    </a:lnTo>
                    <a:lnTo>
                      <a:pt x="2676" y="588"/>
                    </a:lnTo>
                    <a:lnTo>
                      <a:pt x="2628" y="588"/>
                    </a:lnTo>
                    <a:lnTo>
                      <a:pt x="2622" y="606"/>
                    </a:lnTo>
                    <a:lnTo>
                      <a:pt x="2610" y="612"/>
                    </a:lnTo>
                    <a:lnTo>
                      <a:pt x="2586" y="618"/>
                    </a:lnTo>
                    <a:lnTo>
                      <a:pt x="2550" y="624"/>
                    </a:lnTo>
                    <a:lnTo>
                      <a:pt x="2508" y="630"/>
                    </a:lnTo>
                    <a:lnTo>
                      <a:pt x="2490" y="630"/>
                    </a:lnTo>
                    <a:lnTo>
                      <a:pt x="2496" y="624"/>
                    </a:lnTo>
                    <a:lnTo>
                      <a:pt x="2508" y="618"/>
                    </a:lnTo>
                    <a:lnTo>
                      <a:pt x="2520" y="618"/>
                    </a:lnTo>
                    <a:lnTo>
                      <a:pt x="2538" y="612"/>
                    </a:lnTo>
                    <a:lnTo>
                      <a:pt x="2550" y="606"/>
                    </a:lnTo>
                    <a:lnTo>
                      <a:pt x="2586" y="594"/>
                    </a:lnTo>
                    <a:lnTo>
                      <a:pt x="2598" y="588"/>
                    </a:lnTo>
                    <a:lnTo>
                      <a:pt x="2604" y="588"/>
                    </a:lnTo>
                    <a:lnTo>
                      <a:pt x="2604" y="582"/>
                    </a:lnTo>
                    <a:lnTo>
                      <a:pt x="2592" y="576"/>
                    </a:lnTo>
                    <a:lnTo>
                      <a:pt x="2556" y="576"/>
                    </a:lnTo>
                    <a:lnTo>
                      <a:pt x="2496" y="594"/>
                    </a:lnTo>
                    <a:lnTo>
                      <a:pt x="2460" y="600"/>
                    </a:lnTo>
                    <a:lnTo>
                      <a:pt x="2466" y="594"/>
                    </a:lnTo>
                    <a:lnTo>
                      <a:pt x="2478" y="588"/>
                    </a:lnTo>
                    <a:lnTo>
                      <a:pt x="2490" y="576"/>
                    </a:lnTo>
                    <a:lnTo>
                      <a:pt x="2502" y="570"/>
                    </a:lnTo>
                    <a:lnTo>
                      <a:pt x="2514" y="558"/>
                    </a:lnTo>
                    <a:lnTo>
                      <a:pt x="2508" y="558"/>
                    </a:lnTo>
                    <a:lnTo>
                      <a:pt x="2508" y="552"/>
                    </a:lnTo>
                    <a:lnTo>
                      <a:pt x="2496" y="552"/>
                    </a:lnTo>
                    <a:lnTo>
                      <a:pt x="2346" y="600"/>
                    </a:lnTo>
                    <a:lnTo>
                      <a:pt x="2328" y="600"/>
                    </a:lnTo>
                    <a:lnTo>
                      <a:pt x="2244" y="624"/>
                    </a:lnTo>
                    <a:lnTo>
                      <a:pt x="2250" y="642"/>
                    </a:lnTo>
                    <a:lnTo>
                      <a:pt x="2190" y="660"/>
                    </a:lnTo>
                    <a:lnTo>
                      <a:pt x="2172" y="678"/>
                    </a:lnTo>
                    <a:lnTo>
                      <a:pt x="2202" y="690"/>
                    </a:lnTo>
                    <a:lnTo>
                      <a:pt x="2208" y="684"/>
                    </a:lnTo>
                    <a:lnTo>
                      <a:pt x="2220" y="678"/>
                    </a:lnTo>
                    <a:lnTo>
                      <a:pt x="2238" y="678"/>
                    </a:lnTo>
                    <a:lnTo>
                      <a:pt x="2244" y="684"/>
                    </a:lnTo>
                    <a:lnTo>
                      <a:pt x="2244" y="690"/>
                    </a:lnTo>
                    <a:lnTo>
                      <a:pt x="2238" y="696"/>
                    </a:lnTo>
                    <a:lnTo>
                      <a:pt x="2226" y="696"/>
                    </a:lnTo>
                    <a:lnTo>
                      <a:pt x="2208" y="702"/>
                    </a:lnTo>
                    <a:lnTo>
                      <a:pt x="2196" y="702"/>
                    </a:lnTo>
                    <a:lnTo>
                      <a:pt x="2160" y="720"/>
                    </a:lnTo>
                    <a:lnTo>
                      <a:pt x="2166" y="732"/>
                    </a:lnTo>
                    <a:lnTo>
                      <a:pt x="2196" y="732"/>
                    </a:lnTo>
                    <a:lnTo>
                      <a:pt x="2238" y="738"/>
                    </a:lnTo>
                    <a:lnTo>
                      <a:pt x="2322" y="738"/>
                    </a:lnTo>
                    <a:lnTo>
                      <a:pt x="2352" y="744"/>
                    </a:lnTo>
                    <a:lnTo>
                      <a:pt x="2352" y="750"/>
                    </a:lnTo>
                    <a:lnTo>
                      <a:pt x="2322" y="762"/>
                    </a:lnTo>
                    <a:lnTo>
                      <a:pt x="2280" y="762"/>
                    </a:lnTo>
                    <a:lnTo>
                      <a:pt x="2172" y="774"/>
                    </a:lnTo>
                    <a:lnTo>
                      <a:pt x="2136" y="774"/>
                    </a:lnTo>
                    <a:lnTo>
                      <a:pt x="2112" y="786"/>
                    </a:lnTo>
                    <a:lnTo>
                      <a:pt x="2106" y="792"/>
                    </a:lnTo>
                    <a:lnTo>
                      <a:pt x="2118" y="804"/>
                    </a:lnTo>
                    <a:lnTo>
                      <a:pt x="2130" y="810"/>
                    </a:lnTo>
                    <a:lnTo>
                      <a:pt x="2148" y="810"/>
                    </a:lnTo>
                    <a:lnTo>
                      <a:pt x="2160" y="816"/>
                    </a:lnTo>
                    <a:lnTo>
                      <a:pt x="2178" y="822"/>
                    </a:lnTo>
                    <a:lnTo>
                      <a:pt x="2190" y="828"/>
                    </a:lnTo>
                    <a:lnTo>
                      <a:pt x="2190" y="834"/>
                    </a:lnTo>
                    <a:lnTo>
                      <a:pt x="2184" y="840"/>
                    </a:lnTo>
                    <a:lnTo>
                      <a:pt x="2172" y="840"/>
                    </a:lnTo>
                    <a:lnTo>
                      <a:pt x="2154" y="858"/>
                    </a:lnTo>
                    <a:lnTo>
                      <a:pt x="2166" y="870"/>
                    </a:lnTo>
                    <a:lnTo>
                      <a:pt x="2322" y="870"/>
                    </a:lnTo>
                    <a:lnTo>
                      <a:pt x="2370" y="864"/>
                    </a:lnTo>
                    <a:lnTo>
                      <a:pt x="2436" y="858"/>
                    </a:lnTo>
                    <a:lnTo>
                      <a:pt x="2508" y="846"/>
                    </a:lnTo>
                    <a:lnTo>
                      <a:pt x="2574" y="840"/>
                    </a:lnTo>
                    <a:lnTo>
                      <a:pt x="2616" y="828"/>
                    </a:lnTo>
                    <a:lnTo>
                      <a:pt x="2652" y="828"/>
                    </a:lnTo>
                    <a:lnTo>
                      <a:pt x="2736" y="864"/>
                    </a:lnTo>
                    <a:lnTo>
                      <a:pt x="2778" y="876"/>
                    </a:lnTo>
                    <a:lnTo>
                      <a:pt x="2796" y="876"/>
                    </a:lnTo>
                    <a:lnTo>
                      <a:pt x="2814" y="870"/>
                    </a:lnTo>
                    <a:lnTo>
                      <a:pt x="2832" y="852"/>
                    </a:lnTo>
                    <a:lnTo>
                      <a:pt x="2838" y="840"/>
                    </a:lnTo>
                    <a:lnTo>
                      <a:pt x="2844" y="834"/>
                    </a:lnTo>
                    <a:lnTo>
                      <a:pt x="2844" y="822"/>
                    </a:lnTo>
                    <a:lnTo>
                      <a:pt x="2766" y="822"/>
                    </a:lnTo>
                    <a:lnTo>
                      <a:pt x="2802" y="798"/>
                    </a:lnTo>
                    <a:lnTo>
                      <a:pt x="2850" y="798"/>
                    </a:lnTo>
                    <a:lnTo>
                      <a:pt x="2898" y="792"/>
                    </a:lnTo>
                    <a:lnTo>
                      <a:pt x="2910" y="786"/>
                    </a:lnTo>
                    <a:lnTo>
                      <a:pt x="2916" y="786"/>
                    </a:lnTo>
                    <a:lnTo>
                      <a:pt x="2922" y="780"/>
                    </a:lnTo>
                    <a:lnTo>
                      <a:pt x="2916" y="768"/>
                    </a:lnTo>
                    <a:lnTo>
                      <a:pt x="2898" y="750"/>
                    </a:lnTo>
                    <a:lnTo>
                      <a:pt x="2898" y="744"/>
                    </a:lnTo>
                    <a:close/>
                    <a:moveTo>
                      <a:pt x="2868" y="882"/>
                    </a:moveTo>
                    <a:lnTo>
                      <a:pt x="2886" y="882"/>
                    </a:lnTo>
                    <a:lnTo>
                      <a:pt x="2904" y="876"/>
                    </a:lnTo>
                    <a:lnTo>
                      <a:pt x="2910" y="870"/>
                    </a:lnTo>
                    <a:lnTo>
                      <a:pt x="2910" y="864"/>
                    </a:lnTo>
                    <a:lnTo>
                      <a:pt x="2904" y="858"/>
                    </a:lnTo>
                    <a:lnTo>
                      <a:pt x="2880" y="858"/>
                    </a:lnTo>
                    <a:lnTo>
                      <a:pt x="2868" y="870"/>
                    </a:lnTo>
                    <a:lnTo>
                      <a:pt x="2868" y="882"/>
                    </a:lnTo>
                    <a:close/>
                    <a:moveTo>
                      <a:pt x="3276" y="330"/>
                    </a:moveTo>
                    <a:lnTo>
                      <a:pt x="3288" y="330"/>
                    </a:lnTo>
                    <a:lnTo>
                      <a:pt x="3294" y="324"/>
                    </a:lnTo>
                    <a:lnTo>
                      <a:pt x="3300" y="312"/>
                    </a:lnTo>
                    <a:lnTo>
                      <a:pt x="3300" y="306"/>
                    </a:lnTo>
                    <a:lnTo>
                      <a:pt x="3294" y="294"/>
                    </a:lnTo>
                    <a:lnTo>
                      <a:pt x="3288" y="288"/>
                    </a:lnTo>
                    <a:lnTo>
                      <a:pt x="3276" y="288"/>
                    </a:lnTo>
                    <a:lnTo>
                      <a:pt x="3270" y="300"/>
                    </a:lnTo>
                    <a:lnTo>
                      <a:pt x="3264" y="306"/>
                    </a:lnTo>
                    <a:lnTo>
                      <a:pt x="3264" y="324"/>
                    </a:lnTo>
                    <a:lnTo>
                      <a:pt x="3270" y="330"/>
                    </a:lnTo>
                    <a:lnTo>
                      <a:pt x="3276" y="330"/>
                    </a:lnTo>
                    <a:close/>
                    <a:moveTo>
                      <a:pt x="3462" y="228"/>
                    </a:moveTo>
                    <a:lnTo>
                      <a:pt x="3450" y="240"/>
                    </a:lnTo>
                    <a:lnTo>
                      <a:pt x="3450" y="252"/>
                    </a:lnTo>
                    <a:lnTo>
                      <a:pt x="3456" y="258"/>
                    </a:lnTo>
                    <a:lnTo>
                      <a:pt x="3528" y="258"/>
                    </a:lnTo>
                    <a:lnTo>
                      <a:pt x="3546" y="276"/>
                    </a:lnTo>
                    <a:lnTo>
                      <a:pt x="3558" y="282"/>
                    </a:lnTo>
                    <a:lnTo>
                      <a:pt x="3588" y="282"/>
                    </a:lnTo>
                    <a:lnTo>
                      <a:pt x="3612" y="270"/>
                    </a:lnTo>
                    <a:lnTo>
                      <a:pt x="3618" y="264"/>
                    </a:lnTo>
                    <a:lnTo>
                      <a:pt x="3606" y="252"/>
                    </a:lnTo>
                    <a:lnTo>
                      <a:pt x="3636" y="246"/>
                    </a:lnTo>
                    <a:lnTo>
                      <a:pt x="3594" y="210"/>
                    </a:lnTo>
                    <a:lnTo>
                      <a:pt x="3552" y="216"/>
                    </a:lnTo>
                    <a:lnTo>
                      <a:pt x="3534" y="198"/>
                    </a:lnTo>
                    <a:lnTo>
                      <a:pt x="3450" y="198"/>
                    </a:lnTo>
                    <a:lnTo>
                      <a:pt x="3438" y="204"/>
                    </a:lnTo>
                    <a:lnTo>
                      <a:pt x="3426" y="204"/>
                    </a:lnTo>
                    <a:lnTo>
                      <a:pt x="3420" y="210"/>
                    </a:lnTo>
                    <a:lnTo>
                      <a:pt x="3438" y="228"/>
                    </a:lnTo>
                    <a:lnTo>
                      <a:pt x="3462" y="228"/>
                    </a:lnTo>
                    <a:close/>
                    <a:moveTo>
                      <a:pt x="3432" y="1302"/>
                    </a:moveTo>
                    <a:lnTo>
                      <a:pt x="3408" y="1326"/>
                    </a:lnTo>
                    <a:lnTo>
                      <a:pt x="3408" y="1344"/>
                    </a:lnTo>
                    <a:lnTo>
                      <a:pt x="3438" y="1344"/>
                    </a:lnTo>
                    <a:lnTo>
                      <a:pt x="3462" y="1332"/>
                    </a:lnTo>
                    <a:lnTo>
                      <a:pt x="3468" y="1332"/>
                    </a:lnTo>
                    <a:lnTo>
                      <a:pt x="3480" y="1326"/>
                    </a:lnTo>
                    <a:lnTo>
                      <a:pt x="3486" y="1326"/>
                    </a:lnTo>
                    <a:lnTo>
                      <a:pt x="3504" y="1308"/>
                    </a:lnTo>
                    <a:lnTo>
                      <a:pt x="3516" y="1290"/>
                    </a:lnTo>
                    <a:lnTo>
                      <a:pt x="3516" y="1266"/>
                    </a:lnTo>
                    <a:lnTo>
                      <a:pt x="3510" y="1260"/>
                    </a:lnTo>
                    <a:lnTo>
                      <a:pt x="3498" y="1260"/>
                    </a:lnTo>
                    <a:lnTo>
                      <a:pt x="3480" y="1266"/>
                    </a:lnTo>
                    <a:lnTo>
                      <a:pt x="3432" y="1302"/>
                    </a:lnTo>
                    <a:close/>
                    <a:moveTo>
                      <a:pt x="4416" y="1392"/>
                    </a:moveTo>
                    <a:lnTo>
                      <a:pt x="4428" y="1380"/>
                    </a:lnTo>
                    <a:lnTo>
                      <a:pt x="4428" y="1374"/>
                    </a:lnTo>
                    <a:lnTo>
                      <a:pt x="4386" y="1374"/>
                    </a:lnTo>
                    <a:lnTo>
                      <a:pt x="4386" y="1380"/>
                    </a:lnTo>
                    <a:lnTo>
                      <a:pt x="4404" y="1398"/>
                    </a:lnTo>
                    <a:lnTo>
                      <a:pt x="4416" y="1392"/>
                    </a:lnTo>
                    <a:close/>
                    <a:moveTo>
                      <a:pt x="3120" y="2034"/>
                    </a:moveTo>
                    <a:lnTo>
                      <a:pt x="3132" y="2034"/>
                    </a:lnTo>
                    <a:lnTo>
                      <a:pt x="3138" y="2028"/>
                    </a:lnTo>
                    <a:lnTo>
                      <a:pt x="3132" y="2022"/>
                    </a:lnTo>
                    <a:lnTo>
                      <a:pt x="3120" y="2016"/>
                    </a:lnTo>
                    <a:lnTo>
                      <a:pt x="3114" y="2010"/>
                    </a:lnTo>
                    <a:lnTo>
                      <a:pt x="3108" y="2010"/>
                    </a:lnTo>
                    <a:lnTo>
                      <a:pt x="3090" y="2016"/>
                    </a:lnTo>
                    <a:lnTo>
                      <a:pt x="3078" y="2022"/>
                    </a:lnTo>
                    <a:lnTo>
                      <a:pt x="3072" y="2022"/>
                    </a:lnTo>
                    <a:lnTo>
                      <a:pt x="3072" y="2028"/>
                    </a:lnTo>
                    <a:lnTo>
                      <a:pt x="3078" y="2034"/>
                    </a:lnTo>
                    <a:lnTo>
                      <a:pt x="3120" y="2034"/>
                    </a:lnTo>
                    <a:close/>
                    <a:moveTo>
                      <a:pt x="4758" y="996"/>
                    </a:moveTo>
                    <a:lnTo>
                      <a:pt x="4746" y="996"/>
                    </a:lnTo>
                    <a:lnTo>
                      <a:pt x="4734" y="984"/>
                    </a:lnTo>
                    <a:lnTo>
                      <a:pt x="4704" y="1008"/>
                    </a:lnTo>
                    <a:lnTo>
                      <a:pt x="4704" y="978"/>
                    </a:lnTo>
                    <a:lnTo>
                      <a:pt x="4662" y="978"/>
                    </a:lnTo>
                    <a:lnTo>
                      <a:pt x="4668" y="978"/>
                    </a:lnTo>
                    <a:lnTo>
                      <a:pt x="4674" y="972"/>
                    </a:lnTo>
                    <a:lnTo>
                      <a:pt x="4686" y="972"/>
                    </a:lnTo>
                    <a:lnTo>
                      <a:pt x="4698" y="966"/>
                    </a:lnTo>
                    <a:lnTo>
                      <a:pt x="4704" y="954"/>
                    </a:lnTo>
                    <a:lnTo>
                      <a:pt x="4704" y="948"/>
                    </a:lnTo>
                    <a:lnTo>
                      <a:pt x="4698" y="942"/>
                    </a:lnTo>
                    <a:lnTo>
                      <a:pt x="4680" y="942"/>
                    </a:lnTo>
                    <a:lnTo>
                      <a:pt x="4668" y="936"/>
                    </a:lnTo>
                    <a:lnTo>
                      <a:pt x="4650" y="936"/>
                    </a:lnTo>
                    <a:lnTo>
                      <a:pt x="4632" y="930"/>
                    </a:lnTo>
                    <a:lnTo>
                      <a:pt x="4620" y="930"/>
                    </a:lnTo>
                    <a:lnTo>
                      <a:pt x="4614" y="918"/>
                    </a:lnTo>
                    <a:lnTo>
                      <a:pt x="4566" y="912"/>
                    </a:lnTo>
                    <a:lnTo>
                      <a:pt x="4500" y="870"/>
                    </a:lnTo>
                    <a:lnTo>
                      <a:pt x="4566" y="864"/>
                    </a:lnTo>
                    <a:lnTo>
                      <a:pt x="4536" y="840"/>
                    </a:lnTo>
                    <a:lnTo>
                      <a:pt x="4542" y="840"/>
                    </a:lnTo>
                    <a:lnTo>
                      <a:pt x="4548" y="834"/>
                    </a:lnTo>
                    <a:lnTo>
                      <a:pt x="4584" y="834"/>
                    </a:lnTo>
                    <a:lnTo>
                      <a:pt x="4596" y="840"/>
                    </a:lnTo>
                    <a:lnTo>
                      <a:pt x="4638" y="840"/>
                    </a:lnTo>
                    <a:lnTo>
                      <a:pt x="4638" y="834"/>
                    </a:lnTo>
                    <a:lnTo>
                      <a:pt x="4632" y="828"/>
                    </a:lnTo>
                    <a:lnTo>
                      <a:pt x="4614" y="822"/>
                    </a:lnTo>
                    <a:lnTo>
                      <a:pt x="4596" y="822"/>
                    </a:lnTo>
                    <a:lnTo>
                      <a:pt x="4578" y="816"/>
                    </a:lnTo>
                    <a:lnTo>
                      <a:pt x="4518" y="816"/>
                    </a:lnTo>
                    <a:lnTo>
                      <a:pt x="4536" y="816"/>
                    </a:lnTo>
                    <a:lnTo>
                      <a:pt x="4620" y="804"/>
                    </a:lnTo>
                    <a:lnTo>
                      <a:pt x="4638" y="798"/>
                    </a:lnTo>
                    <a:lnTo>
                      <a:pt x="4638" y="792"/>
                    </a:lnTo>
                    <a:lnTo>
                      <a:pt x="4632" y="792"/>
                    </a:lnTo>
                    <a:lnTo>
                      <a:pt x="4626" y="786"/>
                    </a:lnTo>
                    <a:lnTo>
                      <a:pt x="4608" y="786"/>
                    </a:lnTo>
                    <a:lnTo>
                      <a:pt x="4500" y="798"/>
                    </a:lnTo>
                    <a:lnTo>
                      <a:pt x="4560" y="762"/>
                    </a:lnTo>
                    <a:lnTo>
                      <a:pt x="4620" y="762"/>
                    </a:lnTo>
                    <a:lnTo>
                      <a:pt x="4626" y="756"/>
                    </a:lnTo>
                    <a:lnTo>
                      <a:pt x="4620" y="750"/>
                    </a:lnTo>
                    <a:lnTo>
                      <a:pt x="4584" y="738"/>
                    </a:lnTo>
                    <a:lnTo>
                      <a:pt x="4572" y="732"/>
                    </a:lnTo>
                    <a:lnTo>
                      <a:pt x="4554" y="732"/>
                    </a:lnTo>
                    <a:lnTo>
                      <a:pt x="4518" y="750"/>
                    </a:lnTo>
                    <a:lnTo>
                      <a:pt x="4500" y="744"/>
                    </a:lnTo>
                    <a:lnTo>
                      <a:pt x="4458" y="774"/>
                    </a:lnTo>
                    <a:lnTo>
                      <a:pt x="4464" y="756"/>
                    </a:lnTo>
                    <a:lnTo>
                      <a:pt x="4440" y="774"/>
                    </a:lnTo>
                    <a:lnTo>
                      <a:pt x="4464" y="744"/>
                    </a:lnTo>
                    <a:lnTo>
                      <a:pt x="4500" y="744"/>
                    </a:lnTo>
                    <a:lnTo>
                      <a:pt x="4506" y="738"/>
                    </a:lnTo>
                    <a:lnTo>
                      <a:pt x="4518" y="714"/>
                    </a:lnTo>
                    <a:lnTo>
                      <a:pt x="4518" y="708"/>
                    </a:lnTo>
                    <a:lnTo>
                      <a:pt x="4512" y="702"/>
                    </a:lnTo>
                    <a:lnTo>
                      <a:pt x="4506" y="708"/>
                    </a:lnTo>
                    <a:lnTo>
                      <a:pt x="4494" y="714"/>
                    </a:lnTo>
                    <a:lnTo>
                      <a:pt x="4488" y="726"/>
                    </a:lnTo>
                    <a:lnTo>
                      <a:pt x="4452" y="726"/>
                    </a:lnTo>
                    <a:lnTo>
                      <a:pt x="4428" y="738"/>
                    </a:lnTo>
                    <a:lnTo>
                      <a:pt x="4452" y="708"/>
                    </a:lnTo>
                    <a:lnTo>
                      <a:pt x="4482" y="708"/>
                    </a:lnTo>
                    <a:lnTo>
                      <a:pt x="4494" y="702"/>
                    </a:lnTo>
                    <a:lnTo>
                      <a:pt x="4500" y="702"/>
                    </a:lnTo>
                    <a:lnTo>
                      <a:pt x="4506" y="696"/>
                    </a:lnTo>
                    <a:lnTo>
                      <a:pt x="4506" y="690"/>
                    </a:lnTo>
                    <a:lnTo>
                      <a:pt x="4500" y="684"/>
                    </a:lnTo>
                    <a:lnTo>
                      <a:pt x="4458" y="684"/>
                    </a:lnTo>
                    <a:lnTo>
                      <a:pt x="4446" y="690"/>
                    </a:lnTo>
                    <a:lnTo>
                      <a:pt x="4428" y="696"/>
                    </a:lnTo>
                    <a:lnTo>
                      <a:pt x="4422" y="702"/>
                    </a:lnTo>
                    <a:lnTo>
                      <a:pt x="4416" y="702"/>
                    </a:lnTo>
                    <a:lnTo>
                      <a:pt x="4404" y="684"/>
                    </a:lnTo>
                    <a:lnTo>
                      <a:pt x="4380" y="702"/>
                    </a:lnTo>
                    <a:lnTo>
                      <a:pt x="4398" y="672"/>
                    </a:lnTo>
                    <a:lnTo>
                      <a:pt x="4344" y="696"/>
                    </a:lnTo>
                    <a:lnTo>
                      <a:pt x="4344" y="672"/>
                    </a:lnTo>
                    <a:lnTo>
                      <a:pt x="4350" y="672"/>
                    </a:lnTo>
                    <a:lnTo>
                      <a:pt x="4356" y="666"/>
                    </a:lnTo>
                    <a:lnTo>
                      <a:pt x="4368" y="666"/>
                    </a:lnTo>
                    <a:lnTo>
                      <a:pt x="4386" y="660"/>
                    </a:lnTo>
                    <a:lnTo>
                      <a:pt x="4392" y="660"/>
                    </a:lnTo>
                    <a:lnTo>
                      <a:pt x="4398" y="654"/>
                    </a:lnTo>
                    <a:lnTo>
                      <a:pt x="4356" y="654"/>
                    </a:lnTo>
                    <a:lnTo>
                      <a:pt x="4338" y="660"/>
                    </a:lnTo>
                    <a:lnTo>
                      <a:pt x="4326" y="660"/>
                    </a:lnTo>
                    <a:lnTo>
                      <a:pt x="4320" y="648"/>
                    </a:lnTo>
                    <a:lnTo>
                      <a:pt x="4332" y="648"/>
                    </a:lnTo>
                    <a:lnTo>
                      <a:pt x="4356" y="636"/>
                    </a:lnTo>
                    <a:lnTo>
                      <a:pt x="4368" y="636"/>
                    </a:lnTo>
                    <a:lnTo>
                      <a:pt x="4380" y="630"/>
                    </a:lnTo>
                    <a:lnTo>
                      <a:pt x="4386" y="624"/>
                    </a:lnTo>
                    <a:lnTo>
                      <a:pt x="4368" y="618"/>
                    </a:lnTo>
                    <a:lnTo>
                      <a:pt x="4326" y="612"/>
                    </a:lnTo>
                    <a:lnTo>
                      <a:pt x="4290" y="612"/>
                    </a:lnTo>
                    <a:lnTo>
                      <a:pt x="4266" y="606"/>
                    </a:lnTo>
                    <a:lnTo>
                      <a:pt x="4236" y="606"/>
                    </a:lnTo>
                    <a:lnTo>
                      <a:pt x="4230" y="612"/>
                    </a:lnTo>
                    <a:lnTo>
                      <a:pt x="4230" y="618"/>
                    </a:lnTo>
                    <a:lnTo>
                      <a:pt x="4236" y="624"/>
                    </a:lnTo>
                    <a:lnTo>
                      <a:pt x="4242" y="636"/>
                    </a:lnTo>
                    <a:lnTo>
                      <a:pt x="4206" y="630"/>
                    </a:lnTo>
                    <a:lnTo>
                      <a:pt x="4212" y="660"/>
                    </a:lnTo>
                    <a:lnTo>
                      <a:pt x="4194" y="636"/>
                    </a:lnTo>
                    <a:lnTo>
                      <a:pt x="4152" y="660"/>
                    </a:lnTo>
                    <a:lnTo>
                      <a:pt x="4158" y="654"/>
                    </a:lnTo>
                    <a:lnTo>
                      <a:pt x="4158" y="636"/>
                    </a:lnTo>
                    <a:lnTo>
                      <a:pt x="4152" y="630"/>
                    </a:lnTo>
                    <a:lnTo>
                      <a:pt x="4140" y="630"/>
                    </a:lnTo>
                    <a:lnTo>
                      <a:pt x="4122" y="636"/>
                    </a:lnTo>
                    <a:lnTo>
                      <a:pt x="4110" y="642"/>
                    </a:lnTo>
                    <a:lnTo>
                      <a:pt x="4098" y="642"/>
                    </a:lnTo>
                    <a:lnTo>
                      <a:pt x="4086" y="648"/>
                    </a:lnTo>
                    <a:lnTo>
                      <a:pt x="4080" y="654"/>
                    </a:lnTo>
                    <a:lnTo>
                      <a:pt x="4074" y="654"/>
                    </a:lnTo>
                    <a:lnTo>
                      <a:pt x="4092" y="618"/>
                    </a:lnTo>
                    <a:lnTo>
                      <a:pt x="4110" y="618"/>
                    </a:lnTo>
                    <a:lnTo>
                      <a:pt x="4122" y="612"/>
                    </a:lnTo>
                    <a:lnTo>
                      <a:pt x="4134" y="612"/>
                    </a:lnTo>
                    <a:lnTo>
                      <a:pt x="4146" y="606"/>
                    </a:lnTo>
                    <a:lnTo>
                      <a:pt x="4152" y="600"/>
                    </a:lnTo>
                    <a:lnTo>
                      <a:pt x="4152" y="594"/>
                    </a:lnTo>
                    <a:lnTo>
                      <a:pt x="4146" y="582"/>
                    </a:lnTo>
                    <a:lnTo>
                      <a:pt x="4134" y="570"/>
                    </a:lnTo>
                    <a:lnTo>
                      <a:pt x="4152" y="552"/>
                    </a:lnTo>
                    <a:lnTo>
                      <a:pt x="4152" y="540"/>
                    </a:lnTo>
                    <a:lnTo>
                      <a:pt x="4050" y="540"/>
                    </a:lnTo>
                    <a:lnTo>
                      <a:pt x="4026" y="558"/>
                    </a:lnTo>
                    <a:lnTo>
                      <a:pt x="3942" y="558"/>
                    </a:lnTo>
                    <a:lnTo>
                      <a:pt x="3948" y="576"/>
                    </a:lnTo>
                    <a:lnTo>
                      <a:pt x="3978" y="588"/>
                    </a:lnTo>
                    <a:lnTo>
                      <a:pt x="3936" y="576"/>
                    </a:lnTo>
                    <a:lnTo>
                      <a:pt x="3948" y="600"/>
                    </a:lnTo>
                    <a:lnTo>
                      <a:pt x="3936" y="594"/>
                    </a:lnTo>
                    <a:lnTo>
                      <a:pt x="3930" y="594"/>
                    </a:lnTo>
                    <a:lnTo>
                      <a:pt x="3918" y="588"/>
                    </a:lnTo>
                    <a:lnTo>
                      <a:pt x="3894" y="588"/>
                    </a:lnTo>
                    <a:lnTo>
                      <a:pt x="3882" y="594"/>
                    </a:lnTo>
                    <a:lnTo>
                      <a:pt x="3876" y="606"/>
                    </a:lnTo>
                    <a:lnTo>
                      <a:pt x="3882" y="612"/>
                    </a:lnTo>
                    <a:lnTo>
                      <a:pt x="3888" y="624"/>
                    </a:lnTo>
                    <a:lnTo>
                      <a:pt x="3894" y="630"/>
                    </a:lnTo>
                    <a:lnTo>
                      <a:pt x="3900" y="660"/>
                    </a:lnTo>
                    <a:lnTo>
                      <a:pt x="3894" y="660"/>
                    </a:lnTo>
                    <a:lnTo>
                      <a:pt x="3888" y="654"/>
                    </a:lnTo>
                    <a:lnTo>
                      <a:pt x="3864" y="642"/>
                    </a:lnTo>
                    <a:lnTo>
                      <a:pt x="3852" y="642"/>
                    </a:lnTo>
                    <a:lnTo>
                      <a:pt x="3828" y="666"/>
                    </a:lnTo>
                    <a:lnTo>
                      <a:pt x="3828" y="678"/>
                    </a:lnTo>
                    <a:lnTo>
                      <a:pt x="3846" y="678"/>
                    </a:lnTo>
                    <a:lnTo>
                      <a:pt x="3858" y="690"/>
                    </a:lnTo>
                    <a:lnTo>
                      <a:pt x="3810" y="714"/>
                    </a:lnTo>
                    <a:lnTo>
                      <a:pt x="3750" y="720"/>
                    </a:lnTo>
                    <a:lnTo>
                      <a:pt x="3762" y="720"/>
                    </a:lnTo>
                    <a:lnTo>
                      <a:pt x="3798" y="702"/>
                    </a:lnTo>
                    <a:lnTo>
                      <a:pt x="3810" y="690"/>
                    </a:lnTo>
                    <a:lnTo>
                      <a:pt x="3810" y="684"/>
                    </a:lnTo>
                    <a:lnTo>
                      <a:pt x="3804" y="684"/>
                    </a:lnTo>
                    <a:lnTo>
                      <a:pt x="3792" y="672"/>
                    </a:lnTo>
                    <a:lnTo>
                      <a:pt x="3786" y="672"/>
                    </a:lnTo>
                    <a:lnTo>
                      <a:pt x="3786" y="660"/>
                    </a:lnTo>
                    <a:lnTo>
                      <a:pt x="3804" y="642"/>
                    </a:lnTo>
                    <a:lnTo>
                      <a:pt x="3816" y="636"/>
                    </a:lnTo>
                    <a:lnTo>
                      <a:pt x="3828" y="636"/>
                    </a:lnTo>
                    <a:lnTo>
                      <a:pt x="3828" y="606"/>
                    </a:lnTo>
                    <a:lnTo>
                      <a:pt x="3840" y="600"/>
                    </a:lnTo>
                    <a:lnTo>
                      <a:pt x="3858" y="582"/>
                    </a:lnTo>
                    <a:lnTo>
                      <a:pt x="3876" y="576"/>
                    </a:lnTo>
                    <a:lnTo>
                      <a:pt x="3882" y="570"/>
                    </a:lnTo>
                    <a:lnTo>
                      <a:pt x="3894" y="564"/>
                    </a:lnTo>
                    <a:lnTo>
                      <a:pt x="3906" y="564"/>
                    </a:lnTo>
                    <a:lnTo>
                      <a:pt x="3918" y="558"/>
                    </a:lnTo>
                    <a:lnTo>
                      <a:pt x="3936" y="552"/>
                    </a:lnTo>
                    <a:lnTo>
                      <a:pt x="3954" y="552"/>
                    </a:lnTo>
                    <a:lnTo>
                      <a:pt x="3966" y="546"/>
                    </a:lnTo>
                    <a:lnTo>
                      <a:pt x="3972" y="540"/>
                    </a:lnTo>
                    <a:lnTo>
                      <a:pt x="3942" y="534"/>
                    </a:lnTo>
                    <a:lnTo>
                      <a:pt x="3852" y="534"/>
                    </a:lnTo>
                    <a:lnTo>
                      <a:pt x="3822" y="540"/>
                    </a:lnTo>
                    <a:lnTo>
                      <a:pt x="3786" y="558"/>
                    </a:lnTo>
                    <a:lnTo>
                      <a:pt x="3744" y="576"/>
                    </a:lnTo>
                    <a:lnTo>
                      <a:pt x="3720" y="594"/>
                    </a:lnTo>
                    <a:lnTo>
                      <a:pt x="3708" y="600"/>
                    </a:lnTo>
                    <a:lnTo>
                      <a:pt x="3702" y="600"/>
                    </a:lnTo>
                    <a:lnTo>
                      <a:pt x="3696" y="606"/>
                    </a:lnTo>
                    <a:lnTo>
                      <a:pt x="3684" y="606"/>
                    </a:lnTo>
                    <a:lnTo>
                      <a:pt x="3660" y="618"/>
                    </a:lnTo>
                    <a:lnTo>
                      <a:pt x="3654" y="618"/>
                    </a:lnTo>
                    <a:lnTo>
                      <a:pt x="3642" y="624"/>
                    </a:lnTo>
                    <a:lnTo>
                      <a:pt x="3630" y="636"/>
                    </a:lnTo>
                    <a:lnTo>
                      <a:pt x="3618" y="642"/>
                    </a:lnTo>
                    <a:lnTo>
                      <a:pt x="3600" y="660"/>
                    </a:lnTo>
                    <a:lnTo>
                      <a:pt x="3588" y="666"/>
                    </a:lnTo>
                    <a:lnTo>
                      <a:pt x="3582" y="678"/>
                    </a:lnTo>
                    <a:lnTo>
                      <a:pt x="3582" y="684"/>
                    </a:lnTo>
                    <a:lnTo>
                      <a:pt x="3588" y="690"/>
                    </a:lnTo>
                    <a:lnTo>
                      <a:pt x="3612" y="690"/>
                    </a:lnTo>
                    <a:lnTo>
                      <a:pt x="3648" y="696"/>
                    </a:lnTo>
                    <a:lnTo>
                      <a:pt x="3672" y="696"/>
                    </a:lnTo>
                    <a:lnTo>
                      <a:pt x="3684" y="708"/>
                    </a:lnTo>
                    <a:lnTo>
                      <a:pt x="3666" y="714"/>
                    </a:lnTo>
                    <a:lnTo>
                      <a:pt x="3594" y="726"/>
                    </a:lnTo>
                    <a:lnTo>
                      <a:pt x="3570" y="732"/>
                    </a:lnTo>
                    <a:lnTo>
                      <a:pt x="3576" y="738"/>
                    </a:lnTo>
                    <a:lnTo>
                      <a:pt x="3594" y="750"/>
                    </a:lnTo>
                    <a:lnTo>
                      <a:pt x="3630" y="762"/>
                    </a:lnTo>
                    <a:lnTo>
                      <a:pt x="3642" y="768"/>
                    </a:lnTo>
                    <a:lnTo>
                      <a:pt x="3648" y="768"/>
                    </a:lnTo>
                    <a:lnTo>
                      <a:pt x="3690" y="750"/>
                    </a:lnTo>
                    <a:lnTo>
                      <a:pt x="3690" y="762"/>
                    </a:lnTo>
                    <a:lnTo>
                      <a:pt x="3702" y="774"/>
                    </a:lnTo>
                    <a:lnTo>
                      <a:pt x="3744" y="774"/>
                    </a:lnTo>
                    <a:lnTo>
                      <a:pt x="3786" y="780"/>
                    </a:lnTo>
                    <a:lnTo>
                      <a:pt x="3834" y="786"/>
                    </a:lnTo>
                    <a:lnTo>
                      <a:pt x="3876" y="792"/>
                    </a:lnTo>
                    <a:lnTo>
                      <a:pt x="3894" y="792"/>
                    </a:lnTo>
                    <a:lnTo>
                      <a:pt x="3900" y="786"/>
                    </a:lnTo>
                    <a:lnTo>
                      <a:pt x="3894" y="780"/>
                    </a:lnTo>
                    <a:lnTo>
                      <a:pt x="3882" y="774"/>
                    </a:lnTo>
                    <a:lnTo>
                      <a:pt x="3876" y="768"/>
                    </a:lnTo>
                    <a:lnTo>
                      <a:pt x="3894" y="768"/>
                    </a:lnTo>
                    <a:lnTo>
                      <a:pt x="3930" y="774"/>
                    </a:lnTo>
                    <a:lnTo>
                      <a:pt x="3966" y="774"/>
                    </a:lnTo>
                    <a:lnTo>
                      <a:pt x="3990" y="780"/>
                    </a:lnTo>
                    <a:lnTo>
                      <a:pt x="4002" y="780"/>
                    </a:lnTo>
                    <a:lnTo>
                      <a:pt x="4020" y="786"/>
                    </a:lnTo>
                    <a:lnTo>
                      <a:pt x="4032" y="792"/>
                    </a:lnTo>
                    <a:lnTo>
                      <a:pt x="4050" y="792"/>
                    </a:lnTo>
                    <a:lnTo>
                      <a:pt x="4062" y="786"/>
                    </a:lnTo>
                    <a:lnTo>
                      <a:pt x="4062" y="774"/>
                    </a:lnTo>
                    <a:lnTo>
                      <a:pt x="4056" y="768"/>
                    </a:lnTo>
                    <a:lnTo>
                      <a:pt x="4050" y="756"/>
                    </a:lnTo>
                    <a:lnTo>
                      <a:pt x="4044" y="750"/>
                    </a:lnTo>
                    <a:lnTo>
                      <a:pt x="4092" y="738"/>
                    </a:lnTo>
                    <a:lnTo>
                      <a:pt x="4092" y="744"/>
                    </a:lnTo>
                    <a:lnTo>
                      <a:pt x="4098" y="750"/>
                    </a:lnTo>
                    <a:lnTo>
                      <a:pt x="4104" y="762"/>
                    </a:lnTo>
                    <a:lnTo>
                      <a:pt x="4104" y="768"/>
                    </a:lnTo>
                    <a:lnTo>
                      <a:pt x="4110" y="774"/>
                    </a:lnTo>
                    <a:lnTo>
                      <a:pt x="4116" y="774"/>
                    </a:lnTo>
                    <a:lnTo>
                      <a:pt x="4122" y="780"/>
                    </a:lnTo>
                    <a:lnTo>
                      <a:pt x="4134" y="786"/>
                    </a:lnTo>
                    <a:lnTo>
                      <a:pt x="4140" y="792"/>
                    </a:lnTo>
                    <a:lnTo>
                      <a:pt x="4170" y="786"/>
                    </a:lnTo>
                    <a:lnTo>
                      <a:pt x="4170" y="792"/>
                    </a:lnTo>
                    <a:lnTo>
                      <a:pt x="4164" y="798"/>
                    </a:lnTo>
                    <a:lnTo>
                      <a:pt x="4164" y="816"/>
                    </a:lnTo>
                    <a:lnTo>
                      <a:pt x="4170" y="816"/>
                    </a:lnTo>
                    <a:lnTo>
                      <a:pt x="4182" y="822"/>
                    </a:lnTo>
                    <a:lnTo>
                      <a:pt x="4200" y="822"/>
                    </a:lnTo>
                    <a:lnTo>
                      <a:pt x="4206" y="828"/>
                    </a:lnTo>
                    <a:lnTo>
                      <a:pt x="4212" y="828"/>
                    </a:lnTo>
                    <a:lnTo>
                      <a:pt x="4194" y="846"/>
                    </a:lnTo>
                    <a:lnTo>
                      <a:pt x="4194" y="858"/>
                    </a:lnTo>
                    <a:lnTo>
                      <a:pt x="4230" y="858"/>
                    </a:lnTo>
                    <a:lnTo>
                      <a:pt x="4224" y="882"/>
                    </a:lnTo>
                    <a:lnTo>
                      <a:pt x="4236" y="882"/>
                    </a:lnTo>
                    <a:lnTo>
                      <a:pt x="4248" y="888"/>
                    </a:lnTo>
                    <a:lnTo>
                      <a:pt x="4254" y="888"/>
                    </a:lnTo>
                    <a:lnTo>
                      <a:pt x="4278" y="900"/>
                    </a:lnTo>
                    <a:lnTo>
                      <a:pt x="4278" y="924"/>
                    </a:lnTo>
                    <a:lnTo>
                      <a:pt x="4266" y="948"/>
                    </a:lnTo>
                    <a:lnTo>
                      <a:pt x="4254" y="966"/>
                    </a:lnTo>
                    <a:lnTo>
                      <a:pt x="4248" y="978"/>
                    </a:lnTo>
                    <a:lnTo>
                      <a:pt x="4236" y="990"/>
                    </a:lnTo>
                    <a:lnTo>
                      <a:pt x="4218" y="996"/>
                    </a:lnTo>
                    <a:lnTo>
                      <a:pt x="4182" y="1014"/>
                    </a:lnTo>
                    <a:lnTo>
                      <a:pt x="4140" y="1026"/>
                    </a:lnTo>
                    <a:lnTo>
                      <a:pt x="4092" y="1050"/>
                    </a:lnTo>
                    <a:lnTo>
                      <a:pt x="4098" y="1056"/>
                    </a:lnTo>
                    <a:lnTo>
                      <a:pt x="4110" y="1062"/>
                    </a:lnTo>
                    <a:lnTo>
                      <a:pt x="4122" y="1074"/>
                    </a:lnTo>
                    <a:lnTo>
                      <a:pt x="4122" y="1080"/>
                    </a:lnTo>
                    <a:lnTo>
                      <a:pt x="4116" y="1086"/>
                    </a:lnTo>
                    <a:lnTo>
                      <a:pt x="4080" y="1098"/>
                    </a:lnTo>
                    <a:lnTo>
                      <a:pt x="4062" y="1098"/>
                    </a:lnTo>
                    <a:lnTo>
                      <a:pt x="3984" y="1110"/>
                    </a:lnTo>
                    <a:lnTo>
                      <a:pt x="3978" y="1128"/>
                    </a:lnTo>
                    <a:lnTo>
                      <a:pt x="3960" y="1110"/>
                    </a:lnTo>
                    <a:lnTo>
                      <a:pt x="3954" y="1110"/>
                    </a:lnTo>
                    <a:lnTo>
                      <a:pt x="3948" y="1104"/>
                    </a:lnTo>
                    <a:lnTo>
                      <a:pt x="3930" y="1104"/>
                    </a:lnTo>
                    <a:lnTo>
                      <a:pt x="3918" y="1098"/>
                    </a:lnTo>
                    <a:lnTo>
                      <a:pt x="3900" y="1098"/>
                    </a:lnTo>
                    <a:lnTo>
                      <a:pt x="3888" y="1104"/>
                    </a:lnTo>
                    <a:lnTo>
                      <a:pt x="3882" y="1110"/>
                    </a:lnTo>
                    <a:lnTo>
                      <a:pt x="3882" y="1122"/>
                    </a:lnTo>
                    <a:lnTo>
                      <a:pt x="3870" y="1122"/>
                    </a:lnTo>
                    <a:lnTo>
                      <a:pt x="3858" y="1128"/>
                    </a:lnTo>
                    <a:lnTo>
                      <a:pt x="3840" y="1134"/>
                    </a:lnTo>
                    <a:lnTo>
                      <a:pt x="3828" y="1140"/>
                    </a:lnTo>
                    <a:lnTo>
                      <a:pt x="3822" y="1146"/>
                    </a:lnTo>
                    <a:lnTo>
                      <a:pt x="3816" y="1158"/>
                    </a:lnTo>
                    <a:lnTo>
                      <a:pt x="3816" y="1170"/>
                    </a:lnTo>
                    <a:lnTo>
                      <a:pt x="3822" y="1182"/>
                    </a:lnTo>
                    <a:lnTo>
                      <a:pt x="3834" y="1188"/>
                    </a:lnTo>
                    <a:lnTo>
                      <a:pt x="3864" y="1188"/>
                    </a:lnTo>
                    <a:lnTo>
                      <a:pt x="3876" y="1182"/>
                    </a:lnTo>
                    <a:lnTo>
                      <a:pt x="3894" y="1182"/>
                    </a:lnTo>
                    <a:lnTo>
                      <a:pt x="3906" y="1176"/>
                    </a:lnTo>
                    <a:lnTo>
                      <a:pt x="3924" y="1170"/>
                    </a:lnTo>
                    <a:lnTo>
                      <a:pt x="3936" y="1164"/>
                    </a:lnTo>
                    <a:lnTo>
                      <a:pt x="3966" y="1164"/>
                    </a:lnTo>
                    <a:lnTo>
                      <a:pt x="3978" y="1176"/>
                    </a:lnTo>
                    <a:lnTo>
                      <a:pt x="3996" y="1176"/>
                    </a:lnTo>
                    <a:lnTo>
                      <a:pt x="4002" y="1170"/>
                    </a:lnTo>
                    <a:lnTo>
                      <a:pt x="4002" y="1152"/>
                    </a:lnTo>
                    <a:lnTo>
                      <a:pt x="4026" y="1128"/>
                    </a:lnTo>
                    <a:lnTo>
                      <a:pt x="4014" y="1140"/>
                    </a:lnTo>
                    <a:lnTo>
                      <a:pt x="4014" y="1146"/>
                    </a:lnTo>
                    <a:lnTo>
                      <a:pt x="4020" y="1152"/>
                    </a:lnTo>
                    <a:lnTo>
                      <a:pt x="4086" y="1152"/>
                    </a:lnTo>
                    <a:lnTo>
                      <a:pt x="4080" y="1158"/>
                    </a:lnTo>
                    <a:lnTo>
                      <a:pt x="4068" y="1164"/>
                    </a:lnTo>
                    <a:lnTo>
                      <a:pt x="4062" y="1170"/>
                    </a:lnTo>
                    <a:lnTo>
                      <a:pt x="4062" y="1176"/>
                    </a:lnTo>
                    <a:lnTo>
                      <a:pt x="4068" y="1182"/>
                    </a:lnTo>
                    <a:lnTo>
                      <a:pt x="4080" y="1182"/>
                    </a:lnTo>
                    <a:lnTo>
                      <a:pt x="4086" y="1188"/>
                    </a:lnTo>
                    <a:lnTo>
                      <a:pt x="4098" y="1188"/>
                    </a:lnTo>
                    <a:lnTo>
                      <a:pt x="4086" y="1200"/>
                    </a:lnTo>
                    <a:lnTo>
                      <a:pt x="4086" y="1206"/>
                    </a:lnTo>
                    <a:lnTo>
                      <a:pt x="4092" y="1212"/>
                    </a:lnTo>
                    <a:lnTo>
                      <a:pt x="4116" y="1224"/>
                    </a:lnTo>
                    <a:lnTo>
                      <a:pt x="4146" y="1224"/>
                    </a:lnTo>
                    <a:lnTo>
                      <a:pt x="4098" y="1242"/>
                    </a:lnTo>
                    <a:lnTo>
                      <a:pt x="4098" y="1248"/>
                    </a:lnTo>
                    <a:lnTo>
                      <a:pt x="4110" y="1260"/>
                    </a:lnTo>
                    <a:lnTo>
                      <a:pt x="4110" y="1266"/>
                    </a:lnTo>
                    <a:lnTo>
                      <a:pt x="4116" y="1272"/>
                    </a:lnTo>
                    <a:lnTo>
                      <a:pt x="4122" y="1266"/>
                    </a:lnTo>
                    <a:lnTo>
                      <a:pt x="4128" y="1266"/>
                    </a:lnTo>
                    <a:lnTo>
                      <a:pt x="4140" y="1260"/>
                    </a:lnTo>
                    <a:lnTo>
                      <a:pt x="4146" y="1272"/>
                    </a:lnTo>
                    <a:lnTo>
                      <a:pt x="4158" y="1284"/>
                    </a:lnTo>
                    <a:lnTo>
                      <a:pt x="4182" y="1284"/>
                    </a:lnTo>
                    <a:lnTo>
                      <a:pt x="4194" y="1290"/>
                    </a:lnTo>
                    <a:lnTo>
                      <a:pt x="4206" y="1290"/>
                    </a:lnTo>
                    <a:lnTo>
                      <a:pt x="4206" y="1308"/>
                    </a:lnTo>
                    <a:lnTo>
                      <a:pt x="4212" y="1314"/>
                    </a:lnTo>
                    <a:lnTo>
                      <a:pt x="4224" y="1320"/>
                    </a:lnTo>
                    <a:lnTo>
                      <a:pt x="4272" y="1320"/>
                    </a:lnTo>
                    <a:lnTo>
                      <a:pt x="4290" y="1326"/>
                    </a:lnTo>
                    <a:lnTo>
                      <a:pt x="4350" y="1356"/>
                    </a:lnTo>
                    <a:lnTo>
                      <a:pt x="4356" y="1362"/>
                    </a:lnTo>
                    <a:lnTo>
                      <a:pt x="4362" y="1362"/>
                    </a:lnTo>
                    <a:lnTo>
                      <a:pt x="4362" y="1356"/>
                    </a:lnTo>
                    <a:lnTo>
                      <a:pt x="4368" y="1350"/>
                    </a:lnTo>
                    <a:lnTo>
                      <a:pt x="4368" y="1320"/>
                    </a:lnTo>
                    <a:lnTo>
                      <a:pt x="4362" y="1308"/>
                    </a:lnTo>
                    <a:lnTo>
                      <a:pt x="4350" y="1296"/>
                    </a:lnTo>
                    <a:lnTo>
                      <a:pt x="4338" y="1290"/>
                    </a:lnTo>
                    <a:lnTo>
                      <a:pt x="4320" y="1272"/>
                    </a:lnTo>
                    <a:lnTo>
                      <a:pt x="4314" y="1272"/>
                    </a:lnTo>
                    <a:lnTo>
                      <a:pt x="4308" y="1260"/>
                    </a:lnTo>
                    <a:lnTo>
                      <a:pt x="4302" y="1254"/>
                    </a:lnTo>
                    <a:lnTo>
                      <a:pt x="4290" y="1230"/>
                    </a:lnTo>
                    <a:lnTo>
                      <a:pt x="4290" y="1224"/>
                    </a:lnTo>
                    <a:lnTo>
                      <a:pt x="4308" y="1224"/>
                    </a:lnTo>
                    <a:lnTo>
                      <a:pt x="4314" y="1230"/>
                    </a:lnTo>
                    <a:lnTo>
                      <a:pt x="4326" y="1236"/>
                    </a:lnTo>
                    <a:lnTo>
                      <a:pt x="4332" y="1242"/>
                    </a:lnTo>
                    <a:lnTo>
                      <a:pt x="4332" y="1212"/>
                    </a:lnTo>
                    <a:lnTo>
                      <a:pt x="4332" y="1218"/>
                    </a:lnTo>
                    <a:lnTo>
                      <a:pt x="4344" y="1230"/>
                    </a:lnTo>
                    <a:lnTo>
                      <a:pt x="4350" y="1242"/>
                    </a:lnTo>
                    <a:lnTo>
                      <a:pt x="4362" y="1254"/>
                    </a:lnTo>
                    <a:lnTo>
                      <a:pt x="4374" y="1254"/>
                    </a:lnTo>
                    <a:lnTo>
                      <a:pt x="4386" y="1248"/>
                    </a:lnTo>
                    <a:lnTo>
                      <a:pt x="4398" y="1248"/>
                    </a:lnTo>
                    <a:lnTo>
                      <a:pt x="4398" y="1272"/>
                    </a:lnTo>
                    <a:lnTo>
                      <a:pt x="4404" y="1278"/>
                    </a:lnTo>
                    <a:lnTo>
                      <a:pt x="4416" y="1278"/>
                    </a:lnTo>
                    <a:lnTo>
                      <a:pt x="4428" y="1290"/>
                    </a:lnTo>
                    <a:lnTo>
                      <a:pt x="4452" y="1272"/>
                    </a:lnTo>
                    <a:lnTo>
                      <a:pt x="4464" y="1284"/>
                    </a:lnTo>
                    <a:lnTo>
                      <a:pt x="4470" y="1284"/>
                    </a:lnTo>
                    <a:lnTo>
                      <a:pt x="4476" y="1278"/>
                    </a:lnTo>
                    <a:lnTo>
                      <a:pt x="4476" y="1260"/>
                    </a:lnTo>
                    <a:lnTo>
                      <a:pt x="4470" y="1254"/>
                    </a:lnTo>
                    <a:lnTo>
                      <a:pt x="4488" y="1212"/>
                    </a:lnTo>
                    <a:lnTo>
                      <a:pt x="4488" y="1236"/>
                    </a:lnTo>
                    <a:lnTo>
                      <a:pt x="4500" y="1248"/>
                    </a:lnTo>
                    <a:lnTo>
                      <a:pt x="4512" y="1236"/>
                    </a:lnTo>
                    <a:lnTo>
                      <a:pt x="4518" y="1218"/>
                    </a:lnTo>
                    <a:lnTo>
                      <a:pt x="4518" y="1206"/>
                    </a:lnTo>
                    <a:lnTo>
                      <a:pt x="4494" y="1182"/>
                    </a:lnTo>
                    <a:lnTo>
                      <a:pt x="4518" y="1176"/>
                    </a:lnTo>
                    <a:lnTo>
                      <a:pt x="4500" y="1164"/>
                    </a:lnTo>
                    <a:lnTo>
                      <a:pt x="4500" y="1146"/>
                    </a:lnTo>
                    <a:lnTo>
                      <a:pt x="4470" y="1146"/>
                    </a:lnTo>
                    <a:lnTo>
                      <a:pt x="4470" y="1134"/>
                    </a:lnTo>
                    <a:lnTo>
                      <a:pt x="4446" y="1134"/>
                    </a:lnTo>
                    <a:lnTo>
                      <a:pt x="4446" y="1080"/>
                    </a:lnTo>
                    <a:lnTo>
                      <a:pt x="4416" y="1086"/>
                    </a:lnTo>
                    <a:lnTo>
                      <a:pt x="4410" y="1080"/>
                    </a:lnTo>
                    <a:lnTo>
                      <a:pt x="4410" y="1056"/>
                    </a:lnTo>
                    <a:lnTo>
                      <a:pt x="4416" y="1050"/>
                    </a:lnTo>
                    <a:lnTo>
                      <a:pt x="4428" y="1050"/>
                    </a:lnTo>
                    <a:lnTo>
                      <a:pt x="4434" y="1056"/>
                    </a:lnTo>
                    <a:lnTo>
                      <a:pt x="4446" y="1062"/>
                    </a:lnTo>
                    <a:lnTo>
                      <a:pt x="4452" y="1068"/>
                    </a:lnTo>
                    <a:lnTo>
                      <a:pt x="4458" y="1068"/>
                    </a:lnTo>
                    <a:lnTo>
                      <a:pt x="4464" y="1062"/>
                    </a:lnTo>
                    <a:lnTo>
                      <a:pt x="4464" y="1026"/>
                    </a:lnTo>
                    <a:lnTo>
                      <a:pt x="4488" y="1032"/>
                    </a:lnTo>
                    <a:lnTo>
                      <a:pt x="4524" y="1014"/>
                    </a:lnTo>
                    <a:lnTo>
                      <a:pt x="4524" y="1026"/>
                    </a:lnTo>
                    <a:lnTo>
                      <a:pt x="4530" y="1038"/>
                    </a:lnTo>
                    <a:lnTo>
                      <a:pt x="4530" y="1044"/>
                    </a:lnTo>
                    <a:lnTo>
                      <a:pt x="4536" y="1050"/>
                    </a:lnTo>
                    <a:lnTo>
                      <a:pt x="4548" y="1044"/>
                    </a:lnTo>
                    <a:lnTo>
                      <a:pt x="4566" y="1044"/>
                    </a:lnTo>
                    <a:lnTo>
                      <a:pt x="4554" y="1062"/>
                    </a:lnTo>
                    <a:lnTo>
                      <a:pt x="4578" y="1062"/>
                    </a:lnTo>
                    <a:lnTo>
                      <a:pt x="4566" y="1092"/>
                    </a:lnTo>
                    <a:lnTo>
                      <a:pt x="4566" y="1098"/>
                    </a:lnTo>
                    <a:lnTo>
                      <a:pt x="4584" y="1116"/>
                    </a:lnTo>
                    <a:lnTo>
                      <a:pt x="4590" y="1128"/>
                    </a:lnTo>
                    <a:lnTo>
                      <a:pt x="4614" y="1140"/>
                    </a:lnTo>
                    <a:lnTo>
                      <a:pt x="4626" y="1134"/>
                    </a:lnTo>
                    <a:lnTo>
                      <a:pt x="4638" y="1122"/>
                    </a:lnTo>
                    <a:lnTo>
                      <a:pt x="4656" y="1086"/>
                    </a:lnTo>
                    <a:lnTo>
                      <a:pt x="4656" y="1080"/>
                    </a:lnTo>
                    <a:lnTo>
                      <a:pt x="4662" y="1068"/>
                    </a:lnTo>
                    <a:lnTo>
                      <a:pt x="4668" y="1074"/>
                    </a:lnTo>
                    <a:lnTo>
                      <a:pt x="4680" y="1080"/>
                    </a:lnTo>
                    <a:lnTo>
                      <a:pt x="4692" y="1080"/>
                    </a:lnTo>
                    <a:lnTo>
                      <a:pt x="4698" y="1086"/>
                    </a:lnTo>
                    <a:lnTo>
                      <a:pt x="4710" y="1080"/>
                    </a:lnTo>
                    <a:lnTo>
                      <a:pt x="4722" y="1068"/>
                    </a:lnTo>
                    <a:lnTo>
                      <a:pt x="4728" y="1056"/>
                    </a:lnTo>
                    <a:lnTo>
                      <a:pt x="4728" y="1038"/>
                    </a:lnTo>
                    <a:lnTo>
                      <a:pt x="4794" y="1038"/>
                    </a:lnTo>
                    <a:lnTo>
                      <a:pt x="4806" y="1026"/>
                    </a:lnTo>
                    <a:lnTo>
                      <a:pt x="4812" y="1014"/>
                    </a:lnTo>
                    <a:lnTo>
                      <a:pt x="4800" y="1002"/>
                    </a:lnTo>
                    <a:lnTo>
                      <a:pt x="4788" y="996"/>
                    </a:lnTo>
                    <a:lnTo>
                      <a:pt x="4758" y="996"/>
                    </a:lnTo>
                    <a:close/>
                    <a:moveTo>
                      <a:pt x="4476" y="1308"/>
                    </a:moveTo>
                    <a:lnTo>
                      <a:pt x="4446" y="1308"/>
                    </a:lnTo>
                    <a:lnTo>
                      <a:pt x="4440" y="1326"/>
                    </a:lnTo>
                    <a:lnTo>
                      <a:pt x="4476" y="1320"/>
                    </a:lnTo>
                    <a:lnTo>
                      <a:pt x="4476" y="1308"/>
                    </a:lnTo>
                    <a:close/>
                    <a:moveTo>
                      <a:pt x="4140" y="1290"/>
                    </a:moveTo>
                    <a:lnTo>
                      <a:pt x="4134" y="1290"/>
                    </a:lnTo>
                    <a:lnTo>
                      <a:pt x="4128" y="1296"/>
                    </a:lnTo>
                    <a:lnTo>
                      <a:pt x="4128" y="1308"/>
                    </a:lnTo>
                    <a:lnTo>
                      <a:pt x="4134" y="1314"/>
                    </a:lnTo>
                    <a:lnTo>
                      <a:pt x="4158" y="1314"/>
                    </a:lnTo>
                    <a:lnTo>
                      <a:pt x="4164" y="1308"/>
                    </a:lnTo>
                    <a:lnTo>
                      <a:pt x="4164" y="1296"/>
                    </a:lnTo>
                    <a:lnTo>
                      <a:pt x="4158" y="1290"/>
                    </a:lnTo>
                    <a:lnTo>
                      <a:pt x="4140" y="1290"/>
                    </a:lnTo>
                    <a:close/>
                    <a:moveTo>
                      <a:pt x="3834" y="1242"/>
                    </a:moveTo>
                    <a:lnTo>
                      <a:pt x="3840" y="1236"/>
                    </a:lnTo>
                    <a:lnTo>
                      <a:pt x="3834" y="1230"/>
                    </a:lnTo>
                    <a:lnTo>
                      <a:pt x="3828" y="1230"/>
                    </a:lnTo>
                    <a:lnTo>
                      <a:pt x="3822" y="1224"/>
                    </a:lnTo>
                    <a:lnTo>
                      <a:pt x="3810" y="1224"/>
                    </a:lnTo>
                    <a:lnTo>
                      <a:pt x="3810" y="1236"/>
                    </a:lnTo>
                    <a:lnTo>
                      <a:pt x="3816" y="1242"/>
                    </a:lnTo>
                    <a:lnTo>
                      <a:pt x="3816" y="1248"/>
                    </a:lnTo>
                    <a:lnTo>
                      <a:pt x="3828" y="1248"/>
                    </a:lnTo>
                    <a:lnTo>
                      <a:pt x="3834" y="1242"/>
                    </a:lnTo>
                    <a:close/>
                    <a:moveTo>
                      <a:pt x="4206" y="1452"/>
                    </a:moveTo>
                    <a:lnTo>
                      <a:pt x="4170" y="1452"/>
                    </a:lnTo>
                    <a:lnTo>
                      <a:pt x="4206" y="1476"/>
                    </a:lnTo>
                    <a:lnTo>
                      <a:pt x="4218" y="1470"/>
                    </a:lnTo>
                    <a:lnTo>
                      <a:pt x="4218" y="1458"/>
                    </a:lnTo>
                    <a:lnTo>
                      <a:pt x="4212" y="1458"/>
                    </a:lnTo>
                    <a:lnTo>
                      <a:pt x="4206" y="1452"/>
                    </a:lnTo>
                    <a:close/>
                    <a:moveTo>
                      <a:pt x="4170" y="870"/>
                    </a:moveTo>
                    <a:lnTo>
                      <a:pt x="4152" y="870"/>
                    </a:lnTo>
                    <a:lnTo>
                      <a:pt x="4152" y="876"/>
                    </a:lnTo>
                    <a:lnTo>
                      <a:pt x="4158" y="882"/>
                    </a:lnTo>
                    <a:lnTo>
                      <a:pt x="4164" y="882"/>
                    </a:lnTo>
                    <a:lnTo>
                      <a:pt x="4170" y="888"/>
                    </a:lnTo>
                    <a:lnTo>
                      <a:pt x="4182" y="882"/>
                    </a:lnTo>
                    <a:lnTo>
                      <a:pt x="4188" y="882"/>
                    </a:lnTo>
                    <a:lnTo>
                      <a:pt x="4194" y="876"/>
                    </a:lnTo>
                    <a:lnTo>
                      <a:pt x="4188" y="870"/>
                    </a:lnTo>
                    <a:lnTo>
                      <a:pt x="4170" y="870"/>
                    </a:lnTo>
                    <a:close/>
                    <a:moveTo>
                      <a:pt x="4170" y="936"/>
                    </a:moveTo>
                    <a:lnTo>
                      <a:pt x="4236" y="936"/>
                    </a:lnTo>
                    <a:lnTo>
                      <a:pt x="4236" y="918"/>
                    </a:lnTo>
                    <a:lnTo>
                      <a:pt x="4188" y="918"/>
                    </a:lnTo>
                    <a:lnTo>
                      <a:pt x="4170" y="936"/>
                    </a:lnTo>
                    <a:close/>
                    <a:moveTo>
                      <a:pt x="5574" y="36"/>
                    </a:moveTo>
                    <a:lnTo>
                      <a:pt x="5490" y="36"/>
                    </a:lnTo>
                    <a:lnTo>
                      <a:pt x="5496" y="24"/>
                    </a:lnTo>
                    <a:lnTo>
                      <a:pt x="5490" y="24"/>
                    </a:lnTo>
                    <a:lnTo>
                      <a:pt x="5484" y="18"/>
                    </a:lnTo>
                    <a:lnTo>
                      <a:pt x="5448" y="18"/>
                    </a:lnTo>
                    <a:lnTo>
                      <a:pt x="5430" y="12"/>
                    </a:lnTo>
                    <a:lnTo>
                      <a:pt x="5400" y="12"/>
                    </a:lnTo>
                    <a:lnTo>
                      <a:pt x="5364" y="18"/>
                    </a:lnTo>
                    <a:lnTo>
                      <a:pt x="5334" y="30"/>
                    </a:lnTo>
                    <a:lnTo>
                      <a:pt x="5304" y="36"/>
                    </a:lnTo>
                    <a:lnTo>
                      <a:pt x="5292" y="36"/>
                    </a:lnTo>
                    <a:lnTo>
                      <a:pt x="5346" y="12"/>
                    </a:lnTo>
                    <a:lnTo>
                      <a:pt x="5274" y="18"/>
                    </a:lnTo>
                    <a:lnTo>
                      <a:pt x="5268" y="18"/>
                    </a:lnTo>
                    <a:lnTo>
                      <a:pt x="5262" y="12"/>
                    </a:lnTo>
                    <a:lnTo>
                      <a:pt x="5250" y="12"/>
                    </a:lnTo>
                    <a:lnTo>
                      <a:pt x="5226" y="0"/>
                    </a:lnTo>
                    <a:lnTo>
                      <a:pt x="5196" y="0"/>
                    </a:lnTo>
                    <a:lnTo>
                      <a:pt x="5190" y="6"/>
                    </a:lnTo>
                    <a:lnTo>
                      <a:pt x="5184" y="18"/>
                    </a:lnTo>
                    <a:lnTo>
                      <a:pt x="5178" y="18"/>
                    </a:lnTo>
                    <a:lnTo>
                      <a:pt x="5172" y="12"/>
                    </a:lnTo>
                    <a:lnTo>
                      <a:pt x="5160" y="6"/>
                    </a:lnTo>
                    <a:lnTo>
                      <a:pt x="5148" y="6"/>
                    </a:lnTo>
                    <a:lnTo>
                      <a:pt x="5136" y="0"/>
                    </a:lnTo>
                    <a:lnTo>
                      <a:pt x="5124" y="0"/>
                    </a:lnTo>
                    <a:lnTo>
                      <a:pt x="5112" y="6"/>
                    </a:lnTo>
                    <a:lnTo>
                      <a:pt x="5106" y="12"/>
                    </a:lnTo>
                    <a:lnTo>
                      <a:pt x="5094" y="18"/>
                    </a:lnTo>
                    <a:lnTo>
                      <a:pt x="5088" y="24"/>
                    </a:lnTo>
                    <a:lnTo>
                      <a:pt x="5046" y="12"/>
                    </a:lnTo>
                    <a:lnTo>
                      <a:pt x="4938" y="6"/>
                    </a:lnTo>
                    <a:lnTo>
                      <a:pt x="4968" y="36"/>
                    </a:lnTo>
                    <a:lnTo>
                      <a:pt x="4902" y="12"/>
                    </a:lnTo>
                    <a:lnTo>
                      <a:pt x="4842" y="24"/>
                    </a:lnTo>
                    <a:lnTo>
                      <a:pt x="4830" y="24"/>
                    </a:lnTo>
                    <a:lnTo>
                      <a:pt x="4812" y="18"/>
                    </a:lnTo>
                    <a:lnTo>
                      <a:pt x="4746" y="18"/>
                    </a:lnTo>
                    <a:lnTo>
                      <a:pt x="4710" y="24"/>
                    </a:lnTo>
                    <a:lnTo>
                      <a:pt x="4686" y="36"/>
                    </a:lnTo>
                    <a:lnTo>
                      <a:pt x="4674" y="36"/>
                    </a:lnTo>
                    <a:lnTo>
                      <a:pt x="4764" y="60"/>
                    </a:lnTo>
                    <a:lnTo>
                      <a:pt x="4674" y="48"/>
                    </a:lnTo>
                    <a:lnTo>
                      <a:pt x="4662" y="48"/>
                    </a:lnTo>
                    <a:lnTo>
                      <a:pt x="4590" y="36"/>
                    </a:lnTo>
                    <a:lnTo>
                      <a:pt x="4542" y="36"/>
                    </a:lnTo>
                    <a:lnTo>
                      <a:pt x="4530" y="48"/>
                    </a:lnTo>
                    <a:lnTo>
                      <a:pt x="4530" y="60"/>
                    </a:lnTo>
                    <a:lnTo>
                      <a:pt x="4512" y="60"/>
                    </a:lnTo>
                    <a:lnTo>
                      <a:pt x="4482" y="54"/>
                    </a:lnTo>
                    <a:lnTo>
                      <a:pt x="4392" y="54"/>
                    </a:lnTo>
                    <a:lnTo>
                      <a:pt x="4350" y="60"/>
                    </a:lnTo>
                    <a:lnTo>
                      <a:pt x="4302" y="66"/>
                    </a:lnTo>
                    <a:lnTo>
                      <a:pt x="4260" y="66"/>
                    </a:lnTo>
                    <a:lnTo>
                      <a:pt x="4242" y="72"/>
                    </a:lnTo>
                    <a:lnTo>
                      <a:pt x="4260" y="72"/>
                    </a:lnTo>
                    <a:lnTo>
                      <a:pt x="4266" y="78"/>
                    </a:lnTo>
                    <a:lnTo>
                      <a:pt x="4278" y="78"/>
                    </a:lnTo>
                    <a:lnTo>
                      <a:pt x="4362" y="84"/>
                    </a:lnTo>
                    <a:lnTo>
                      <a:pt x="4278" y="96"/>
                    </a:lnTo>
                    <a:lnTo>
                      <a:pt x="4284" y="96"/>
                    </a:lnTo>
                    <a:lnTo>
                      <a:pt x="4290" y="102"/>
                    </a:lnTo>
                    <a:lnTo>
                      <a:pt x="4314" y="114"/>
                    </a:lnTo>
                    <a:lnTo>
                      <a:pt x="4338" y="114"/>
                    </a:lnTo>
                    <a:lnTo>
                      <a:pt x="4356" y="108"/>
                    </a:lnTo>
                    <a:lnTo>
                      <a:pt x="4392" y="108"/>
                    </a:lnTo>
                    <a:lnTo>
                      <a:pt x="4398" y="102"/>
                    </a:lnTo>
                    <a:lnTo>
                      <a:pt x="4410" y="102"/>
                    </a:lnTo>
                    <a:lnTo>
                      <a:pt x="4416" y="96"/>
                    </a:lnTo>
                    <a:lnTo>
                      <a:pt x="4440" y="96"/>
                    </a:lnTo>
                    <a:lnTo>
                      <a:pt x="4458" y="90"/>
                    </a:lnTo>
                    <a:lnTo>
                      <a:pt x="4500" y="90"/>
                    </a:lnTo>
                    <a:lnTo>
                      <a:pt x="4518" y="96"/>
                    </a:lnTo>
                    <a:lnTo>
                      <a:pt x="4536" y="96"/>
                    </a:lnTo>
                    <a:lnTo>
                      <a:pt x="4548" y="102"/>
                    </a:lnTo>
                    <a:lnTo>
                      <a:pt x="4560" y="102"/>
                    </a:lnTo>
                    <a:lnTo>
                      <a:pt x="4494" y="102"/>
                    </a:lnTo>
                    <a:lnTo>
                      <a:pt x="4482" y="108"/>
                    </a:lnTo>
                    <a:lnTo>
                      <a:pt x="4458" y="108"/>
                    </a:lnTo>
                    <a:lnTo>
                      <a:pt x="4446" y="114"/>
                    </a:lnTo>
                    <a:lnTo>
                      <a:pt x="4434" y="114"/>
                    </a:lnTo>
                    <a:lnTo>
                      <a:pt x="4422" y="120"/>
                    </a:lnTo>
                    <a:lnTo>
                      <a:pt x="4410" y="120"/>
                    </a:lnTo>
                    <a:lnTo>
                      <a:pt x="4404" y="126"/>
                    </a:lnTo>
                    <a:lnTo>
                      <a:pt x="4398" y="126"/>
                    </a:lnTo>
                    <a:lnTo>
                      <a:pt x="4434" y="126"/>
                    </a:lnTo>
                    <a:lnTo>
                      <a:pt x="4452" y="132"/>
                    </a:lnTo>
                    <a:lnTo>
                      <a:pt x="4488" y="132"/>
                    </a:lnTo>
                    <a:lnTo>
                      <a:pt x="4500" y="126"/>
                    </a:lnTo>
                    <a:lnTo>
                      <a:pt x="4506" y="126"/>
                    </a:lnTo>
                    <a:lnTo>
                      <a:pt x="4512" y="120"/>
                    </a:lnTo>
                    <a:lnTo>
                      <a:pt x="4638" y="120"/>
                    </a:lnTo>
                    <a:lnTo>
                      <a:pt x="4656" y="114"/>
                    </a:lnTo>
                    <a:lnTo>
                      <a:pt x="4680" y="114"/>
                    </a:lnTo>
                    <a:lnTo>
                      <a:pt x="4698" y="108"/>
                    </a:lnTo>
                    <a:lnTo>
                      <a:pt x="4710" y="108"/>
                    </a:lnTo>
                    <a:lnTo>
                      <a:pt x="4722" y="96"/>
                    </a:lnTo>
                    <a:lnTo>
                      <a:pt x="4734" y="96"/>
                    </a:lnTo>
                    <a:lnTo>
                      <a:pt x="4752" y="90"/>
                    </a:lnTo>
                    <a:lnTo>
                      <a:pt x="4770" y="90"/>
                    </a:lnTo>
                    <a:lnTo>
                      <a:pt x="4782" y="84"/>
                    </a:lnTo>
                    <a:lnTo>
                      <a:pt x="4830" y="84"/>
                    </a:lnTo>
                    <a:lnTo>
                      <a:pt x="4746" y="114"/>
                    </a:lnTo>
                    <a:lnTo>
                      <a:pt x="4782" y="114"/>
                    </a:lnTo>
                    <a:lnTo>
                      <a:pt x="4734" y="126"/>
                    </a:lnTo>
                    <a:lnTo>
                      <a:pt x="4716" y="126"/>
                    </a:lnTo>
                    <a:lnTo>
                      <a:pt x="4674" y="132"/>
                    </a:lnTo>
                    <a:lnTo>
                      <a:pt x="4620" y="132"/>
                    </a:lnTo>
                    <a:lnTo>
                      <a:pt x="4566" y="138"/>
                    </a:lnTo>
                    <a:lnTo>
                      <a:pt x="4536" y="138"/>
                    </a:lnTo>
                    <a:lnTo>
                      <a:pt x="4524" y="150"/>
                    </a:lnTo>
                    <a:lnTo>
                      <a:pt x="4524" y="156"/>
                    </a:lnTo>
                    <a:lnTo>
                      <a:pt x="4602" y="174"/>
                    </a:lnTo>
                    <a:lnTo>
                      <a:pt x="4596" y="174"/>
                    </a:lnTo>
                    <a:lnTo>
                      <a:pt x="4590" y="180"/>
                    </a:lnTo>
                    <a:lnTo>
                      <a:pt x="4578" y="180"/>
                    </a:lnTo>
                    <a:lnTo>
                      <a:pt x="4566" y="186"/>
                    </a:lnTo>
                    <a:lnTo>
                      <a:pt x="4542" y="186"/>
                    </a:lnTo>
                    <a:lnTo>
                      <a:pt x="4518" y="174"/>
                    </a:lnTo>
                    <a:lnTo>
                      <a:pt x="4500" y="162"/>
                    </a:lnTo>
                    <a:lnTo>
                      <a:pt x="4476" y="150"/>
                    </a:lnTo>
                    <a:lnTo>
                      <a:pt x="4470" y="144"/>
                    </a:lnTo>
                    <a:lnTo>
                      <a:pt x="4356" y="144"/>
                    </a:lnTo>
                    <a:lnTo>
                      <a:pt x="4350" y="150"/>
                    </a:lnTo>
                    <a:lnTo>
                      <a:pt x="4344" y="162"/>
                    </a:lnTo>
                    <a:lnTo>
                      <a:pt x="4338" y="168"/>
                    </a:lnTo>
                    <a:lnTo>
                      <a:pt x="4368" y="186"/>
                    </a:lnTo>
                    <a:lnTo>
                      <a:pt x="4386" y="204"/>
                    </a:lnTo>
                    <a:lnTo>
                      <a:pt x="4410" y="216"/>
                    </a:lnTo>
                    <a:lnTo>
                      <a:pt x="4458" y="216"/>
                    </a:lnTo>
                    <a:lnTo>
                      <a:pt x="4476" y="210"/>
                    </a:lnTo>
                    <a:lnTo>
                      <a:pt x="4488" y="210"/>
                    </a:lnTo>
                    <a:lnTo>
                      <a:pt x="4476" y="216"/>
                    </a:lnTo>
                    <a:lnTo>
                      <a:pt x="4470" y="228"/>
                    </a:lnTo>
                    <a:lnTo>
                      <a:pt x="4398" y="228"/>
                    </a:lnTo>
                    <a:lnTo>
                      <a:pt x="4380" y="222"/>
                    </a:lnTo>
                    <a:lnTo>
                      <a:pt x="4350" y="222"/>
                    </a:lnTo>
                    <a:lnTo>
                      <a:pt x="4314" y="228"/>
                    </a:lnTo>
                    <a:lnTo>
                      <a:pt x="4272" y="234"/>
                    </a:lnTo>
                    <a:lnTo>
                      <a:pt x="4230" y="234"/>
                    </a:lnTo>
                    <a:lnTo>
                      <a:pt x="4218" y="240"/>
                    </a:lnTo>
                    <a:lnTo>
                      <a:pt x="4200" y="246"/>
                    </a:lnTo>
                    <a:lnTo>
                      <a:pt x="4188" y="258"/>
                    </a:lnTo>
                    <a:lnTo>
                      <a:pt x="4176" y="264"/>
                    </a:lnTo>
                    <a:lnTo>
                      <a:pt x="4170" y="270"/>
                    </a:lnTo>
                    <a:lnTo>
                      <a:pt x="4164" y="270"/>
                    </a:lnTo>
                    <a:lnTo>
                      <a:pt x="4236" y="258"/>
                    </a:lnTo>
                    <a:lnTo>
                      <a:pt x="4236" y="276"/>
                    </a:lnTo>
                    <a:lnTo>
                      <a:pt x="4296" y="258"/>
                    </a:lnTo>
                    <a:lnTo>
                      <a:pt x="4224" y="288"/>
                    </a:lnTo>
                    <a:lnTo>
                      <a:pt x="4230" y="288"/>
                    </a:lnTo>
                    <a:lnTo>
                      <a:pt x="4236" y="294"/>
                    </a:lnTo>
                    <a:lnTo>
                      <a:pt x="4248" y="300"/>
                    </a:lnTo>
                    <a:lnTo>
                      <a:pt x="4278" y="300"/>
                    </a:lnTo>
                    <a:lnTo>
                      <a:pt x="4314" y="288"/>
                    </a:lnTo>
                    <a:lnTo>
                      <a:pt x="4326" y="288"/>
                    </a:lnTo>
                    <a:lnTo>
                      <a:pt x="4344" y="282"/>
                    </a:lnTo>
                    <a:lnTo>
                      <a:pt x="4350" y="276"/>
                    </a:lnTo>
                    <a:lnTo>
                      <a:pt x="4356" y="276"/>
                    </a:lnTo>
                    <a:lnTo>
                      <a:pt x="4254" y="312"/>
                    </a:lnTo>
                    <a:lnTo>
                      <a:pt x="4188" y="312"/>
                    </a:lnTo>
                    <a:lnTo>
                      <a:pt x="4176" y="288"/>
                    </a:lnTo>
                    <a:lnTo>
                      <a:pt x="4164" y="288"/>
                    </a:lnTo>
                    <a:lnTo>
                      <a:pt x="4146" y="282"/>
                    </a:lnTo>
                    <a:lnTo>
                      <a:pt x="4110" y="282"/>
                    </a:lnTo>
                    <a:lnTo>
                      <a:pt x="4104" y="288"/>
                    </a:lnTo>
                    <a:lnTo>
                      <a:pt x="4104" y="300"/>
                    </a:lnTo>
                    <a:lnTo>
                      <a:pt x="4110" y="312"/>
                    </a:lnTo>
                    <a:lnTo>
                      <a:pt x="4110" y="318"/>
                    </a:lnTo>
                    <a:lnTo>
                      <a:pt x="4116" y="324"/>
                    </a:lnTo>
                    <a:lnTo>
                      <a:pt x="4092" y="324"/>
                    </a:lnTo>
                    <a:lnTo>
                      <a:pt x="4074" y="330"/>
                    </a:lnTo>
                    <a:lnTo>
                      <a:pt x="4032" y="330"/>
                    </a:lnTo>
                    <a:lnTo>
                      <a:pt x="4020" y="336"/>
                    </a:lnTo>
                    <a:lnTo>
                      <a:pt x="4002" y="342"/>
                    </a:lnTo>
                    <a:lnTo>
                      <a:pt x="3990" y="348"/>
                    </a:lnTo>
                    <a:lnTo>
                      <a:pt x="3972" y="354"/>
                    </a:lnTo>
                    <a:lnTo>
                      <a:pt x="3936" y="354"/>
                    </a:lnTo>
                    <a:lnTo>
                      <a:pt x="3924" y="360"/>
                    </a:lnTo>
                    <a:lnTo>
                      <a:pt x="3918" y="360"/>
                    </a:lnTo>
                    <a:lnTo>
                      <a:pt x="3924" y="360"/>
                    </a:lnTo>
                    <a:lnTo>
                      <a:pt x="3936" y="366"/>
                    </a:lnTo>
                    <a:lnTo>
                      <a:pt x="3978" y="366"/>
                    </a:lnTo>
                    <a:lnTo>
                      <a:pt x="3990" y="360"/>
                    </a:lnTo>
                    <a:lnTo>
                      <a:pt x="3996" y="354"/>
                    </a:lnTo>
                    <a:lnTo>
                      <a:pt x="3984" y="372"/>
                    </a:lnTo>
                    <a:lnTo>
                      <a:pt x="4020" y="366"/>
                    </a:lnTo>
                    <a:lnTo>
                      <a:pt x="4044" y="354"/>
                    </a:lnTo>
                    <a:lnTo>
                      <a:pt x="4044" y="372"/>
                    </a:lnTo>
                    <a:lnTo>
                      <a:pt x="4074" y="366"/>
                    </a:lnTo>
                    <a:lnTo>
                      <a:pt x="4098" y="366"/>
                    </a:lnTo>
                    <a:lnTo>
                      <a:pt x="4098" y="372"/>
                    </a:lnTo>
                    <a:lnTo>
                      <a:pt x="4104" y="378"/>
                    </a:lnTo>
                    <a:lnTo>
                      <a:pt x="4122" y="378"/>
                    </a:lnTo>
                    <a:lnTo>
                      <a:pt x="4146" y="366"/>
                    </a:lnTo>
                    <a:lnTo>
                      <a:pt x="4152" y="366"/>
                    </a:lnTo>
                    <a:lnTo>
                      <a:pt x="4164" y="360"/>
                    </a:lnTo>
                    <a:lnTo>
                      <a:pt x="4170" y="372"/>
                    </a:lnTo>
                    <a:lnTo>
                      <a:pt x="4200" y="354"/>
                    </a:lnTo>
                    <a:lnTo>
                      <a:pt x="4206" y="360"/>
                    </a:lnTo>
                    <a:lnTo>
                      <a:pt x="4212" y="372"/>
                    </a:lnTo>
                    <a:lnTo>
                      <a:pt x="4224" y="372"/>
                    </a:lnTo>
                    <a:lnTo>
                      <a:pt x="4236" y="366"/>
                    </a:lnTo>
                    <a:lnTo>
                      <a:pt x="4242" y="360"/>
                    </a:lnTo>
                    <a:lnTo>
                      <a:pt x="4248" y="360"/>
                    </a:lnTo>
                    <a:lnTo>
                      <a:pt x="4254" y="366"/>
                    </a:lnTo>
                    <a:lnTo>
                      <a:pt x="4266" y="372"/>
                    </a:lnTo>
                    <a:lnTo>
                      <a:pt x="4284" y="372"/>
                    </a:lnTo>
                    <a:lnTo>
                      <a:pt x="4290" y="366"/>
                    </a:lnTo>
                    <a:lnTo>
                      <a:pt x="4290" y="360"/>
                    </a:lnTo>
                    <a:lnTo>
                      <a:pt x="4284" y="354"/>
                    </a:lnTo>
                    <a:lnTo>
                      <a:pt x="4338" y="372"/>
                    </a:lnTo>
                    <a:lnTo>
                      <a:pt x="4344" y="378"/>
                    </a:lnTo>
                    <a:lnTo>
                      <a:pt x="4350" y="390"/>
                    </a:lnTo>
                    <a:lnTo>
                      <a:pt x="4374" y="390"/>
                    </a:lnTo>
                    <a:lnTo>
                      <a:pt x="4410" y="378"/>
                    </a:lnTo>
                    <a:lnTo>
                      <a:pt x="4440" y="372"/>
                    </a:lnTo>
                    <a:lnTo>
                      <a:pt x="4476" y="372"/>
                    </a:lnTo>
                    <a:lnTo>
                      <a:pt x="4494" y="366"/>
                    </a:lnTo>
                    <a:lnTo>
                      <a:pt x="4506" y="360"/>
                    </a:lnTo>
                    <a:lnTo>
                      <a:pt x="4524" y="342"/>
                    </a:lnTo>
                    <a:lnTo>
                      <a:pt x="4464" y="342"/>
                    </a:lnTo>
                    <a:lnTo>
                      <a:pt x="4470" y="336"/>
                    </a:lnTo>
                    <a:lnTo>
                      <a:pt x="4470" y="330"/>
                    </a:lnTo>
                    <a:lnTo>
                      <a:pt x="4416" y="330"/>
                    </a:lnTo>
                    <a:lnTo>
                      <a:pt x="4362" y="318"/>
                    </a:lnTo>
                    <a:lnTo>
                      <a:pt x="4380" y="300"/>
                    </a:lnTo>
                    <a:lnTo>
                      <a:pt x="4440" y="318"/>
                    </a:lnTo>
                    <a:lnTo>
                      <a:pt x="4452" y="318"/>
                    </a:lnTo>
                    <a:lnTo>
                      <a:pt x="4488" y="312"/>
                    </a:lnTo>
                    <a:lnTo>
                      <a:pt x="4566" y="312"/>
                    </a:lnTo>
                    <a:lnTo>
                      <a:pt x="4578" y="300"/>
                    </a:lnTo>
                    <a:lnTo>
                      <a:pt x="4578" y="288"/>
                    </a:lnTo>
                    <a:lnTo>
                      <a:pt x="4584" y="288"/>
                    </a:lnTo>
                    <a:lnTo>
                      <a:pt x="4590" y="282"/>
                    </a:lnTo>
                    <a:lnTo>
                      <a:pt x="4608" y="282"/>
                    </a:lnTo>
                    <a:lnTo>
                      <a:pt x="4626" y="276"/>
                    </a:lnTo>
                    <a:lnTo>
                      <a:pt x="4662" y="276"/>
                    </a:lnTo>
                    <a:lnTo>
                      <a:pt x="4680" y="270"/>
                    </a:lnTo>
                    <a:lnTo>
                      <a:pt x="4710" y="270"/>
                    </a:lnTo>
                    <a:lnTo>
                      <a:pt x="4722" y="264"/>
                    </a:lnTo>
                    <a:lnTo>
                      <a:pt x="4728" y="264"/>
                    </a:lnTo>
                    <a:lnTo>
                      <a:pt x="4704" y="246"/>
                    </a:lnTo>
                    <a:lnTo>
                      <a:pt x="4746" y="246"/>
                    </a:lnTo>
                    <a:lnTo>
                      <a:pt x="4770" y="240"/>
                    </a:lnTo>
                    <a:lnTo>
                      <a:pt x="4782" y="234"/>
                    </a:lnTo>
                    <a:lnTo>
                      <a:pt x="4776" y="228"/>
                    </a:lnTo>
                    <a:lnTo>
                      <a:pt x="4770" y="228"/>
                    </a:lnTo>
                    <a:lnTo>
                      <a:pt x="4758" y="222"/>
                    </a:lnTo>
                    <a:lnTo>
                      <a:pt x="4746" y="222"/>
                    </a:lnTo>
                    <a:lnTo>
                      <a:pt x="4734" y="216"/>
                    </a:lnTo>
                    <a:lnTo>
                      <a:pt x="4686" y="216"/>
                    </a:lnTo>
                    <a:lnTo>
                      <a:pt x="4674" y="210"/>
                    </a:lnTo>
                    <a:lnTo>
                      <a:pt x="4662" y="210"/>
                    </a:lnTo>
                    <a:lnTo>
                      <a:pt x="4662" y="204"/>
                    </a:lnTo>
                    <a:lnTo>
                      <a:pt x="4674" y="198"/>
                    </a:lnTo>
                    <a:lnTo>
                      <a:pt x="4686" y="198"/>
                    </a:lnTo>
                    <a:lnTo>
                      <a:pt x="4704" y="192"/>
                    </a:lnTo>
                    <a:lnTo>
                      <a:pt x="4716" y="186"/>
                    </a:lnTo>
                    <a:lnTo>
                      <a:pt x="4764" y="186"/>
                    </a:lnTo>
                    <a:lnTo>
                      <a:pt x="4782" y="192"/>
                    </a:lnTo>
                    <a:lnTo>
                      <a:pt x="4860" y="192"/>
                    </a:lnTo>
                    <a:lnTo>
                      <a:pt x="4878" y="186"/>
                    </a:lnTo>
                    <a:lnTo>
                      <a:pt x="4902" y="186"/>
                    </a:lnTo>
                    <a:lnTo>
                      <a:pt x="4896" y="180"/>
                    </a:lnTo>
                    <a:lnTo>
                      <a:pt x="4878" y="180"/>
                    </a:lnTo>
                    <a:lnTo>
                      <a:pt x="4866" y="174"/>
                    </a:lnTo>
                    <a:lnTo>
                      <a:pt x="4872" y="168"/>
                    </a:lnTo>
                    <a:lnTo>
                      <a:pt x="4902" y="162"/>
                    </a:lnTo>
                    <a:lnTo>
                      <a:pt x="4944" y="168"/>
                    </a:lnTo>
                    <a:lnTo>
                      <a:pt x="4974" y="174"/>
                    </a:lnTo>
                    <a:lnTo>
                      <a:pt x="4986" y="174"/>
                    </a:lnTo>
                    <a:lnTo>
                      <a:pt x="4992" y="168"/>
                    </a:lnTo>
                    <a:lnTo>
                      <a:pt x="4992" y="150"/>
                    </a:lnTo>
                    <a:lnTo>
                      <a:pt x="5070" y="156"/>
                    </a:lnTo>
                    <a:lnTo>
                      <a:pt x="5070" y="132"/>
                    </a:lnTo>
                    <a:lnTo>
                      <a:pt x="5082" y="132"/>
                    </a:lnTo>
                    <a:lnTo>
                      <a:pt x="5094" y="138"/>
                    </a:lnTo>
                    <a:lnTo>
                      <a:pt x="5112" y="138"/>
                    </a:lnTo>
                    <a:lnTo>
                      <a:pt x="5136" y="126"/>
                    </a:lnTo>
                    <a:lnTo>
                      <a:pt x="5148" y="126"/>
                    </a:lnTo>
                    <a:lnTo>
                      <a:pt x="5154" y="120"/>
                    </a:lnTo>
                    <a:lnTo>
                      <a:pt x="5172" y="120"/>
                    </a:lnTo>
                    <a:lnTo>
                      <a:pt x="5208" y="114"/>
                    </a:lnTo>
                    <a:lnTo>
                      <a:pt x="5256" y="102"/>
                    </a:lnTo>
                    <a:lnTo>
                      <a:pt x="5298" y="96"/>
                    </a:lnTo>
                    <a:lnTo>
                      <a:pt x="5322" y="90"/>
                    </a:lnTo>
                    <a:lnTo>
                      <a:pt x="5340" y="90"/>
                    </a:lnTo>
                    <a:lnTo>
                      <a:pt x="5346" y="84"/>
                    </a:lnTo>
                    <a:lnTo>
                      <a:pt x="5238" y="84"/>
                    </a:lnTo>
                    <a:lnTo>
                      <a:pt x="5214" y="96"/>
                    </a:lnTo>
                    <a:lnTo>
                      <a:pt x="5142" y="96"/>
                    </a:lnTo>
                    <a:lnTo>
                      <a:pt x="5226" y="90"/>
                    </a:lnTo>
                    <a:lnTo>
                      <a:pt x="5220" y="78"/>
                    </a:lnTo>
                    <a:lnTo>
                      <a:pt x="5268" y="84"/>
                    </a:lnTo>
                    <a:lnTo>
                      <a:pt x="5274" y="78"/>
                    </a:lnTo>
                    <a:lnTo>
                      <a:pt x="5286" y="72"/>
                    </a:lnTo>
                    <a:lnTo>
                      <a:pt x="5358" y="72"/>
                    </a:lnTo>
                    <a:lnTo>
                      <a:pt x="5406" y="66"/>
                    </a:lnTo>
                    <a:lnTo>
                      <a:pt x="5454" y="66"/>
                    </a:lnTo>
                    <a:lnTo>
                      <a:pt x="5484" y="60"/>
                    </a:lnTo>
                    <a:lnTo>
                      <a:pt x="5496" y="60"/>
                    </a:lnTo>
                    <a:lnTo>
                      <a:pt x="5514" y="54"/>
                    </a:lnTo>
                    <a:lnTo>
                      <a:pt x="5532" y="54"/>
                    </a:lnTo>
                    <a:lnTo>
                      <a:pt x="5550" y="48"/>
                    </a:lnTo>
                    <a:lnTo>
                      <a:pt x="5562" y="42"/>
                    </a:lnTo>
                    <a:lnTo>
                      <a:pt x="5574" y="42"/>
                    </a:lnTo>
                    <a:lnTo>
                      <a:pt x="5574" y="36"/>
                    </a:lnTo>
                    <a:close/>
                    <a:moveTo>
                      <a:pt x="4032" y="966"/>
                    </a:moveTo>
                    <a:lnTo>
                      <a:pt x="4086" y="966"/>
                    </a:lnTo>
                    <a:lnTo>
                      <a:pt x="4134" y="942"/>
                    </a:lnTo>
                    <a:lnTo>
                      <a:pt x="4140" y="930"/>
                    </a:lnTo>
                    <a:lnTo>
                      <a:pt x="4134" y="918"/>
                    </a:lnTo>
                    <a:lnTo>
                      <a:pt x="4134" y="912"/>
                    </a:lnTo>
                    <a:lnTo>
                      <a:pt x="4122" y="906"/>
                    </a:lnTo>
                    <a:lnTo>
                      <a:pt x="4074" y="906"/>
                    </a:lnTo>
                    <a:lnTo>
                      <a:pt x="4062" y="912"/>
                    </a:lnTo>
                    <a:lnTo>
                      <a:pt x="4050" y="912"/>
                    </a:lnTo>
                    <a:lnTo>
                      <a:pt x="4026" y="924"/>
                    </a:lnTo>
                    <a:lnTo>
                      <a:pt x="4014" y="936"/>
                    </a:lnTo>
                    <a:lnTo>
                      <a:pt x="4002" y="942"/>
                    </a:lnTo>
                    <a:lnTo>
                      <a:pt x="4002" y="954"/>
                    </a:lnTo>
                    <a:lnTo>
                      <a:pt x="4014" y="960"/>
                    </a:lnTo>
                    <a:lnTo>
                      <a:pt x="4032" y="966"/>
                    </a:lnTo>
                    <a:close/>
                    <a:moveTo>
                      <a:pt x="4014" y="840"/>
                    </a:moveTo>
                    <a:lnTo>
                      <a:pt x="4002" y="840"/>
                    </a:lnTo>
                    <a:lnTo>
                      <a:pt x="3990" y="846"/>
                    </a:lnTo>
                    <a:lnTo>
                      <a:pt x="3984" y="852"/>
                    </a:lnTo>
                    <a:lnTo>
                      <a:pt x="3972" y="852"/>
                    </a:lnTo>
                    <a:lnTo>
                      <a:pt x="3990" y="852"/>
                    </a:lnTo>
                    <a:lnTo>
                      <a:pt x="4008" y="846"/>
                    </a:lnTo>
                    <a:lnTo>
                      <a:pt x="4026" y="846"/>
                    </a:lnTo>
                    <a:lnTo>
                      <a:pt x="4044" y="840"/>
                    </a:lnTo>
                    <a:lnTo>
                      <a:pt x="4050" y="834"/>
                    </a:lnTo>
                    <a:lnTo>
                      <a:pt x="4056" y="834"/>
                    </a:lnTo>
                    <a:lnTo>
                      <a:pt x="4068" y="822"/>
                    </a:lnTo>
                    <a:lnTo>
                      <a:pt x="4050" y="822"/>
                    </a:lnTo>
                    <a:lnTo>
                      <a:pt x="4044" y="828"/>
                    </a:lnTo>
                    <a:lnTo>
                      <a:pt x="4032" y="828"/>
                    </a:lnTo>
                    <a:lnTo>
                      <a:pt x="4020" y="834"/>
                    </a:lnTo>
                    <a:lnTo>
                      <a:pt x="4014" y="840"/>
                    </a:lnTo>
                    <a:close/>
                    <a:moveTo>
                      <a:pt x="4122" y="822"/>
                    </a:moveTo>
                    <a:lnTo>
                      <a:pt x="4104" y="822"/>
                    </a:lnTo>
                    <a:lnTo>
                      <a:pt x="4098" y="828"/>
                    </a:lnTo>
                    <a:lnTo>
                      <a:pt x="4098" y="840"/>
                    </a:lnTo>
                    <a:lnTo>
                      <a:pt x="4104" y="846"/>
                    </a:lnTo>
                    <a:lnTo>
                      <a:pt x="4110" y="840"/>
                    </a:lnTo>
                    <a:lnTo>
                      <a:pt x="4116" y="840"/>
                    </a:lnTo>
                    <a:lnTo>
                      <a:pt x="4128" y="828"/>
                    </a:lnTo>
                    <a:lnTo>
                      <a:pt x="4122" y="822"/>
                    </a:lnTo>
                    <a:close/>
                    <a:moveTo>
                      <a:pt x="3528" y="1062"/>
                    </a:moveTo>
                    <a:lnTo>
                      <a:pt x="3522" y="1062"/>
                    </a:lnTo>
                    <a:lnTo>
                      <a:pt x="3504" y="1080"/>
                    </a:lnTo>
                    <a:lnTo>
                      <a:pt x="3504" y="1086"/>
                    </a:lnTo>
                    <a:lnTo>
                      <a:pt x="3510" y="1092"/>
                    </a:lnTo>
                    <a:lnTo>
                      <a:pt x="3528" y="1092"/>
                    </a:lnTo>
                    <a:lnTo>
                      <a:pt x="3534" y="1086"/>
                    </a:lnTo>
                    <a:lnTo>
                      <a:pt x="3540" y="1074"/>
                    </a:lnTo>
                    <a:lnTo>
                      <a:pt x="3540" y="1068"/>
                    </a:lnTo>
                    <a:lnTo>
                      <a:pt x="3534" y="1062"/>
                    </a:lnTo>
                    <a:lnTo>
                      <a:pt x="3528" y="1062"/>
                    </a:lnTo>
                    <a:close/>
                    <a:moveTo>
                      <a:pt x="3588" y="1062"/>
                    </a:moveTo>
                    <a:lnTo>
                      <a:pt x="3582" y="1062"/>
                    </a:lnTo>
                    <a:lnTo>
                      <a:pt x="3576" y="1068"/>
                    </a:lnTo>
                    <a:lnTo>
                      <a:pt x="3576" y="1080"/>
                    </a:lnTo>
                    <a:lnTo>
                      <a:pt x="3582" y="1086"/>
                    </a:lnTo>
                    <a:lnTo>
                      <a:pt x="3594" y="1086"/>
                    </a:lnTo>
                    <a:lnTo>
                      <a:pt x="3600" y="1080"/>
                    </a:lnTo>
                    <a:lnTo>
                      <a:pt x="3600" y="1068"/>
                    </a:lnTo>
                    <a:lnTo>
                      <a:pt x="3588" y="1062"/>
                    </a:lnTo>
                    <a:close/>
                    <a:moveTo>
                      <a:pt x="3756" y="1242"/>
                    </a:moveTo>
                    <a:lnTo>
                      <a:pt x="3744" y="1248"/>
                    </a:lnTo>
                    <a:lnTo>
                      <a:pt x="3744" y="1260"/>
                    </a:lnTo>
                    <a:lnTo>
                      <a:pt x="3750" y="1266"/>
                    </a:lnTo>
                    <a:lnTo>
                      <a:pt x="3762" y="1272"/>
                    </a:lnTo>
                    <a:lnTo>
                      <a:pt x="3768" y="1272"/>
                    </a:lnTo>
                    <a:lnTo>
                      <a:pt x="3786" y="1254"/>
                    </a:lnTo>
                    <a:lnTo>
                      <a:pt x="3786" y="1242"/>
                    </a:lnTo>
                    <a:lnTo>
                      <a:pt x="3780" y="1236"/>
                    </a:lnTo>
                    <a:lnTo>
                      <a:pt x="3768" y="1236"/>
                    </a:lnTo>
                    <a:lnTo>
                      <a:pt x="3756" y="1242"/>
                    </a:lnTo>
                    <a:close/>
                    <a:moveTo>
                      <a:pt x="3984" y="2532"/>
                    </a:moveTo>
                    <a:lnTo>
                      <a:pt x="3948" y="2520"/>
                    </a:lnTo>
                    <a:lnTo>
                      <a:pt x="3942" y="2514"/>
                    </a:lnTo>
                    <a:lnTo>
                      <a:pt x="3936" y="2514"/>
                    </a:lnTo>
                    <a:lnTo>
                      <a:pt x="3924" y="2526"/>
                    </a:lnTo>
                    <a:lnTo>
                      <a:pt x="3930" y="2532"/>
                    </a:lnTo>
                    <a:lnTo>
                      <a:pt x="3942" y="2538"/>
                    </a:lnTo>
                    <a:lnTo>
                      <a:pt x="3948" y="2544"/>
                    </a:lnTo>
                    <a:lnTo>
                      <a:pt x="3954" y="2544"/>
                    </a:lnTo>
                    <a:lnTo>
                      <a:pt x="3960" y="2550"/>
                    </a:lnTo>
                    <a:lnTo>
                      <a:pt x="3996" y="2550"/>
                    </a:lnTo>
                    <a:lnTo>
                      <a:pt x="4008" y="2556"/>
                    </a:lnTo>
                    <a:lnTo>
                      <a:pt x="4020" y="2556"/>
                    </a:lnTo>
                    <a:lnTo>
                      <a:pt x="4038" y="2538"/>
                    </a:lnTo>
                    <a:lnTo>
                      <a:pt x="4008" y="2538"/>
                    </a:lnTo>
                    <a:lnTo>
                      <a:pt x="3984" y="2532"/>
                    </a:lnTo>
                    <a:close/>
                    <a:moveTo>
                      <a:pt x="4098" y="2280"/>
                    </a:moveTo>
                    <a:lnTo>
                      <a:pt x="4092" y="2280"/>
                    </a:lnTo>
                    <a:lnTo>
                      <a:pt x="4086" y="2274"/>
                    </a:lnTo>
                    <a:lnTo>
                      <a:pt x="4050" y="2274"/>
                    </a:lnTo>
                    <a:lnTo>
                      <a:pt x="4032" y="2268"/>
                    </a:lnTo>
                    <a:lnTo>
                      <a:pt x="3996" y="2268"/>
                    </a:lnTo>
                    <a:lnTo>
                      <a:pt x="4002" y="2274"/>
                    </a:lnTo>
                    <a:lnTo>
                      <a:pt x="4008" y="2274"/>
                    </a:lnTo>
                    <a:lnTo>
                      <a:pt x="4014" y="2280"/>
                    </a:lnTo>
                    <a:lnTo>
                      <a:pt x="4026" y="2286"/>
                    </a:lnTo>
                    <a:lnTo>
                      <a:pt x="4032" y="2286"/>
                    </a:lnTo>
                    <a:lnTo>
                      <a:pt x="4032" y="2304"/>
                    </a:lnTo>
                    <a:lnTo>
                      <a:pt x="4044" y="2304"/>
                    </a:lnTo>
                    <a:lnTo>
                      <a:pt x="4080" y="2310"/>
                    </a:lnTo>
                    <a:lnTo>
                      <a:pt x="4128" y="2316"/>
                    </a:lnTo>
                    <a:lnTo>
                      <a:pt x="4164" y="2316"/>
                    </a:lnTo>
                    <a:lnTo>
                      <a:pt x="4170" y="2310"/>
                    </a:lnTo>
                    <a:lnTo>
                      <a:pt x="4170" y="2304"/>
                    </a:lnTo>
                    <a:lnTo>
                      <a:pt x="4164" y="2304"/>
                    </a:lnTo>
                    <a:lnTo>
                      <a:pt x="4152" y="2292"/>
                    </a:lnTo>
                    <a:lnTo>
                      <a:pt x="4128" y="2286"/>
                    </a:lnTo>
                    <a:lnTo>
                      <a:pt x="4098" y="2280"/>
                    </a:lnTo>
                    <a:close/>
                    <a:moveTo>
                      <a:pt x="4194" y="2550"/>
                    </a:moveTo>
                    <a:lnTo>
                      <a:pt x="4164" y="2550"/>
                    </a:lnTo>
                    <a:lnTo>
                      <a:pt x="4152" y="2556"/>
                    </a:lnTo>
                    <a:lnTo>
                      <a:pt x="4146" y="2562"/>
                    </a:lnTo>
                    <a:lnTo>
                      <a:pt x="4182" y="2526"/>
                    </a:lnTo>
                    <a:lnTo>
                      <a:pt x="4176" y="2520"/>
                    </a:lnTo>
                    <a:lnTo>
                      <a:pt x="4152" y="2520"/>
                    </a:lnTo>
                    <a:lnTo>
                      <a:pt x="4140" y="2526"/>
                    </a:lnTo>
                    <a:lnTo>
                      <a:pt x="4128" y="2538"/>
                    </a:lnTo>
                    <a:lnTo>
                      <a:pt x="4104" y="2574"/>
                    </a:lnTo>
                    <a:lnTo>
                      <a:pt x="4164" y="2568"/>
                    </a:lnTo>
                    <a:lnTo>
                      <a:pt x="4176" y="2568"/>
                    </a:lnTo>
                    <a:lnTo>
                      <a:pt x="4182" y="2562"/>
                    </a:lnTo>
                    <a:lnTo>
                      <a:pt x="4194" y="2562"/>
                    </a:lnTo>
                    <a:lnTo>
                      <a:pt x="4200" y="2556"/>
                    </a:lnTo>
                    <a:lnTo>
                      <a:pt x="4200" y="2550"/>
                    </a:lnTo>
                    <a:lnTo>
                      <a:pt x="4194" y="2550"/>
                    </a:lnTo>
                    <a:close/>
                    <a:moveTo>
                      <a:pt x="4590" y="1962"/>
                    </a:moveTo>
                    <a:lnTo>
                      <a:pt x="4578" y="1974"/>
                    </a:lnTo>
                    <a:lnTo>
                      <a:pt x="4578" y="1980"/>
                    </a:lnTo>
                    <a:lnTo>
                      <a:pt x="4572" y="1986"/>
                    </a:lnTo>
                    <a:lnTo>
                      <a:pt x="4566" y="1986"/>
                    </a:lnTo>
                    <a:lnTo>
                      <a:pt x="4554" y="1974"/>
                    </a:lnTo>
                    <a:lnTo>
                      <a:pt x="4554" y="1962"/>
                    </a:lnTo>
                    <a:lnTo>
                      <a:pt x="4566" y="1962"/>
                    </a:lnTo>
                    <a:lnTo>
                      <a:pt x="4572" y="1956"/>
                    </a:lnTo>
                    <a:lnTo>
                      <a:pt x="4566" y="1932"/>
                    </a:lnTo>
                    <a:lnTo>
                      <a:pt x="4536" y="1926"/>
                    </a:lnTo>
                    <a:lnTo>
                      <a:pt x="4530" y="1926"/>
                    </a:lnTo>
                    <a:lnTo>
                      <a:pt x="4524" y="1932"/>
                    </a:lnTo>
                    <a:lnTo>
                      <a:pt x="4512" y="1938"/>
                    </a:lnTo>
                    <a:lnTo>
                      <a:pt x="4494" y="1944"/>
                    </a:lnTo>
                    <a:lnTo>
                      <a:pt x="4470" y="1956"/>
                    </a:lnTo>
                    <a:lnTo>
                      <a:pt x="4464" y="1962"/>
                    </a:lnTo>
                    <a:lnTo>
                      <a:pt x="4458" y="1962"/>
                    </a:lnTo>
                    <a:lnTo>
                      <a:pt x="4446" y="1968"/>
                    </a:lnTo>
                    <a:lnTo>
                      <a:pt x="4434" y="1968"/>
                    </a:lnTo>
                    <a:lnTo>
                      <a:pt x="4416" y="1974"/>
                    </a:lnTo>
                    <a:lnTo>
                      <a:pt x="4404" y="1974"/>
                    </a:lnTo>
                    <a:lnTo>
                      <a:pt x="4374" y="1998"/>
                    </a:lnTo>
                    <a:lnTo>
                      <a:pt x="4386" y="1974"/>
                    </a:lnTo>
                    <a:lnTo>
                      <a:pt x="4362" y="1956"/>
                    </a:lnTo>
                    <a:lnTo>
                      <a:pt x="4398" y="1968"/>
                    </a:lnTo>
                    <a:lnTo>
                      <a:pt x="4410" y="1956"/>
                    </a:lnTo>
                    <a:lnTo>
                      <a:pt x="4440" y="1950"/>
                    </a:lnTo>
                    <a:lnTo>
                      <a:pt x="4440" y="1932"/>
                    </a:lnTo>
                    <a:lnTo>
                      <a:pt x="4494" y="1932"/>
                    </a:lnTo>
                    <a:lnTo>
                      <a:pt x="4518" y="1920"/>
                    </a:lnTo>
                    <a:lnTo>
                      <a:pt x="4524" y="1914"/>
                    </a:lnTo>
                    <a:lnTo>
                      <a:pt x="4536" y="1908"/>
                    </a:lnTo>
                    <a:lnTo>
                      <a:pt x="4608" y="1908"/>
                    </a:lnTo>
                    <a:lnTo>
                      <a:pt x="4602" y="1902"/>
                    </a:lnTo>
                    <a:lnTo>
                      <a:pt x="4596" y="1902"/>
                    </a:lnTo>
                    <a:lnTo>
                      <a:pt x="4584" y="1896"/>
                    </a:lnTo>
                    <a:lnTo>
                      <a:pt x="4578" y="1890"/>
                    </a:lnTo>
                    <a:lnTo>
                      <a:pt x="4578" y="1866"/>
                    </a:lnTo>
                    <a:lnTo>
                      <a:pt x="4572" y="1866"/>
                    </a:lnTo>
                    <a:lnTo>
                      <a:pt x="4566" y="1872"/>
                    </a:lnTo>
                    <a:lnTo>
                      <a:pt x="4542" y="1872"/>
                    </a:lnTo>
                    <a:lnTo>
                      <a:pt x="4530" y="1878"/>
                    </a:lnTo>
                    <a:lnTo>
                      <a:pt x="4518" y="1878"/>
                    </a:lnTo>
                    <a:lnTo>
                      <a:pt x="4518" y="1866"/>
                    </a:lnTo>
                    <a:lnTo>
                      <a:pt x="4512" y="1860"/>
                    </a:lnTo>
                    <a:lnTo>
                      <a:pt x="4452" y="1878"/>
                    </a:lnTo>
                    <a:lnTo>
                      <a:pt x="4458" y="1848"/>
                    </a:lnTo>
                    <a:lnTo>
                      <a:pt x="4410" y="1860"/>
                    </a:lnTo>
                    <a:lnTo>
                      <a:pt x="4416" y="1854"/>
                    </a:lnTo>
                    <a:lnTo>
                      <a:pt x="4422" y="1842"/>
                    </a:lnTo>
                    <a:lnTo>
                      <a:pt x="4440" y="1824"/>
                    </a:lnTo>
                    <a:lnTo>
                      <a:pt x="4446" y="1812"/>
                    </a:lnTo>
                    <a:lnTo>
                      <a:pt x="4446" y="1800"/>
                    </a:lnTo>
                    <a:lnTo>
                      <a:pt x="4434" y="1800"/>
                    </a:lnTo>
                    <a:lnTo>
                      <a:pt x="4422" y="1794"/>
                    </a:lnTo>
                    <a:lnTo>
                      <a:pt x="4398" y="1794"/>
                    </a:lnTo>
                    <a:lnTo>
                      <a:pt x="4404" y="1770"/>
                    </a:lnTo>
                    <a:lnTo>
                      <a:pt x="4368" y="1770"/>
                    </a:lnTo>
                    <a:lnTo>
                      <a:pt x="4380" y="1752"/>
                    </a:lnTo>
                    <a:lnTo>
                      <a:pt x="4356" y="1728"/>
                    </a:lnTo>
                    <a:lnTo>
                      <a:pt x="4368" y="1728"/>
                    </a:lnTo>
                    <a:lnTo>
                      <a:pt x="4380" y="1734"/>
                    </a:lnTo>
                    <a:lnTo>
                      <a:pt x="4404" y="1734"/>
                    </a:lnTo>
                    <a:lnTo>
                      <a:pt x="4410" y="1728"/>
                    </a:lnTo>
                    <a:lnTo>
                      <a:pt x="4422" y="1722"/>
                    </a:lnTo>
                    <a:lnTo>
                      <a:pt x="4434" y="1710"/>
                    </a:lnTo>
                    <a:lnTo>
                      <a:pt x="4440" y="1710"/>
                    </a:lnTo>
                    <a:lnTo>
                      <a:pt x="4398" y="1686"/>
                    </a:lnTo>
                    <a:lnTo>
                      <a:pt x="4446" y="1656"/>
                    </a:lnTo>
                    <a:lnTo>
                      <a:pt x="4398" y="1632"/>
                    </a:lnTo>
                    <a:lnTo>
                      <a:pt x="4350" y="1638"/>
                    </a:lnTo>
                    <a:lnTo>
                      <a:pt x="4404" y="1614"/>
                    </a:lnTo>
                    <a:lnTo>
                      <a:pt x="4368" y="1608"/>
                    </a:lnTo>
                    <a:lnTo>
                      <a:pt x="4410" y="1584"/>
                    </a:lnTo>
                    <a:lnTo>
                      <a:pt x="4404" y="1560"/>
                    </a:lnTo>
                    <a:lnTo>
                      <a:pt x="4374" y="1560"/>
                    </a:lnTo>
                    <a:lnTo>
                      <a:pt x="4380" y="1554"/>
                    </a:lnTo>
                    <a:lnTo>
                      <a:pt x="4392" y="1530"/>
                    </a:lnTo>
                    <a:lnTo>
                      <a:pt x="4374" y="1494"/>
                    </a:lnTo>
                    <a:lnTo>
                      <a:pt x="4362" y="1494"/>
                    </a:lnTo>
                    <a:lnTo>
                      <a:pt x="4374" y="1470"/>
                    </a:lnTo>
                    <a:lnTo>
                      <a:pt x="4362" y="1476"/>
                    </a:lnTo>
                    <a:lnTo>
                      <a:pt x="4356" y="1482"/>
                    </a:lnTo>
                    <a:lnTo>
                      <a:pt x="4344" y="1488"/>
                    </a:lnTo>
                    <a:lnTo>
                      <a:pt x="4332" y="1500"/>
                    </a:lnTo>
                    <a:lnTo>
                      <a:pt x="4332" y="1518"/>
                    </a:lnTo>
                    <a:lnTo>
                      <a:pt x="4302" y="1506"/>
                    </a:lnTo>
                    <a:lnTo>
                      <a:pt x="4308" y="1542"/>
                    </a:lnTo>
                    <a:lnTo>
                      <a:pt x="4284" y="1542"/>
                    </a:lnTo>
                    <a:lnTo>
                      <a:pt x="4272" y="1560"/>
                    </a:lnTo>
                    <a:lnTo>
                      <a:pt x="4278" y="1572"/>
                    </a:lnTo>
                    <a:lnTo>
                      <a:pt x="4254" y="1572"/>
                    </a:lnTo>
                    <a:lnTo>
                      <a:pt x="4230" y="1614"/>
                    </a:lnTo>
                    <a:lnTo>
                      <a:pt x="4218" y="1614"/>
                    </a:lnTo>
                    <a:lnTo>
                      <a:pt x="4236" y="1578"/>
                    </a:lnTo>
                    <a:lnTo>
                      <a:pt x="4224" y="1566"/>
                    </a:lnTo>
                    <a:lnTo>
                      <a:pt x="4212" y="1566"/>
                    </a:lnTo>
                    <a:lnTo>
                      <a:pt x="4194" y="1584"/>
                    </a:lnTo>
                    <a:lnTo>
                      <a:pt x="4182" y="1590"/>
                    </a:lnTo>
                    <a:lnTo>
                      <a:pt x="4176" y="1596"/>
                    </a:lnTo>
                    <a:lnTo>
                      <a:pt x="4164" y="1602"/>
                    </a:lnTo>
                    <a:lnTo>
                      <a:pt x="4158" y="1608"/>
                    </a:lnTo>
                    <a:lnTo>
                      <a:pt x="4146" y="1614"/>
                    </a:lnTo>
                    <a:lnTo>
                      <a:pt x="4140" y="1620"/>
                    </a:lnTo>
                    <a:lnTo>
                      <a:pt x="4116" y="1632"/>
                    </a:lnTo>
                    <a:lnTo>
                      <a:pt x="4110" y="1638"/>
                    </a:lnTo>
                    <a:lnTo>
                      <a:pt x="4116" y="1614"/>
                    </a:lnTo>
                    <a:lnTo>
                      <a:pt x="4116" y="1596"/>
                    </a:lnTo>
                    <a:lnTo>
                      <a:pt x="4080" y="1632"/>
                    </a:lnTo>
                    <a:lnTo>
                      <a:pt x="4014" y="1644"/>
                    </a:lnTo>
                    <a:lnTo>
                      <a:pt x="4074" y="1626"/>
                    </a:lnTo>
                    <a:lnTo>
                      <a:pt x="4080" y="1620"/>
                    </a:lnTo>
                    <a:lnTo>
                      <a:pt x="4092" y="1596"/>
                    </a:lnTo>
                    <a:lnTo>
                      <a:pt x="4098" y="1590"/>
                    </a:lnTo>
                    <a:lnTo>
                      <a:pt x="4098" y="1578"/>
                    </a:lnTo>
                    <a:lnTo>
                      <a:pt x="4092" y="1572"/>
                    </a:lnTo>
                    <a:lnTo>
                      <a:pt x="4050" y="1572"/>
                    </a:lnTo>
                    <a:lnTo>
                      <a:pt x="4038" y="1578"/>
                    </a:lnTo>
                    <a:lnTo>
                      <a:pt x="4032" y="1578"/>
                    </a:lnTo>
                    <a:lnTo>
                      <a:pt x="4020" y="1584"/>
                    </a:lnTo>
                    <a:lnTo>
                      <a:pt x="4002" y="1584"/>
                    </a:lnTo>
                    <a:lnTo>
                      <a:pt x="4002" y="1578"/>
                    </a:lnTo>
                    <a:lnTo>
                      <a:pt x="4008" y="1572"/>
                    </a:lnTo>
                    <a:lnTo>
                      <a:pt x="4020" y="1566"/>
                    </a:lnTo>
                    <a:lnTo>
                      <a:pt x="4026" y="1560"/>
                    </a:lnTo>
                    <a:lnTo>
                      <a:pt x="4032" y="1560"/>
                    </a:lnTo>
                    <a:lnTo>
                      <a:pt x="4032" y="1572"/>
                    </a:lnTo>
                    <a:lnTo>
                      <a:pt x="4050" y="1560"/>
                    </a:lnTo>
                    <a:lnTo>
                      <a:pt x="4044" y="1536"/>
                    </a:lnTo>
                    <a:lnTo>
                      <a:pt x="4050" y="1530"/>
                    </a:lnTo>
                    <a:lnTo>
                      <a:pt x="4062" y="1524"/>
                    </a:lnTo>
                    <a:lnTo>
                      <a:pt x="4074" y="1512"/>
                    </a:lnTo>
                    <a:lnTo>
                      <a:pt x="4074" y="1506"/>
                    </a:lnTo>
                    <a:lnTo>
                      <a:pt x="4068" y="1500"/>
                    </a:lnTo>
                    <a:lnTo>
                      <a:pt x="4056" y="1494"/>
                    </a:lnTo>
                    <a:lnTo>
                      <a:pt x="4044" y="1494"/>
                    </a:lnTo>
                    <a:lnTo>
                      <a:pt x="4032" y="1488"/>
                    </a:lnTo>
                    <a:lnTo>
                      <a:pt x="4014" y="1488"/>
                    </a:lnTo>
                    <a:lnTo>
                      <a:pt x="4044" y="1488"/>
                    </a:lnTo>
                    <a:lnTo>
                      <a:pt x="4056" y="1482"/>
                    </a:lnTo>
                    <a:lnTo>
                      <a:pt x="4074" y="1482"/>
                    </a:lnTo>
                    <a:lnTo>
                      <a:pt x="4086" y="1470"/>
                    </a:lnTo>
                    <a:lnTo>
                      <a:pt x="4098" y="1446"/>
                    </a:lnTo>
                    <a:lnTo>
                      <a:pt x="4104" y="1440"/>
                    </a:lnTo>
                    <a:lnTo>
                      <a:pt x="4110" y="1440"/>
                    </a:lnTo>
                    <a:lnTo>
                      <a:pt x="4122" y="1434"/>
                    </a:lnTo>
                    <a:lnTo>
                      <a:pt x="4128" y="1434"/>
                    </a:lnTo>
                    <a:lnTo>
                      <a:pt x="4134" y="1428"/>
                    </a:lnTo>
                    <a:lnTo>
                      <a:pt x="4122" y="1416"/>
                    </a:lnTo>
                    <a:lnTo>
                      <a:pt x="4110" y="1422"/>
                    </a:lnTo>
                    <a:lnTo>
                      <a:pt x="4098" y="1434"/>
                    </a:lnTo>
                    <a:lnTo>
                      <a:pt x="4092" y="1404"/>
                    </a:lnTo>
                    <a:lnTo>
                      <a:pt x="4068" y="1404"/>
                    </a:lnTo>
                    <a:lnTo>
                      <a:pt x="4050" y="1410"/>
                    </a:lnTo>
                    <a:lnTo>
                      <a:pt x="4026" y="1410"/>
                    </a:lnTo>
                    <a:lnTo>
                      <a:pt x="4020" y="1404"/>
                    </a:lnTo>
                    <a:lnTo>
                      <a:pt x="4020" y="1386"/>
                    </a:lnTo>
                    <a:lnTo>
                      <a:pt x="4038" y="1368"/>
                    </a:lnTo>
                    <a:lnTo>
                      <a:pt x="4032" y="1362"/>
                    </a:lnTo>
                    <a:lnTo>
                      <a:pt x="4014" y="1362"/>
                    </a:lnTo>
                    <a:lnTo>
                      <a:pt x="4008" y="1368"/>
                    </a:lnTo>
                    <a:lnTo>
                      <a:pt x="4020" y="1344"/>
                    </a:lnTo>
                    <a:lnTo>
                      <a:pt x="3984" y="1350"/>
                    </a:lnTo>
                    <a:lnTo>
                      <a:pt x="3984" y="1326"/>
                    </a:lnTo>
                    <a:lnTo>
                      <a:pt x="3978" y="1314"/>
                    </a:lnTo>
                    <a:lnTo>
                      <a:pt x="3972" y="1308"/>
                    </a:lnTo>
                    <a:lnTo>
                      <a:pt x="3948" y="1308"/>
                    </a:lnTo>
                    <a:lnTo>
                      <a:pt x="3930" y="1314"/>
                    </a:lnTo>
                    <a:lnTo>
                      <a:pt x="3906" y="1326"/>
                    </a:lnTo>
                    <a:lnTo>
                      <a:pt x="3900" y="1332"/>
                    </a:lnTo>
                    <a:lnTo>
                      <a:pt x="3894" y="1332"/>
                    </a:lnTo>
                    <a:lnTo>
                      <a:pt x="3888" y="1326"/>
                    </a:lnTo>
                    <a:lnTo>
                      <a:pt x="3876" y="1320"/>
                    </a:lnTo>
                    <a:lnTo>
                      <a:pt x="3864" y="1320"/>
                    </a:lnTo>
                    <a:lnTo>
                      <a:pt x="3852" y="1326"/>
                    </a:lnTo>
                    <a:lnTo>
                      <a:pt x="3846" y="1326"/>
                    </a:lnTo>
                    <a:lnTo>
                      <a:pt x="3834" y="1332"/>
                    </a:lnTo>
                    <a:lnTo>
                      <a:pt x="3822" y="1326"/>
                    </a:lnTo>
                    <a:lnTo>
                      <a:pt x="3762" y="1302"/>
                    </a:lnTo>
                    <a:lnTo>
                      <a:pt x="3738" y="1302"/>
                    </a:lnTo>
                    <a:lnTo>
                      <a:pt x="3714" y="1314"/>
                    </a:lnTo>
                    <a:lnTo>
                      <a:pt x="3708" y="1326"/>
                    </a:lnTo>
                    <a:lnTo>
                      <a:pt x="3702" y="1326"/>
                    </a:lnTo>
                    <a:lnTo>
                      <a:pt x="3684" y="1344"/>
                    </a:lnTo>
                    <a:lnTo>
                      <a:pt x="3684" y="1350"/>
                    </a:lnTo>
                    <a:lnTo>
                      <a:pt x="3696" y="1356"/>
                    </a:lnTo>
                    <a:lnTo>
                      <a:pt x="3702" y="1362"/>
                    </a:lnTo>
                    <a:lnTo>
                      <a:pt x="3708" y="1374"/>
                    </a:lnTo>
                    <a:lnTo>
                      <a:pt x="3708" y="1380"/>
                    </a:lnTo>
                    <a:lnTo>
                      <a:pt x="3702" y="1386"/>
                    </a:lnTo>
                    <a:lnTo>
                      <a:pt x="3690" y="1392"/>
                    </a:lnTo>
                    <a:lnTo>
                      <a:pt x="3672" y="1410"/>
                    </a:lnTo>
                    <a:lnTo>
                      <a:pt x="3660" y="1416"/>
                    </a:lnTo>
                    <a:lnTo>
                      <a:pt x="3636" y="1422"/>
                    </a:lnTo>
                    <a:lnTo>
                      <a:pt x="3660" y="1440"/>
                    </a:lnTo>
                    <a:lnTo>
                      <a:pt x="3654" y="1446"/>
                    </a:lnTo>
                    <a:lnTo>
                      <a:pt x="3642" y="1446"/>
                    </a:lnTo>
                    <a:lnTo>
                      <a:pt x="3636" y="1452"/>
                    </a:lnTo>
                    <a:lnTo>
                      <a:pt x="3636" y="1470"/>
                    </a:lnTo>
                    <a:lnTo>
                      <a:pt x="3642" y="1482"/>
                    </a:lnTo>
                    <a:lnTo>
                      <a:pt x="3642" y="1488"/>
                    </a:lnTo>
                    <a:lnTo>
                      <a:pt x="3636" y="1500"/>
                    </a:lnTo>
                    <a:lnTo>
                      <a:pt x="3624" y="1506"/>
                    </a:lnTo>
                    <a:lnTo>
                      <a:pt x="3618" y="1512"/>
                    </a:lnTo>
                    <a:lnTo>
                      <a:pt x="3606" y="1512"/>
                    </a:lnTo>
                    <a:lnTo>
                      <a:pt x="3582" y="1524"/>
                    </a:lnTo>
                    <a:lnTo>
                      <a:pt x="3576" y="1536"/>
                    </a:lnTo>
                    <a:lnTo>
                      <a:pt x="3576" y="1548"/>
                    </a:lnTo>
                    <a:lnTo>
                      <a:pt x="3570" y="1548"/>
                    </a:lnTo>
                    <a:lnTo>
                      <a:pt x="3564" y="1554"/>
                    </a:lnTo>
                    <a:lnTo>
                      <a:pt x="3552" y="1554"/>
                    </a:lnTo>
                    <a:lnTo>
                      <a:pt x="3540" y="1560"/>
                    </a:lnTo>
                    <a:lnTo>
                      <a:pt x="3534" y="1566"/>
                    </a:lnTo>
                    <a:lnTo>
                      <a:pt x="3522" y="1572"/>
                    </a:lnTo>
                    <a:lnTo>
                      <a:pt x="3504" y="1590"/>
                    </a:lnTo>
                    <a:lnTo>
                      <a:pt x="3510" y="1596"/>
                    </a:lnTo>
                    <a:lnTo>
                      <a:pt x="3522" y="1602"/>
                    </a:lnTo>
                    <a:lnTo>
                      <a:pt x="3534" y="1614"/>
                    </a:lnTo>
                    <a:lnTo>
                      <a:pt x="3552" y="1620"/>
                    </a:lnTo>
                    <a:lnTo>
                      <a:pt x="3558" y="1632"/>
                    </a:lnTo>
                    <a:lnTo>
                      <a:pt x="3564" y="1638"/>
                    </a:lnTo>
                    <a:lnTo>
                      <a:pt x="3564" y="1662"/>
                    </a:lnTo>
                    <a:lnTo>
                      <a:pt x="3558" y="1698"/>
                    </a:lnTo>
                    <a:lnTo>
                      <a:pt x="3540" y="1746"/>
                    </a:lnTo>
                    <a:lnTo>
                      <a:pt x="3510" y="1776"/>
                    </a:lnTo>
                    <a:lnTo>
                      <a:pt x="3468" y="1800"/>
                    </a:lnTo>
                    <a:lnTo>
                      <a:pt x="3426" y="1830"/>
                    </a:lnTo>
                    <a:lnTo>
                      <a:pt x="3390" y="1854"/>
                    </a:lnTo>
                    <a:lnTo>
                      <a:pt x="3366" y="1860"/>
                    </a:lnTo>
                    <a:lnTo>
                      <a:pt x="3336" y="1860"/>
                    </a:lnTo>
                    <a:lnTo>
                      <a:pt x="3300" y="1866"/>
                    </a:lnTo>
                    <a:lnTo>
                      <a:pt x="3276" y="1872"/>
                    </a:lnTo>
                    <a:lnTo>
                      <a:pt x="3258" y="1878"/>
                    </a:lnTo>
                    <a:lnTo>
                      <a:pt x="3258" y="1902"/>
                    </a:lnTo>
                    <a:lnTo>
                      <a:pt x="3264" y="1914"/>
                    </a:lnTo>
                    <a:lnTo>
                      <a:pt x="3264" y="1926"/>
                    </a:lnTo>
                    <a:lnTo>
                      <a:pt x="3270" y="1938"/>
                    </a:lnTo>
                    <a:lnTo>
                      <a:pt x="3270" y="1950"/>
                    </a:lnTo>
                    <a:lnTo>
                      <a:pt x="3252" y="1968"/>
                    </a:lnTo>
                    <a:lnTo>
                      <a:pt x="3234" y="2004"/>
                    </a:lnTo>
                    <a:lnTo>
                      <a:pt x="3234" y="2076"/>
                    </a:lnTo>
                    <a:lnTo>
                      <a:pt x="3210" y="2088"/>
                    </a:lnTo>
                    <a:lnTo>
                      <a:pt x="3204" y="2094"/>
                    </a:lnTo>
                    <a:lnTo>
                      <a:pt x="3180" y="2106"/>
                    </a:lnTo>
                    <a:lnTo>
                      <a:pt x="3180" y="2142"/>
                    </a:lnTo>
                    <a:lnTo>
                      <a:pt x="3156" y="2166"/>
                    </a:lnTo>
                    <a:lnTo>
                      <a:pt x="3156" y="2154"/>
                    </a:lnTo>
                    <a:lnTo>
                      <a:pt x="3162" y="2148"/>
                    </a:lnTo>
                    <a:lnTo>
                      <a:pt x="3162" y="2142"/>
                    </a:lnTo>
                    <a:lnTo>
                      <a:pt x="3156" y="2130"/>
                    </a:lnTo>
                    <a:lnTo>
                      <a:pt x="3138" y="2130"/>
                    </a:lnTo>
                    <a:lnTo>
                      <a:pt x="3126" y="2136"/>
                    </a:lnTo>
                    <a:lnTo>
                      <a:pt x="3108" y="2154"/>
                    </a:lnTo>
                    <a:lnTo>
                      <a:pt x="3108" y="2166"/>
                    </a:lnTo>
                    <a:lnTo>
                      <a:pt x="3114" y="2178"/>
                    </a:lnTo>
                    <a:lnTo>
                      <a:pt x="3114" y="2190"/>
                    </a:lnTo>
                    <a:lnTo>
                      <a:pt x="3108" y="2196"/>
                    </a:lnTo>
                    <a:lnTo>
                      <a:pt x="3108" y="2178"/>
                    </a:lnTo>
                    <a:lnTo>
                      <a:pt x="3102" y="2166"/>
                    </a:lnTo>
                    <a:lnTo>
                      <a:pt x="3090" y="2154"/>
                    </a:lnTo>
                    <a:lnTo>
                      <a:pt x="3078" y="2154"/>
                    </a:lnTo>
                    <a:lnTo>
                      <a:pt x="3066" y="2160"/>
                    </a:lnTo>
                    <a:lnTo>
                      <a:pt x="3042" y="2160"/>
                    </a:lnTo>
                    <a:lnTo>
                      <a:pt x="3036" y="2166"/>
                    </a:lnTo>
                    <a:lnTo>
                      <a:pt x="3030" y="2166"/>
                    </a:lnTo>
                    <a:lnTo>
                      <a:pt x="3042" y="2160"/>
                    </a:lnTo>
                    <a:lnTo>
                      <a:pt x="3060" y="2142"/>
                    </a:lnTo>
                    <a:lnTo>
                      <a:pt x="3072" y="2136"/>
                    </a:lnTo>
                    <a:lnTo>
                      <a:pt x="3078" y="2124"/>
                    </a:lnTo>
                    <a:lnTo>
                      <a:pt x="3078" y="2118"/>
                    </a:lnTo>
                    <a:lnTo>
                      <a:pt x="3072" y="2106"/>
                    </a:lnTo>
                    <a:lnTo>
                      <a:pt x="3060" y="2100"/>
                    </a:lnTo>
                    <a:lnTo>
                      <a:pt x="3048" y="2088"/>
                    </a:lnTo>
                    <a:lnTo>
                      <a:pt x="3030" y="2088"/>
                    </a:lnTo>
                    <a:lnTo>
                      <a:pt x="3024" y="2082"/>
                    </a:lnTo>
                    <a:lnTo>
                      <a:pt x="3018" y="2082"/>
                    </a:lnTo>
                    <a:lnTo>
                      <a:pt x="3024" y="2082"/>
                    </a:lnTo>
                    <a:lnTo>
                      <a:pt x="3042" y="2064"/>
                    </a:lnTo>
                    <a:lnTo>
                      <a:pt x="3042" y="2058"/>
                    </a:lnTo>
                    <a:lnTo>
                      <a:pt x="3030" y="2034"/>
                    </a:lnTo>
                    <a:lnTo>
                      <a:pt x="3030" y="2028"/>
                    </a:lnTo>
                    <a:lnTo>
                      <a:pt x="3024" y="2016"/>
                    </a:lnTo>
                    <a:lnTo>
                      <a:pt x="3060" y="1992"/>
                    </a:lnTo>
                    <a:lnTo>
                      <a:pt x="3060" y="1968"/>
                    </a:lnTo>
                    <a:lnTo>
                      <a:pt x="3084" y="1956"/>
                    </a:lnTo>
                    <a:lnTo>
                      <a:pt x="3084" y="1914"/>
                    </a:lnTo>
                    <a:lnTo>
                      <a:pt x="3090" y="1914"/>
                    </a:lnTo>
                    <a:lnTo>
                      <a:pt x="3102" y="1902"/>
                    </a:lnTo>
                    <a:lnTo>
                      <a:pt x="3114" y="1896"/>
                    </a:lnTo>
                    <a:lnTo>
                      <a:pt x="3132" y="1878"/>
                    </a:lnTo>
                    <a:lnTo>
                      <a:pt x="3126" y="1866"/>
                    </a:lnTo>
                    <a:lnTo>
                      <a:pt x="3120" y="1860"/>
                    </a:lnTo>
                    <a:lnTo>
                      <a:pt x="3084" y="1848"/>
                    </a:lnTo>
                    <a:lnTo>
                      <a:pt x="2976" y="1848"/>
                    </a:lnTo>
                    <a:lnTo>
                      <a:pt x="2940" y="1860"/>
                    </a:lnTo>
                    <a:lnTo>
                      <a:pt x="2946" y="1848"/>
                    </a:lnTo>
                    <a:lnTo>
                      <a:pt x="2952" y="1842"/>
                    </a:lnTo>
                    <a:lnTo>
                      <a:pt x="2952" y="1830"/>
                    </a:lnTo>
                    <a:lnTo>
                      <a:pt x="2958" y="1824"/>
                    </a:lnTo>
                    <a:lnTo>
                      <a:pt x="2952" y="1818"/>
                    </a:lnTo>
                    <a:lnTo>
                      <a:pt x="2940" y="1812"/>
                    </a:lnTo>
                    <a:lnTo>
                      <a:pt x="2928" y="1812"/>
                    </a:lnTo>
                    <a:lnTo>
                      <a:pt x="2892" y="1800"/>
                    </a:lnTo>
                    <a:lnTo>
                      <a:pt x="2874" y="1800"/>
                    </a:lnTo>
                    <a:lnTo>
                      <a:pt x="2868" y="1794"/>
                    </a:lnTo>
                    <a:lnTo>
                      <a:pt x="2862" y="1794"/>
                    </a:lnTo>
                    <a:lnTo>
                      <a:pt x="2862" y="1770"/>
                    </a:lnTo>
                    <a:lnTo>
                      <a:pt x="2856" y="1752"/>
                    </a:lnTo>
                    <a:lnTo>
                      <a:pt x="2844" y="1740"/>
                    </a:lnTo>
                    <a:lnTo>
                      <a:pt x="2790" y="1722"/>
                    </a:lnTo>
                    <a:lnTo>
                      <a:pt x="2778" y="1722"/>
                    </a:lnTo>
                    <a:lnTo>
                      <a:pt x="2778" y="1716"/>
                    </a:lnTo>
                    <a:lnTo>
                      <a:pt x="2766" y="1704"/>
                    </a:lnTo>
                    <a:lnTo>
                      <a:pt x="2754" y="1704"/>
                    </a:lnTo>
                    <a:lnTo>
                      <a:pt x="2736" y="1698"/>
                    </a:lnTo>
                    <a:lnTo>
                      <a:pt x="2694" y="1698"/>
                    </a:lnTo>
                    <a:lnTo>
                      <a:pt x="2646" y="1704"/>
                    </a:lnTo>
                    <a:lnTo>
                      <a:pt x="2610" y="1716"/>
                    </a:lnTo>
                    <a:lnTo>
                      <a:pt x="2592" y="1716"/>
                    </a:lnTo>
                    <a:lnTo>
                      <a:pt x="2598" y="1716"/>
                    </a:lnTo>
                    <a:lnTo>
                      <a:pt x="2604" y="1710"/>
                    </a:lnTo>
                    <a:lnTo>
                      <a:pt x="2616" y="1710"/>
                    </a:lnTo>
                    <a:lnTo>
                      <a:pt x="2628" y="1704"/>
                    </a:lnTo>
                    <a:lnTo>
                      <a:pt x="2634" y="1692"/>
                    </a:lnTo>
                    <a:lnTo>
                      <a:pt x="2640" y="1686"/>
                    </a:lnTo>
                    <a:lnTo>
                      <a:pt x="2646" y="1662"/>
                    </a:lnTo>
                    <a:lnTo>
                      <a:pt x="2658" y="1632"/>
                    </a:lnTo>
                    <a:lnTo>
                      <a:pt x="2664" y="1602"/>
                    </a:lnTo>
                    <a:lnTo>
                      <a:pt x="2670" y="1590"/>
                    </a:lnTo>
                    <a:lnTo>
                      <a:pt x="2658" y="1590"/>
                    </a:lnTo>
                    <a:lnTo>
                      <a:pt x="2646" y="1584"/>
                    </a:lnTo>
                    <a:lnTo>
                      <a:pt x="2616" y="1584"/>
                    </a:lnTo>
                    <a:lnTo>
                      <a:pt x="2610" y="1590"/>
                    </a:lnTo>
                    <a:lnTo>
                      <a:pt x="2598" y="1596"/>
                    </a:lnTo>
                    <a:lnTo>
                      <a:pt x="2592" y="1602"/>
                    </a:lnTo>
                    <a:lnTo>
                      <a:pt x="2580" y="1608"/>
                    </a:lnTo>
                    <a:lnTo>
                      <a:pt x="2598" y="1578"/>
                    </a:lnTo>
                    <a:lnTo>
                      <a:pt x="2592" y="1560"/>
                    </a:lnTo>
                    <a:lnTo>
                      <a:pt x="2610" y="1542"/>
                    </a:lnTo>
                    <a:lnTo>
                      <a:pt x="2616" y="1530"/>
                    </a:lnTo>
                    <a:lnTo>
                      <a:pt x="2640" y="1506"/>
                    </a:lnTo>
                    <a:lnTo>
                      <a:pt x="2646" y="1494"/>
                    </a:lnTo>
                    <a:lnTo>
                      <a:pt x="2664" y="1476"/>
                    </a:lnTo>
                    <a:lnTo>
                      <a:pt x="2694" y="1452"/>
                    </a:lnTo>
                    <a:lnTo>
                      <a:pt x="2730" y="1428"/>
                    </a:lnTo>
                    <a:lnTo>
                      <a:pt x="2754" y="1410"/>
                    </a:lnTo>
                    <a:lnTo>
                      <a:pt x="2766" y="1404"/>
                    </a:lnTo>
                    <a:lnTo>
                      <a:pt x="2760" y="1392"/>
                    </a:lnTo>
                    <a:lnTo>
                      <a:pt x="2826" y="1368"/>
                    </a:lnTo>
                    <a:lnTo>
                      <a:pt x="2826" y="1350"/>
                    </a:lnTo>
                    <a:lnTo>
                      <a:pt x="2868" y="1344"/>
                    </a:lnTo>
                    <a:lnTo>
                      <a:pt x="2868" y="1326"/>
                    </a:lnTo>
                    <a:lnTo>
                      <a:pt x="2898" y="1320"/>
                    </a:lnTo>
                    <a:lnTo>
                      <a:pt x="2952" y="1284"/>
                    </a:lnTo>
                    <a:lnTo>
                      <a:pt x="3006" y="1284"/>
                    </a:lnTo>
                    <a:lnTo>
                      <a:pt x="3042" y="1278"/>
                    </a:lnTo>
                    <a:lnTo>
                      <a:pt x="3060" y="1266"/>
                    </a:lnTo>
                    <a:lnTo>
                      <a:pt x="3060" y="1254"/>
                    </a:lnTo>
                    <a:lnTo>
                      <a:pt x="3030" y="1224"/>
                    </a:lnTo>
                    <a:lnTo>
                      <a:pt x="2970" y="1230"/>
                    </a:lnTo>
                    <a:lnTo>
                      <a:pt x="2982" y="1218"/>
                    </a:lnTo>
                    <a:lnTo>
                      <a:pt x="2928" y="1194"/>
                    </a:lnTo>
                    <a:lnTo>
                      <a:pt x="2952" y="1188"/>
                    </a:lnTo>
                    <a:lnTo>
                      <a:pt x="3036" y="1212"/>
                    </a:lnTo>
                    <a:lnTo>
                      <a:pt x="3054" y="1230"/>
                    </a:lnTo>
                    <a:lnTo>
                      <a:pt x="3066" y="1236"/>
                    </a:lnTo>
                    <a:lnTo>
                      <a:pt x="3096" y="1236"/>
                    </a:lnTo>
                    <a:lnTo>
                      <a:pt x="3108" y="1230"/>
                    </a:lnTo>
                    <a:lnTo>
                      <a:pt x="3114" y="1218"/>
                    </a:lnTo>
                    <a:lnTo>
                      <a:pt x="3126" y="1206"/>
                    </a:lnTo>
                    <a:lnTo>
                      <a:pt x="3132" y="1194"/>
                    </a:lnTo>
                    <a:lnTo>
                      <a:pt x="3144" y="1188"/>
                    </a:lnTo>
                    <a:lnTo>
                      <a:pt x="3150" y="1182"/>
                    </a:lnTo>
                    <a:lnTo>
                      <a:pt x="3156" y="1182"/>
                    </a:lnTo>
                    <a:lnTo>
                      <a:pt x="3180" y="1194"/>
                    </a:lnTo>
                    <a:lnTo>
                      <a:pt x="3198" y="1200"/>
                    </a:lnTo>
                    <a:lnTo>
                      <a:pt x="3210" y="1200"/>
                    </a:lnTo>
                    <a:lnTo>
                      <a:pt x="3246" y="1182"/>
                    </a:lnTo>
                    <a:lnTo>
                      <a:pt x="3282" y="1170"/>
                    </a:lnTo>
                    <a:lnTo>
                      <a:pt x="3318" y="1152"/>
                    </a:lnTo>
                    <a:lnTo>
                      <a:pt x="3336" y="1146"/>
                    </a:lnTo>
                    <a:lnTo>
                      <a:pt x="3360" y="1134"/>
                    </a:lnTo>
                    <a:lnTo>
                      <a:pt x="3372" y="1122"/>
                    </a:lnTo>
                    <a:lnTo>
                      <a:pt x="3366" y="1116"/>
                    </a:lnTo>
                    <a:lnTo>
                      <a:pt x="3342" y="1110"/>
                    </a:lnTo>
                    <a:lnTo>
                      <a:pt x="3264" y="1110"/>
                    </a:lnTo>
                    <a:lnTo>
                      <a:pt x="3258" y="1086"/>
                    </a:lnTo>
                    <a:lnTo>
                      <a:pt x="3174" y="1056"/>
                    </a:lnTo>
                    <a:lnTo>
                      <a:pt x="3186" y="1056"/>
                    </a:lnTo>
                    <a:lnTo>
                      <a:pt x="3216" y="1050"/>
                    </a:lnTo>
                    <a:lnTo>
                      <a:pt x="3252" y="1050"/>
                    </a:lnTo>
                    <a:lnTo>
                      <a:pt x="3282" y="1056"/>
                    </a:lnTo>
                    <a:lnTo>
                      <a:pt x="3294" y="1062"/>
                    </a:lnTo>
                    <a:lnTo>
                      <a:pt x="3306" y="1074"/>
                    </a:lnTo>
                    <a:lnTo>
                      <a:pt x="3324" y="1086"/>
                    </a:lnTo>
                    <a:lnTo>
                      <a:pt x="3336" y="1098"/>
                    </a:lnTo>
                    <a:lnTo>
                      <a:pt x="3348" y="1104"/>
                    </a:lnTo>
                    <a:lnTo>
                      <a:pt x="3372" y="1098"/>
                    </a:lnTo>
                    <a:lnTo>
                      <a:pt x="3408" y="1080"/>
                    </a:lnTo>
                    <a:lnTo>
                      <a:pt x="3444" y="1068"/>
                    </a:lnTo>
                    <a:lnTo>
                      <a:pt x="3474" y="1050"/>
                    </a:lnTo>
                    <a:lnTo>
                      <a:pt x="3486" y="1044"/>
                    </a:lnTo>
                    <a:lnTo>
                      <a:pt x="3462" y="1032"/>
                    </a:lnTo>
                    <a:lnTo>
                      <a:pt x="3468" y="1026"/>
                    </a:lnTo>
                    <a:lnTo>
                      <a:pt x="3492" y="1014"/>
                    </a:lnTo>
                    <a:lnTo>
                      <a:pt x="3522" y="1014"/>
                    </a:lnTo>
                    <a:lnTo>
                      <a:pt x="3528" y="1020"/>
                    </a:lnTo>
                    <a:lnTo>
                      <a:pt x="3534" y="1032"/>
                    </a:lnTo>
                    <a:lnTo>
                      <a:pt x="3540" y="1038"/>
                    </a:lnTo>
                    <a:lnTo>
                      <a:pt x="3570" y="1050"/>
                    </a:lnTo>
                    <a:lnTo>
                      <a:pt x="3576" y="1026"/>
                    </a:lnTo>
                    <a:lnTo>
                      <a:pt x="3594" y="1044"/>
                    </a:lnTo>
                    <a:lnTo>
                      <a:pt x="3600" y="1038"/>
                    </a:lnTo>
                    <a:lnTo>
                      <a:pt x="3600" y="1026"/>
                    </a:lnTo>
                    <a:lnTo>
                      <a:pt x="3594" y="1014"/>
                    </a:lnTo>
                    <a:lnTo>
                      <a:pt x="3582" y="1002"/>
                    </a:lnTo>
                    <a:lnTo>
                      <a:pt x="3564" y="990"/>
                    </a:lnTo>
                    <a:lnTo>
                      <a:pt x="3606" y="984"/>
                    </a:lnTo>
                    <a:lnTo>
                      <a:pt x="3606" y="990"/>
                    </a:lnTo>
                    <a:lnTo>
                      <a:pt x="3612" y="996"/>
                    </a:lnTo>
                    <a:lnTo>
                      <a:pt x="3612" y="1008"/>
                    </a:lnTo>
                    <a:lnTo>
                      <a:pt x="3624" y="1032"/>
                    </a:lnTo>
                    <a:lnTo>
                      <a:pt x="3630" y="1038"/>
                    </a:lnTo>
                    <a:lnTo>
                      <a:pt x="3636" y="1038"/>
                    </a:lnTo>
                    <a:lnTo>
                      <a:pt x="3654" y="1032"/>
                    </a:lnTo>
                    <a:lnTo>
                      <a:pt x="3690" y="1026"/>
                    </a:lnTo>
                    <a:lnTo>
                      <a:pt x="3732" y="1008"/>
                    </a:lnTo>
                    <a:lnTo>
                      <a:pt x="3768" y="990"/>
                    </a:lnTo>
                    <a:lnTo>
                      <a:pt x="3798" y="972"/>
                    </a:lnTo>
                    <a:lnTo>
                      <a:pt x="3798" y="960"/>
                    </a:lnTo>
                    <a:lnTo>
                      <a:pt x="3786" y="942"/>
                    </a:lnTo>
                    <a:lnTo>
                      <a:pt x="3780" y="930"/>
                    </a:lnTo>
                    <a:lnTo>
                      <a:pt x="3774" y="912"/>
                    </a:lnTo>
                    <a:lnTo>
                      <a:pt x="3774" y="900"/>
                    </a:lnTo>
                    <a:lnTo>
                      <a:pt x="3780" y="894"/>
                    </a:lnTo>
                    <a:lnTo>
                      <a:pt x="3792" y="894"/>
                    </a:lnTo>
                    <a:lnTo>
                      <a:pt x="3804" y="888"/>
                    </a:lnTo>
                    <a:lnTo>
                      <a:pt x="3822" y="888"/>
                    </a:lnTo>
                    <a:lnTo>
                      <a:pt x="3840" y="882"/>
                    </a:lnTo>
                    <a:lnTo>
                      <a:pt x="3858" y="882"/>
                    </a:lnTo>
                    <a:lnTo>
                      <a:pt x="3864" y="876"/>
                    </a:lnTo>
                    <a:lnTo>
                      <a:pt x="3870" y="876"/>
                    </a:lnTo>
                    <a:lnTo>
                      <a:pt x="3870" y="858"/>
                    </a:lnTo>
                    <a:lnTo>
                      <a:pt x="3864" y="846"/>
                    </a:lnTo>
                    <a:lnTo>
                      <a:pt x="3864" y="840"/>
                    </a:lnTo>
                    <a:lnTo>
                      <a:pt x="3858" y="828"/>
                    </a:lnTo>
                    <a:lnTo>
                      <a:pt x="3840" y="804"/>
                    </a:lnTo>
                    <a:lnTo>
                      <a:pt x="3822" y="798"/>
                    </a:lnTo>
                    <a:lnTo>
                      <a:pt x="3786" y="792"/>
                    </a:lnTo>
                    <a:lnTo>
                      <a:pt x="3744" y="792"/>
                    </a:lnTo>
                    <a:lnTo>
                      <a:pt x="3708" y="804"/>
                    </a:lnTo>
                    <a:lnTo>
                      <a:pt x="3690" y="822"/>
                    </a:lnTo>
                    <a:lnTo>
                      <a:pt x="3690" y="840"/>
                    </a:lnTo>
                    <a:lnTo>
                      <a:pt x="3696" y="840"/>
                    </a:lnTo>
                    <a:lnTo>
                      <a:pt x="3702" y="846"/>
                    </a:lnTo>
                    <a:lnTo>
                      <a:pt x="3666" y="870"/>
                    </a:lnTo>
                    <a:lnTo>
                      <a:pt x="3642" y="870"/>
                    </a:lnTo>
                    <a:lnTo>
                      <a:pt x="3576" y="918"/>
                    </a:lnTo>
                    <a:lnTo>
                      <a:pt x="3552" y="930"/>
                    </a:lnTo>
                    <a:lnTo>
                      <a:pt x="3546" y="936"/>
                    </a:lnTo>
                    <a:lnTo>
                      <a:pt x="3540" y="948"/>
                    </a:lnTo>
                    <a:lnTo>
                      <a:pt x="3522" y="966"/>
                    </a:lnTo>
                    <a:lnTo>
                      <a:pt x="3492" y="966"/>
                    </a:lnTo>
                    <a:lnTo>
                      <a:pt x="3456" y="984"/>
                    </a:lnTo>
                    <a:lnTo>
                      <a:pt x="3456" y="972"/>
                    </a:lnTo>
                    <a:lnTo>
                      <a:pt x="3450" y="954"/>
                    </a:lnTo>
                    <a:lnTo>
                      <a:pt x="3450" y="918"/>
                    </a:lnTo>
                    <a:lnTo>
                      <a:pt x="3456" y="912"/>
                    </a:lnTo>
                    <a:lnTo>
                      <a:pt x="3480" y="900"/>
                    </a:lnTo>
                    <a:lnTo>
                      <a:pt x="3498" y="900"/>
                    </a:lnTo>
                    <a:lnTo>
                      <a:pt x="3510" y="894"/>
                    </a:lnTo>
                    <a:lnTo>
                      <a:pt x="3516" y="882"/>
                    </a:lnTo>
                    <a:lnTo>
                      <a:pt x="3516" y="870"/>
                    </a:lnTo>
                    <a:lnTo>
                      <a:pt x="3510" y="852"/>
                    </a:lnTo>
                    <a:lnTo>
                      <a:pt x="3504" y="846"/>
                    </a:lnTo>
                    <a:lnTo>
                      <a:pt x="3498" y="834"/>
                    </a:lnTo>
                    <a:lnTo>
                      <a:pt x="3486" y="834"/>
                    </a:lnTo>
                    <a:lnTo>
                      <a:pt x="3450" y="852"/>
                    </a:lnTo>
                    <a:lnTo>
                      <a:pt x="3432" y="858"/>
                    </a:lnTo>
                    <a:lnTo>
                      <a:pt x="3420" y="864"/>
                    </a:lnTo>
                    <a:lnTo>
                      <a:pt x="3414" y="870"/>
                    </a:lnTo>
                    <a:lnTo>
                      <a:pt x="3408" y="870"/>
                    </a:lnTo>
                    <a:lnTo>
                      <a:pt x="3378" y="900"/>
                    </a:lnTo>
                    <a:lnTo>
                      <a:pt x="3372" y="888"/>
                    </a:lnTo>
                    <a:lnTo>
                      <a:pt x="3396" y="858"/>
                    </a:lnTo>
                    <a:lnTo>
                      <a:pt x="3396" y="840"/>
                    </a:lnTo>
                    <a:lnTo>
                      <a:pt x="3438" y="822"/>
                    </a:lnTo>
                    <a:lnTo>
                      <a:pt x="3402" y="816"/>
                    </a:lnTo>
                    <a:lnTo>
                      <a:pt x="3408" y="804"/>
                    </a:lnTo>
                    <a:lnTo>
                      <a:pt x="3360" y="816"/>
                    </a:lnTo>
                    <a:lnTo>
                      <a:pt x="3336" y="804"/>
                    </a:lnTo>
                    <a:lnTo>
                      <a:pt x="3378" y="792"/>
                    </a:lnTo>
                    <a:lnTo>
                      <a:pt x="3378" y="774"/>
                    </a:lnTo>
                    <a:lnTo>
                      <a:pt x="3390" y="774"/>
                    </a:lnTo>
                    <a:lnTo>
                      <a:pt x="3396" y="780"/>
                    </a:lnTo>
                    <a:lnTo>
                      <a:pt x="3420" y="780"/>
                    </a:lnTo>
                    <a:lnTo>
                      <a:pt x="3426" y="774"/>
                    </a:lnTo>
                    <a:lnTo>
                      <a:pt x="3426" y="762"/>
                    </a:lnTo>
                    <a:lnTo>
                      <a:pt x="3420" y="756"/>
                    </a:lnTo>
                    <a:lnTo>
                      <a:pt x="3408" y="756"/>
                    </a:lnTo>
                    <a:lnTo>
                      <a:pt x="3396" y="744"/>
                    </a:lnTo>
                    <a:lnTo>
                      <a:pt x="3396" y="738"/>
                    </a:lnTo>
                    <a:lnTo>
                      <a:pt x="3420" y="690"/>
                    </a:lnTo>
                    <a:lnTo>
                      <a:pt x="3426" y="684"/>
                    </a:lnTo>
                    <a:lnTo>
                      <a:pt x="3426" y="672"/>
                    </a:lnTo>
                    <a:lnTo>
                      <a:pt x="3420" y="666"/>
                    </a:lnTo>
                    <a:lnTo>
                      <a:pt x="3414" y="666"/>
                    </a:lnTo>
                    <a:lnTo>
                      <a:pt x="3372" y="648"/>
                    </a:lnTo>
                    <a:lnTo>
                      <a:pt x="3348" y="660"/>
                    </a:lnTo>
                    <a:lnTo>
                      <a:pt x="3336" y="660"/>
                    </a:lnTo>
                    <a:lnTo>
                      <a:pt x="3318" y="666"/>
                    </a:lnTo>
                    <a:lnTo>
                      <a:pt x="3312" y="666"/>
                    </a:lnTo>
                    <a:lnTo>
                      <a:pt x="3306" y="672"/>
                    </a:lnTo>
                    <a:lnTo>
                      <a:pt x="3306" y="690"/>
                    </a:lnTo>
                    <a:lnTo>
                      <a:pt x="3240" y="690"/>
                    </a:lnTo>
                    <a:lnTo>
                      <a:pt x="3228" y="696"/>
                    </a:lnTo>
                    <a:lnTo>
                      <a:pt x="3222" y="702"/>
                    </a:lnTo>
                    <a:lnTo>
                      <a:pt x="3210" y="708"/>
                    </a:lnTo>
                    <a:lnTo>
                      <a:pt x="3198" y="720"/>
                    </a:lnTo>
                    <a:lnTo>
                      <a:pt x="3204" y="726"/>
                    </a:lnTo>
                    <a:lnTo>
                      <a:pt x="3216" y="732"/>
                    </a:lnTo>
                    <a:lnTo>
                      <a:pt x="3228" y="732"/>
                    </a:lnTo>
                    <a:lnTo>
                      <a:pt x="3234" y="738"/>
                    </a:lnTo>
                    <a:lnTo>
                      <a:pt x="3228" y="738"/>
                    </a:lnTo>
                    <a:lnTo>
                      <a:pt x="3222" y="744"/>
                    </a:lnTo>
                    <a:lnTo>
                      <a:pt x="3204" y="744"/>
                    </a:lnTo>
                    <a:lnTo>
                      <a:pt x="3180" y="756"/>
                    </a:lnTo>
                    <a:lnTo>
                      <a:pt x="3168" y="768"/>
                    </a:lnTo>
                    <a:lnTo>
                      <a:pt x="3168" y="774"/>
                    </a:lnTo>
                    <a:lnTo>
                      <a:pt x="3174" y="786"/>
                    </a:lnTo>
                    <a:lnTo>
                      <a:pt x="3186" y="798"/>
                    </a:lnTo>
                    <a:lnTo>
                      <a:pt x="3198" y="804"/>
                    </a:lnTo>
                    <a:lnTo>
                      <a:pt x="3204" y="810"/>
                    </a:lnTo>
                    <a:lnTo>
                      <a:pt x="3210" y="810"/>
                    </a:lnTo>
                    <a:lnTo>
                      <a:pt x="3234" y="798"/>
                    </a:lnTo>
                    <a:lnTo>
                      <a:pt x="3234" y="822"/>
                    </a:lnTo>
                    <a:lnTo>
                      <a:pt x="3240" y="828"/>
                    </a:lnTo>
                    <a:lnTo>
                      <a:pt x="3246" y="828"/>
                    </a:lnTo>
                    <a:lnTo>
                      <a:pt x="3258" y="822"/>
                    </a:lnTo>
                    <a:lnTo>
                      <a:pt x="3282" y="822"/>
                    </a:lnTo>
                    <a:lnTo>
                      <a:pt x="3276" y="828"/>
                    </a:lnTo>
                    <a:lnTo>
                      <a:pt x="3252" y="840"/>
                    </a:lnTo>
                    <a:lnTo>
                      <a:pt x="3246" y="840"/>
                    </a:lnTo>
                    <a:lnTo>
                      <a:pt x="3228" y="828"/>
                    </a:lnTo>
                    <a:lnTo>
                      <a:pt x="3222" y="846"/>
                    </a:lnTo>
                    <a:lnTo>
                      <a:pt x="3204" y="846"/>
                    </a:lnTo>
                    <a:lnTo>
                      <a:pt x="3192" y="852"/>
                    </a:lnTo>
                    <a:lnTo>
                      <a:pt x="3186" y="852"/>
                    </a:lnTo>
                    <a:lnTo>
                      <a:pt x="3180" y="858"/>
                    </a:lnTo>
                    <a:lnTo>
                      <a:pt x="3204" y="858"/>
                    </a:lnTo>
                    <a:lnTo>
                      <a:pt x="3228" y="846"/>
                    </a:lnTo>
                    <a:lnTo>
                      <a:pt x="3240" y="846"/>
                    </a:lnTo>
                    <a:lnTo>
                      <a:pt x="3240" y="852"/>
                    </a:lnTo>
                    <a:lnTo>
                      <a:pt x="3228" y="870"/>
                    </a:lnTo>
                    <a:lnTo>
                      <a:pt x="3210" y="882"/>
                    </a:lnTo>
                    <a:lnTo>
                      <a:pt x="3198" y="888"/>
                    </a:lnTo>
                    <a:lnTo>
                      <a:pt x="3180" y="894"/>
                    </a:lnTo>
                    <a:lnTo>
                      <a:pt x="3168" y="900"/>
                    </a:lnTo>
                    <a:lnTo>
                      <a:pt x="3162" y="906"/>
                    </a:lnTo>
                    <a:lnTo>
                      <a:pt x="3138" y="918"/>
                    </a:lnTo>
                    <a:lnTo>
                      <a:pt x="3132" y="924"/>
                    </a:lnTo>
                    <a:lnTo>
                      <a:pt x="3120" y="918"/>
                    </a:lnTo>
                    <a:lnTo>
                      <a:pt x="3114" y="918"/>
                    </a:lnTo>
                    <a:lnTo>
                      <a:pt x="3102" y="912"/>
                    </a:lnTo>
                    <a:lnTo>
                      <a:pt x="3090" y="912"/>
                    </a:lnTo>
                    <a:lnTo>
                      <a:pt x="3072" y="930"/>
                    </a:lnTo>
                    <a:lnTo>
                      <a:pt x="3060" y="936"/>
                    </a:lnTo>
                    <a:lnTo>
                      <a:pt x="3054" y="948"/>
                    </a:lnTo>
                    <a:lnTo>
                      <a:pt x="3054" y="972"/>
                    </a:lnTo>
                    <a:lnTo>
                      <a:pt x="3048" y="978"/>
                    </a:lnTo>
                    <a:lnTo>
                      <a:pt x="3042" y="966"/>
                    </a:lnTo>
                    <a:lnTo>
                      <a:pt x="3030" y="966"/>
                    </a:lnTo>
                    <a:lnTo>
                      <a:pt x="3018" y="960"/>
                    </a:lnTo>
                    <a:lnTo>
                      <a:pt x="3012" y="960"/>
                    </a:lnTo>
                    <a:lnTo>
                      <a:pt x="3006" y="954"/>
                    </a:lnTo>
                    <a:lnTo>
                      <a:pt x="3030" y="930"/>
                    </a:lnTo>
                    <a:lnTo>
                      <a:pt x="3042" y="924"/>
                    </a:lnTo>
                    <a:lnTo>
                      <a:pt x="3060" y="906"/>
                    </a:lnTo>
                    <a:lnTo>
                      <a:pt x="3072" y="900"/>
                    </a:lnTo>
                    <a:lnTo>
                      <a:pt x="3036" y="900"/>
                    </a:lnTo>
                    <a:lnTo>
                      <a:pt x="3030" y="888"/>
                    </a:lnTo>
                    <a:lnTo>
                      <a:pt x="3018" y="882"/>
                    </a:lnTo>
                    <a:lnTo>
                      <a:pt x="2994" y="882"/>
                    </a:lnTo>
                    <a:lnTo>
                      <a:pt x="2988" y="888"/>
                    </a:lnTo>
                    <a:lnTo>
                      <a:pt x="2946" y="888"/>
                    </a:lnTo>
                    <a:lnTo>
                      <a:pt x="2946" y="894"/>
                    </a:lnTo>
                    <a:lnTo>
                      <a:pt x="2940" y="906"/>
                    </a:lnTo>
                    <a:lnTo>
                      <a:pt x="2940" y="918"/>
                    </a:lnTo>
                    <a:lnTo>
                      <a:pt x="2946" y="918"/>
                    </a:lnTo>
                    <a:lnTo>
                      <a:pt x="2952" y="924"/>
                    </a:lnTo>
                    <a:lnTo>
                      <a:pt x="2964" y="924"/>
                    </a:lnTo>
                    <a:lnTo>
                      <a:pt x="2976" y="936"/>
                    </a:lnTo>
                    <a:lnTo>
                      <a:pt x="2982" y="936"/>
                    </a:lnTo>
                    <a:lnTo>
                      <a:pt x="2976" y="942"/>
                    </a:lnTo>
                    <a:lnTo>
                      <a:pt x="2958" y="942"/>
                    </a:lnTo>
                    <a:lnTo>
                      <a:pt x="2952" y="936"/>
                    </a:lnTo>
                    <a:lnTo>
                      <a:pt x="2940" y="930"/>
                    </a:lnTo>
                    <a:lnTo>
                      <a:pt x="2934" y="924"/>
                    </a:lnTo>
                    <a:lnTo>
                      <a:pt x="2916" y="912"/>
                    </a:lnTo>
                    <a:lnTo>
                      <a:pt x="2910" y="942"/>
                    </a:lnTo>
                    <a:lnTo>
                      <a:pt x="2904" y="942"/>
                    </a:lnTo>
                    <a:lnTo>
                      <a:pt x="2898" y="948"/>
                    </a:lnTo>
                    <a:lnTo>
                      <a:pt x="2862" y="948"/>
                    </a:lnTo>
                    <a:lnTo>
                      <a:pt x="2844" y="942"/>
                    </a:lnTo>
                    <a:lnTo>
                      <a:pt x="2826" y="942"/>
                    </a:lnTo>
                    <a:lnTo>
                      <a:pt x="2808" y="936"/>
                    </a:lnTo>
                    <a:lnTo>
                      <a:pt x="2718" y="936"/>
                    </a:lnTo>
                    <a:lnTo>
                      <a:pt x="2706" y="930"/>
                    </a:lnTo>
                    <a:lnTo>
                      <a:pt x="2700" y="918"/>
                    </a:lnTo>
                    <a:lnTo>
                      <a:pt x="2688" y="912"/>
                    </a:lnTo>
                    <a:lnTo>
                      <a:pt x="2628" y="918"/>
                    </a:lnTo>
                    <a:lnTo>
                      <a:pt x="2622" y="912"/>
                    </a:lnTo>
                    <a:lnTo>
                      <a:pt x="2616" y="900"/>
                    </a:lnTo>
                    <a:lnTo>
                      <a:pt x="2604" y="894"/>
                    </a:lnTo>
                    <a:lnTo>
                      <a:pt x="2598" y="894"/>
                    </a:lnTo>
                    <a:lnTo>
                      <a:pt x="2586" y="888"/>
                    </a:lnTo>
                    <a:lnTo>
                      <a:pt x="2568" y="888"/>
                    </a:lnTo>
                    <a:lnTo>
                      <a:pt x="2556" y="894"/>
                    </a:lnTo>
                    <a:lnTo>
                      <a:pt x="2538" y="900"/>
                    </a:lnTo>
                    <a:lnTo>
                      <a:pt x="2532" y="906"/>
                    </a:lnTo>
                    <a:lnTo>
                      <a:pt x="2526" y="906"/>
                    </a:lnTo>
                    <a:lnTo>
                      <a:pt x="2526" y="912"/>
                    </a:lnTo>
                    <a:lnTo>
                      <a:pt x="2484" y="912"/>
                    </a:lnTo>
                    <a:lnTo>
                      <a:pt x="2472" y="906"/>
                    </a:lnTo>
                    <a:lnTo>
                      <a:pt x="2442" y="906"/>
                    </a:lnTo>
                    <a:lnTo>
                      <a:pt x="2430" y="918"/>
                    </a:lnTo>
                    <a:lnTo>
                      <a:pt x="2430" y="930"/>
                    </a:lnTo>
                    <a:lnTo>
                      <a:pt x="2418" y="954"/>
                    </a:lnTo>
                    <a:lnTo>
                      <a:pt x="2412" y="960"/>
                    </a:lnTo>
                    <a:lnTo>
                      <a:pt x="2412" y="966"/>
                    </a:lnTo>
                    <a:lnTo>
                      <a:pt x="2400" y="996"/>
                    </a:lnTo>
                    <a:lnTo>
                      <a:pt x="2364" y="996"/>
                    </a:lnTo>
                    <a:lnTo>
                      <a:pt x="2358" y="1026"/>
                    </a:lnTo>
                    <a:lnTo>
                      <a:pt x="2334" y="978"/>
                    </a:lnTo>
                    <a:lnTo>
                      <a:pt x="2340" y="978"/>
                    </a:lnTo>
                    <a:lnTo>
                      <a:pt x="2352" y="984"/>
                    </a:lnTo>
                    <a:lnTo>
                      <a:pt x="2376" y="984"/>
                    </a:lnTo>
                    <a:lnTo>
                      <a:pt x="2388" y="972"/>
                    </a:lnTo>
                    <a:lnTo>
                      <a:pt x="2358" y="942"/>
                    </a:lnTo>
                    <a:lnTo>
                      <a:pt x="2340" y="942"/>
                    </a:lnTo>
                    <a:lnTo>
                      <a:pt x="2328" y="936"/>
                    </a:lnTo>
                    <a:lnTo>
                      <a:pt x="2316" y="936"/>
                    </a:lnTo>
                    <a:lnTo>
                      <a:pt x="2322" y="918"/>
                    </a:lnTo>
                    <a:lnTo>
                      <a:pt x="2304" y="924"/>
                    </a:lnTo>
                    <a:lnTo>
                      <a:pt x="2262" y="930"/>
                    </a:lnTo>
                    <a:lnTo>
                      <a:pt x="2208" y="936"/>
                    </a:lnTo>
                    <a:lnTo>
                      <a:pt x="2160" y="942"/>
                    </a:lnTo>
                    <a:lnTo>
                      <a:pt x="2112" y="942"/>
                    </a:lnTo>
                    <a:lnTo>
                      <a:pt x="2064" y="936"/>
                    </a:lnTo>
                    <a:lnTo>
                      <a:pt x="2034" y="930"/>
                    </a:lnTo>
                    <a:lnTo>
                      <a:pt x="2028" y="924"/>
                    </a:lnTo>
                    <a:lnTo>
                      <a:pt x="2052" y="918"/>
                    </a:lnTo>
                    <a:lnTo>
                      <a:pt x="2082" y="918"/>
                    </a:lnTo>
                    <a:lnTo>
                      <a:pt x="2118" y="912"/>
                    </a:lnTo>
                    <a:lnTo>
                      <a:pt x="2142" y="900"/>
                    </a:lnTo>
                    <a:lnTo>
                      <a:pt x="2142" y="888"/>
                    </a:lnTo>
                    <a:lnTo>
                      <a:pt x="2112" y="864"/>
                    </a:lnTo>
                    <a:lnTo>
                      <a:pt x="2082" y="852"/>
                    </a:lnTo>
                    <a:lnTo>
                      <a:pt x="2004" y="852"/>
                    </a:lnTo>
                    <a:lnTo>
                      <a:pt x="1968" y="840"/>
                    </a:lnTo>
                    <a:lnTo>
                      <a:pt x="1944" y="834"/>
                    </a:lnTo>
                    <a:lnTo>
                      <a:pt x="1938" y="828"/>
                    </a:lnTo>
                    <a:lnTo>
                      <a:pt x="1908" y="828"/>
                    </a:lnTo>
                    <a:lnTo>
                      <a:pt x="1896" y="822"/>
                    </a:lnTo>
                    <a:lnTo>
                      <a:pt x="1866" y="804"/>
                    </a:lnTo>
                    <a:lnTo>
                      <a:pt x="1836" y="792"/>
                    </a:lnTo>
                    <a:lnTo>
                      <a:pt x="1812" y="786"/>
                    </a:lnTo>
                    <a:lnTo>
                      <a:pt x="1800" y="792"/>
                    </a:lnTo>
                    <a:lnTo>
                      <a:pt x="1782" y="798"/>
                    </a:lnTo>
                    <a:lnTo>
                      <a:pt x="1770" y="804"/>
                    </a:lnTo>
                    <a:lnTo>
                      <a:pt x="1758" y="816"/>
                    </a:lnTo>
                    <a:lnTo>
                      <a:pt x="1734" y="828"/>
                    </a:lnTo>
                    <a:lnTo>
                      <a:pt x="1680" y="828"/>
                    </a:lnTo>
                    <a:lnTo>
                      <a:pt x="1710" y="810"/>
                    </a:lnTo>
                    <a:lnTo>
                      <a:pt x="1710" y="798"/>
                    </a:lnTo>
                    <a:lnTo>
                      <a:pt x="1734" y="768"/>
                    </a:lnTo>
                    <a:lnTo>
                      <a:pt x="1728" y="768"/>
                    </a:lnTo>
                    <a:lnTo>
                      <a:pt x="1722" y="774"/>
                    </a:lnTo>
                    <a:lnTo>
                      <a:pt x="1674" y="798"/>
                    </a:lnTo>
                    <a:lnTo>
                      <a:pt x="1650" y="822"/>
                    </a:lnTo>
                    <a:lnTo>
                      <a:pt x="1638" y="828"/>
                    </a:lnTo>
                    <a:lnTo>
                      <a:pt x="1620" y="834"/>
                    </a:lnTo>
                    <a:lnTo>
                      <a:pt x="1608" y="828"/>
                    </a:lnTo>
                    <a:lnTo>
                      <a:pt x="1602" y="816"/>
                    </a:lnTo>
                    <a:lnTo>
                      <a:pt x="1602" y="798"/>
                    </a:lnTo>
                    <a:lnTo>
                      <a:pt x="1614" y="774"/>
                    </a:lnTo>
                    <a:lnTo>
                      <a:pt x="1614" y="762"/>
                    </a:lnTo>
                    <a:lnTo>
                      <a:pt x="1608" y="750"/>
                    </a:lnTo>
                    <a:lnTo>
                      <a:pt x="1596" y="744"/>
                    </a:lnTo>
                    <a:lnTo>
                      <a:pt x="1590" y="738"/>
                    </a:lnTo>
                    <a:lnTo>
                      <a:pt x="1578" y="738"/>
                    </a:lnTo>
                    <a:lnTo>
                      <a:pt x="1572" y="744"/>
                    </a:lnTo>
                    <a:lnTo>
                      <a:pt x="1572" y="750"/>
                    </a:lnTo>
                    <a:lnTo>
                      <a:pt x="1578" y="762"/>
                    </a:lnTo>
                    <a:lnTo>
                      <a:pt x="1584" y="768"/>
                    </a:lnTo>
                    <a:lnTo>
                      <a:pt x="1542" y="768"/>
                    </a:lnTo>
                    <a:lnTo>
                      <a:pt x="1530" y="774"/>
                    </a:lnTo>
                    <a:lnTo>
                      <a:pt x="1512" y="780"/>
                    </a:lnTo>
                    <a:lnTo>
                      <a:pt x="1494" y="798"/>
                    </a:lnTo>
                    <a:lnTo>
                      <a:pt x="1446" y="798"/>
                    </a:lnTo>
                    <a:lnTo>
                      <a:pt x="1428" y="804"/>
                    </a:lnTo>
                    <a:lnTo>
                      <a:pt x="1416" y="804"/>
                    </a:lnTo>
                    <a:lnTo>
                      <a:pt x="1398" y="810"/>
                    </a:lnTo>
                    <a:lnTo>
                      <a:pt x="1380" y="810"/>
                    </a:lnTo>
                    <a:lnTo>
                      <a:pt x="1374" y="816"/>
                    </a:lnTo>
                    <a:lnTo>
                      <a:pt x="1368" y="816"/>
                    </a:lnTo>
                    <a:lnTo>
                      <a:pt x="1356" y="822"/>
                    </a:lnTo>
                    <a:lnTo>
                      <a:pt x="1350" y="828"/>
                    </a:lnTo>
                    <a:lnTo>
                      <a:pt x="1338" y="834"/>
                    </a:lnTo>
                    <a:lnTo>
                      <a:pt x="1314" y="816"/>
                    </a:lnTo>
                    <a:lnTo>
                      <a:pt x="1302" y="822"/>
                    </a:lnTo>
                    <a:lnTo>
                      <a:pt x="1296" y="828"/>
                    </a:lnTo>
                    <a:lnTo>
                      <a:pt x="1272" y="840"/>
                    </a:lnTo>
                    <a:lnTo>
                      <a:pt x="1260" y="840"/>
                    </a:lnTo>
                    <a:lnTo>
                      <a:pt x="1254" y="846"/>
                    </a:lnTo>
                    <a:lnTo>
                      <a:pt x="1242" y="846"/>
                    </a:lnTo>
                    <a:lnTo>
                      <a:pt x="1230" y="852"/>
                    </a:lnTo>
                    <a:lnTo>
                      <a:pt x="1224" y="858"/>
                    </a:lnTo>
                    <a:lnTo>
                      <a:pt x="1212" y="864"/>
                    </a:lnTo>
                    <a:lnTo>
                      <a:pt x="1176" y="864"/>
                    </a:lnTo>
                    <a:lnTo>
                      <a:pt x="1188" y="858"/>
                    </a:lnTo>
                    <a:lnTo>
                      <a:pt x="1194" y="846"/>
                    </a:lnTo>
                    <a:lnTo>
                      <a:pt x="1212" y="840"/>
                    </a:lnTo>
                    <a:lnTo>
                      <a:pt x="1236" y="828"/>
                    </a:lnTo>
                    <a:lnTo>
                      <a:pt x="1254" y="828"/>
                    </a:lnTo>
                    <a:lnTo>
                      <a:pt x="1266" y="822"/>
                    </a:lnTo>
                    <a:lnTo>
                      <a:pt x="1284" y="816"/>
                    </a:lnTo>
                    <a:lnTo>
                      <a:pt x="1290" y="810"/>
                    </a:lnTo>
                    <a:lnTo>
                      <a:pt x="1362" y="810"/>
                    </a:lnTo>
                    <a:lnTo>
                      <a:pt x="1386" y="798"/>
                    </a:lnTo>
                    <a:lnTo>
                      <a:pt x="1422" y="792"/>
                    </a:lnTo>
                    <a:lnTo>
                      <a:pt x="1458" y="780"/>
                    </a:lnTo>
                    <a:lnTo>
                      <a:pt x="1470" y="780"/>
                    </a:lnTo>
                    <a:lnTo>
                      <a:pt x="1476" y="774"/>
                    </a:lnTo>
                    <a:lnTo>
                      <a:pt x="1482" y="774"/>
                    </a:lnTo>
                    <a:lnTo>
                      <a:pt x="1476" y="768"/>
                    </a:lnTo>
                    <a:lnTo>
                      <a:pt x="1410" y="768"/>
                    </a:lnTo>
                    <a:lnTo>
                      <a:pt x="1398" y="774"/>
                    </a:lnTo>
                    <a:lnTo>
                      <a:pt x="1392" y="774"/>
                    </a:lnTo>
                    <a:lnTo>
                      <a:pt x="1380" y="780"/>
                    </a:lnTo>
                    <a:lnTo>
                      <a:pt x="1374" y="786"/>
                    </a:lnTo>
                    <a:lnTo>
                      <a:pt x="1368" y="786"/>
                    </a:lnTo>
                    <a:lnTo>
                      <a:pt x="1362" y="792"/>
                    </a:lnTo>
                    <a:lnTo>
                      <a:pt x="1278" y="792"/>
                    </a:lnTo>
                    <a:lnTo>
                      <a:pt x="1254" y="804"/>
                    </a:lnTo>
                    <a:lnTo>
                      <a:pt x="1248" y="810"/>
                    </a:lnTo>
                    <a:lnTo>
                      <a:pt x="1236" y="816"/>
                    </a:lnTo>
                    <a:lnTo>
                      <a:pt x="1230" y="822"/>
                    </a:lnTo>
                    <a:lnTo>
                      <a:pt x="1212" y="822"/>
                    </a:lnTo>
                    <a:lnTo>
                      <a:pt x="1158" y="846"/>
                    </a:lnTo>
                    <a:lnTo>
                      <a:pt x="1140" y="846"/>
                    </a:lnTo>
                    <a:lnTo>
                      <a:pt x="1128" y="858"/>
                    </a:lnTo>
                    <a:lnTo>
                      <a:pt x="1122" y="870"/>
                    </a:lnTo>
                    <a:lnTo>
                      <a:pt x="1122" y="876"/>
                    </a:lnTo>
                    <a:lnTo>
                      <a:pt x="1116" y="876"/>
                    </a:lnTo>
                    <a:lnTo>
                      <a:pt x="1110" y="870"/>
                    </a:lnTo>
                    <a:lnTo>
                      <a:pt x="1110" y="846"/>
                    </a:lnTo>
                    <a:lnTo>
                      <a:pt x="1116" y="846"/>
                    </a:lnTo>
                    <a:lnTo>
                      <a:pt x="1152" y="834"/>
                    </a:lnTo>
                    <a:lnTo>
                      <a:pt x="1176" y="822"/>
                    </a:lnTo>
                    <a:lnTo>
                      <a:pt x="1194" y="816"/>
                    </a:lnTo>
                    <a:lnTo>
                      <a:pt x="1188" y="810"/>
                    </a:lnTo>
                    <a:lnTo>
                      <a:pt x="1176" y="810"/>
                    </a:lnTo>
                    <a:lnTo>
                      <a:pt x="1164" y="804"/>
                    </a:lnTo>
                    <a:lnTo>
                      <a:pt x="1140" y="804"/>
                    </a:lnTo>
                    <a:lnTo>
                      <a:pt x="1122" y="822"/>
                    </a:lnTo>
                    <a:lnTo>
                      <a:pt x="1110" y="828"/>
                    </a:lnTo>
                    <a:lnTo>
                      <a:pt x="1092" y="828"/>
                    </a:lnTo>
                    <a:lnTo>
                      <a:pt x="1080" y="834"/>
                    </a:lnTo>
                    <a:lnTo>
                      <a:pt x="1068" y="834"/>
                    </a:lnTo>
                    <a:lnTo>
                      <a:pt x="1068" y="840"/>
                    </a:lnTo>
                    <a:lnTo>
                      <a:pt x="1062" y="846"/>
                    </a:lnTo>
                    <a:lnTo>
                      <a:pt x="1062" y="876"/>
                    </a:lnTo>
                    <a:lnTo>
                      <a:pt x="1038" y="858"/>
                    </a:lnTo>
                    <a:lnTo>
                      <a:pt x="972" y="852"/>
                    </a:lnTo>
                    <a:lnTo>
                      <a:pt x="960" y="846"/>
                    </a:lnTo>
                    <a:lnTo>
                      <a:pt x="948" y="834"/>
                    </a:lnTo>
                    <a:lnTo>
                      <a:pt x="936" y="834"/>
                    </a:lnTo>
                    <a:lnTo>
                      <a:pt x="936" y="828"/>
                    </a:lnTo>
                    <a:lnTo>
                      <a:pt x="942" y="822"/>
                    </a:lnTo>
                    <a:lnTo>
                      <a:pt x="942" y="810"/>
                    </a:lnTo>
                    <a:lnTo>
                      <a:pt x="948" y="804"/>
                    </a:lnTo>
                    <a:lnTo>
                      <a:pt x="834" y="804"/>
                    </a:lnTo>
                    <a:lnTo>
                      <a:pt x="852" y="804"/>
                    </a:lnTo>
                    <a:lnTo>
                      <a:pt x="78" y="1440"/>
                    </a:lnTo>
                    <a:lnTo>
                      <a:pt x="72" y="1446"/>
                    </a:lnTo>
                    <a:lnTo>
                      <a:pt x="60" y="1452"/>
                    </a:lnTo>
                    <a:lnTo>
                      <a:pt x="54" y="1464"/>
                    </a:lnTo>
                    <a:lnTo>
                      <a:pt x="54" y="1476"/>
                    </a:lnTo>
                    <a:lnTo>
                      <a:pt x="108" y="1476"/>
                    </a:lnTo>
                    <a:lnTo>
                      <a:pt x="120" y="1464"/>
                    </a:lnTo>
                    <a:lnTo>
                      <a:pt x="156" y="1464"/>
                    </a:lnTo>
                    <a:lnTo>
                      <a:pt x="132" y="1488"/>
                    </a:lnTo>
                    <a:lnTo>
                      <a:pt x="132" y="1494"/>
                    </a:lnTo>
                    <a:lnTo>
                      <a:pt x="138" y="1506"/>
                    </a:lnTo>
                    <a:lnTo>
                      <a:pt x="138" y="1524"/>
                    </a:lnTo>
                    <a:lnTo>
                      <a:pt x="144" y="1530"/>
                    </a:lnTo>
                    <a:lnTo>
                      <a:pt x="156" y="1536"/>
                    </a:lnTo>
                    <a:lnTo>
                      <a:pt x="162" y="1542"/>
                    </a:lnTo>
                    <a:lnTo>
                      <a:pt x="144" y="1560"/>
                    </a:lnTo>
                    <a:lnTo>
                      <a:pt x="144" y="1572"/>
                    </a:lnTo>
                    <a:lnTo>
                      <a:pt x="150" y="1572"/>
                    </a:lnTo>
                    <a:lnTo>
                      <a:pt x="156" y="1566"/>
                    </a:lnTo>
                    <a:lnTo>
                      <a:pt x="168" y="1560"/>
                    </a:lnTo>
                    <a:lnTo>
                      <a:pt x="174" y="1554"/>
                    </a:lnTo>
                    <a:lnTo>
                      <a:pt x="180" y="1554"/>
                    </a:lnTo>
                    <a:lnTo>
                      <a:pt x="186" y="1548"/>
                    </a:lnTo>
                    <a:lnTo>
                      <a:pt x="198" y="1548"/>
                    </a:lnTo>
                    <a:lnTo>
                      <a:pt x="210" y="1542"/>
                    </a:lnTo>
                    <a:lnTo>
                      <a:pt x="222" y="1542"/>
                    </a:lnTo>
                    <a:lnTo>
                      <a:pt x="234" y="1536"/>
                    </a:lnTo>
                    <a:lnTo>
                      <a:pt x="240" y="1530"/>
                    </a:lnTo>
                    <a:lnTo>
                      <a:pt x="258" y="1530"/>
                    </a:lnTo>
                    <a:lnTo>
                      <a:pt x="258" y="1518"/>
                    </a:lnTo>
                    <a:lnTo>
                      <a:pt x="264" y="1518"/>
                    </a:lnTo>
                    <a:lnTo>
                      <a:pt x="270" y="1512"/>
                    </a:lnTo>
                    <a:lnTo>
                      <a:pt x="282" y="1512"/>
                    </a:lnTo>
                    <a:lnTo>
                      <a:pt x="300" y="1506"/>
                    </a:lnTo>
                    <a:lnTo>
                      <a:pt x="312" y="1506"/>
                    </a:lnTo>
                    <a:lnTo>
                      <a:pt x="330" y="1512"/>
                    </a:lnTo>
                    <a:lnTo>
                      <a:pt x="336" y="1518"/>
                    </a:lnTo>
                    <a:lnTo>
                      <a:pt x="330" y="1524"/>
                    </a:lnTo>
                    <a:lnTo>
                      <a:pt x="324" y="1524"/>
                    </a:lnTo>
                    <a:lnTo>
                      <a:pt x="318" y="1530"/>
                    </a:lnTo>
                    <a:lnTo>
                      <a:pt x="318" y="1560"/>
                    </a:lnTo>
                    <a:lnTo>
                      <a:pt x="306" y="1572"/>
                    </a:lnTo>
                    <a:lnTo>
                      <a:pt x="324" y="1590"/>
                    </a:lnTo>
                    <a:lnTo>
                      <a:pt x="330" y="1602"/>
                    </a:lnTo>
                    <a:lnTo>
                      <a:pt x="330" y="1620"/>
                    </a:lnTo>
                    <a:lnTo>
                      <a:pt x="312" y="1656"/>
                    </a:lnTo>
                    <a:lnTo>
                      <a:pt x="312" y="1698"/>
                    </a:lnTo>
                    <a:lnTo>
                      <a:pt x="306" y="1704"/>
                    </a:lnTo>
                    <a:lnTo>
                      <a:pt x="300" y="1716"/>
                    </a:lnTo>
                    <a:lnTo>
                      <a:pt x="300" y="1728"/>
                    </a:lnTo>
                    <a:lnTo>
                      <a:pt x="294" y="1740"/>
                    </a:lnTo>
                    <a:lnTo>
                      <a:pt x="294" y="1746"/>
                    </a:lnTo>
                    <a:lnTo>
                      <a:pt x="300" y="1752"/>
                    </a:lnTo>
                    <a:lnTo>
                      <a:pt x="312" y="1758"/>
                    </a:lnTo>
                    <a:lnTo>
                      <a:pt x="318" y="1764"/>
                    </a:lnTo>
                    <a:lnTo>
                      <a:pt x="324" y="1764"/>
                    </a:lnTo>
                    <a:lnTo>
                      <a:pt x="330" y="1770"/>
                    </a:lnTo>
                    <a:lnTo>
                      <a:pt x="330" y="1776"/>
                    </a:lnTo>
                    <a:lnTo>
                      <a:pt x="348" y="1776"/>
                    </a:lnTo>
                    <a:lnTo>
                      <a:pt x="354" y="1782"/>
                    </a:lnTo>
                    <a:lnTo>
                      <a:pt x="354" y="1794"/>
                    </a:lnTo>
                    <a:lnTo>
                      <a:pt x="342" y="1800"/>
                    </a:lnTo>
                    <a:lnTo>
                      <a:pt x="330" y="1812"/>
                    </a:lnTo>
                    <a:lnTo>
                      <a:pt x="318" y="1818"/>
                    </a:lnTo>
                    <a:lnTo>
                      <a:pt x="318" y="1830"/>
                    </a:lnTo>
                    <a:lnTo>
                      <a:pt x="312" y="1842"/>
                    </a:lnTo>
                    <a:lnTo>
                      <a:pt x="294" y="1860"/>
                    </a:lnTo>
                    <a:lnTo>
                      <a:pt x="282" y="1866"/>
                    </a:lnTo>
                    <a:lnTo>
                      <a:pt x="270" y="1878"/>
                    </a:lnTo>
                    <a:lnTo>
                      <a:pt x="252" y="1884"/>
                    </a:lnTo>
                    <a:lnTo>
                      <a:pt x="234" y="1896"/>
                    </a:lnTo>
                    <a:lnTo>
                      <a:pt x="228" y="1902"/>
                    </a:lnTo>
                    <a:lnTo>
                      <a:pt x="222" y="1914"/>
                    </a:lnTo>
                    <a:lnTo>
                      <a:pt x="222" y="1926"/>
                    </a:lnTo>
                    <a:lnTo>
                      <a:pt x="216" y="1932"/>
                    </a:lnTo>
                    <a:lnTo>
                      <a:pt x="216" y="1944"/>
                    </a:lnTo>
                    <a:lnTo>
                      <a:pt x="204" y="1956"/>
                    </a:lnTo>
                    <a:lnTo>
                      <a:pt x="210" y="1962"/>
                    </a:lnTo>
                    <a:lnTo>
                      <a:pt x="216" y="1962"/>
                    </a:lnTo>
                    <a:lnTo>
                      <a:pt x="216" y="1974"/>
                    </a:lnTo>
                    <a:lnTo>
                      <a:pt x="228" y="1986"/>
                    </a:lnTo>
                    <a:lnTo>
                      <a:pt x="240" y="1980"/>
                    </a:lnTo>
                    <a:lnTo>
                      <a:pt x="246" y="1968"/>
                    </a:lnTo>
                    <a:lnTo>
                      <a:pt x="258" y="1962"/>
                    </a:lnTo>
                    <a:lnTo>
                      <a:pt x="276" y="1956"/>
                    </a:lnTo>
                    <a:lnTo>
                      <a:pt x="294" y="1938"/>
                    </a:lnTo>
                    <a:lnTo>
                      <a:pt x="306" y="1938"/>
                    </a:lnTo>
                    <a:lnTo>
                      <a:pt x="306" y="1944"/>
                    </a:lnTo>
                    <a:lnTo>
                      <a:pt x="300" y="1950"/>
                    </a:lnTo>
                    <a:lnTo>
                      <a:pt x="288" y="1956"/>
                    </a:lnTo>
                    <a:lnTo>
                      <a:pt x="282" y="1956"/>
                    </a:lnTo>
                    <a:lnTo>
                      <a:pt x="276" y="1962"/>
                    </a:lnTo>
                    <a:lnTo>
                      <a:pt x="276" y="1974"/>
                    </a:lnTo>
                    <a:lnTo>
                      <a:pt x="282" y="1986"/>
                    </a:lnTo>
                    <a:lnTo>
                      <a:pt x="294" y="1998"/>
                    </a:lnTo>
                    <a:lnTo>
                      <a:pt x="252" y="1992"/>
                    </a:lnTo>
                    <a:lnTo>
                      <a:pt x="246" y="1998"/>
                    </a:lnTo>
                    <a:lnTo>
                      <a:pt x="240" y="2010"/>
                    </a:lnTo>
                    <a:lnTo>
                      <a:pt x="234" y="2016"/>
                    </a:lnTo>
                    <a:lnTo>
                      <a:pt x="228" y="2028"/>
                    </a:lnTo>
                    <a:lnTo>
                      <a:pt x="228" y="2034"/>
                    </a:lnTo>
                    <a:lnTo>
                      <a:pt x="234" y="2034"/>
                    </a:lnTo>
                    <a:lnTo>
                      <a:pt x="240" y="2040"/>
                    </a:lnTo>
                    <a:lnTo>
                      <a:pt x="252" y="2040"/>
                    </a:lnTo>
                    <a:lnTo>
                      <a:pt x="258" y="2046"/>
                    </a:lnTo>
                    <a:lnTo>
                      <a:pt x="252" y="2052"/>
                    </a:lnTo>
                    <a:lnTo>
                      <a:pt x="252" y="2058"/>
                    </a:lnTo>
                    <a:lnTo>
                      <a:pt x="246" y="2070"/>
                    </a:lnTo>
                    <a:lnTo>
                      <a:pt x="246" y="2076"/>
                    </a:lnTo>
                    <a:lnTo>
                      <a:pt x="252" y="2070"/>
                    </a:lnTo>
                    <a:lnTo>
                      <a:pt x="288" y="2052"/>
                    </a:lnTo>
                    <a:lnTo>
                      <a:pt x="306" y="2034"/>
                    </a:lnTo>
                    <a:lnTo>
                      <a:pt x="318" y="2028"/>
                    </a:lnTo>
                    <a:lnTo>
                      <a:pt x="318" y="2040"/>
                    </a:lnTo>
                    <a:lnTo>
                      <a:pt x="288" y="2058"/>
                    </a:lnTo>
                    <a:lnTo>
                      <a:pt x="312" y="2064"/>
                    </a:lnTo>
                    <a:lnTo>
                      <a:pt x="312" y="2076"/>
                    </a:lnTo>
                    <a:lnTo>
                      <a:pt x="294" y="2094"/>
                    </a:lnTo>
                    <a:lnTo>
                      <a:pt x="276" y="2076"/>
                    </a:lnTo>
                    <a:lnTo>
                      <a:pt x="270" y="2076"/>
                    </a:lnTo>
                    <a:lnTo>
                      <a:pt x="264" y="2082"/>
                    </a:lnTo>
                    <a:lnTo>
                      <a:pt x="240" y="2094"/>
                    </a:lnTo>
                    <a:lnTo>
                      <a:pt x="228" y="2094"/>
                    </a:lnTo>
                    <a:lnTo>
                      <a:pt x="216" y="2106"/>
                    </a:lnTo>
                    <a:lnTo>
                      <a:pt x="210" y="2118"/>
                    </a:lnTo>
                    <a:lnTo>
                      <a:pt x="204" y="2124"/>
                    </a:lnTo>
                    <a:lnTo>
                      <a:pt x="210" y="2118"/>
                    </a:lnTo>
                    <a:lnTo>
                      <a:pt x="222" y="2118"/>
                    </a:lnTo>
                    <a:lnTo>
                      <a:pt x="228" y="2112"/>
                    </a:lnTo>
                    <a:lnTo>
                      <a:pt x="276" y="2112"/>
                    </a:lnTo>
                    <a:lnTo>
                      <a:pt x="270" y="2112"/>
                    </a:lnTo>
                    <a:lnTo>
                      <a:pt x="264" y="2118"/>
                    </a:lnTo>
                    <a:lnTo>
                      <a:pt x="252" y="2118"/>
                    </a:lnTo>
                    <a:lnTo>
                      <a:pt x="240" y="2124"/>
                    </a:lnTo>
                    <a:lnTo>
                      <a:pt x="228" y="2124"/>
                    </a:lnTo>
                    <a:lnTo>
                      <a:pt x="216" y="2130"/>
                    </a:lnTo>
                    <a:lnTo>
                      <a:pt x="210" y="2130"/>
                    </a:lnTo>
                    <a:lnTo>
                      <a:pt x="210" y="2148"/>
                    </a:lnTo>
                    <a:lnTo>
                      <a:pt x="204" y="2148"/>
                    </a:lnTo>
                    <a:lnTo>
                      <a:pt x="198" y="2142"/>
                    </a:lnTo>
                    <a:lnTo>
                      <a:pt x="174" y="2142"/>
                    </a:lnTo>
                    <a:lnTo>
                      <a:pt x="174" y="2154"/>
                    </a:lnTo>
                    <a:lnTo>
                      <a:pt x="180" y="2166"/>
                    </a:lnTo>
                    <a:lnTo>
                      <a:pt x="192" y="2172"/>
                    </a:lnTo>
                    <a:lnTo>
                      <a:pt x="198" y="2178"/>
                    </a:lnTo>
                    <a:lnTo>
                      <a:pt x="246" y="2160"/>
                    </a:lnTo>
                    <a:lnTo>
                      <a:pt x="264" y="2184"/>
                    </a:lnTo>
                    <a:lnTo>
                      <a:pt x="300" y="2166"/>
                    </a:lnTo>
                    <a:lnTo>
                      <a:pt x="294" y="2172"/>
                    </a:lnTo>
                    <a:lnTo>
                      <a:pt x="288" y="2184"/>
                    </a:lnTo>
                    <a:lnTo>
                      <a:pt x="276" y="2190"/>
                    </a:lnTo>
                    <a:lnTo>
                      <a:pt x="270" y="2196"/>
                    </a:lnTo>
                    <a:lnTo>
                      <a:pt x="264" y="2208"/>
                    </a:lnTo>
                    <a:lnTo>
                      <a:pt x="264" y="2214"/>
                    </a:lnTo>
                    <a:lnTo>
                      <a:pt x="276" y="2214"/>
                    </a:lnTo>
                    <a:lnTo>
                      <a:pt x="282" y="2208"/>
                    </a:lnTo>
                    <a:lnTo>
                      <a:pt x="300" y="2202"/>
                    </a:lnTo>
                    <a:lnTo>
                      <a:pt x="318" y="2184"/>
                    </a:lnTo>
                    <a:lnTo>
                      <a:pt x="330" y="2178"/>
                    </a:lnTo>
                    <a:lnTo>
                      <a:pt x="306" y="2202"/>
                    </a:lnTo>
                    <a:lnTo>
                      <a:pt x="300" y="2214"/>
                    </a:lnTo>
                    <a:lnTo>
                      <a:pt x="294" y="2220"/>
                    </a:lnTo>
                    <a:lnTo>
                      <a:pt x="300" y="2220"/>
                    </a:lnTo>
                    <a:lnTo>
                      <a:pt x="312" y="2214"/>
                    </a:lnTo>
                    <a:lnTo>
                      <a:pt x="324" y="2214"/>
                    </a:lnTo>
                    <a:lnTo>
                      <a:pt x="318" y="2220"/>
                    </a:lnTo>
                    <a:lnTo>
                      <a:pt x="306" y="2226"/>
                    </a:lnTo>
                    <a:lnTo>
                      <a:pt x="300" y="2238"/>
                    </a:lnTo>
                    <a:lnTo>
                      <a:pt x="282" y="2256"/>
                    </a:lnTo>
                    <a:lnTo>
                      <a:pt x="288" y="2262"/>
                    </a:lnTo>
                    <a:lnTo>
                      <a:pt x="294" y="2262"/>
                    </a:lnTo>
                    <a:lnTo>
                      <a:pt x="342" y="2238"/>
                    </a:lnTo>
                    <a:lnTo>
                      <a:pt x="348" y="2232"/>
                    </a:lnTo>
                    <a:lnTo>
                      <a:pt x="324" y="2256"/>
                    </a:lnTo>
                    <a:lnTo>
                      <a:pt x="318" y="2268"/>
                    </a:lnTo>
                    <a:lnTo>
                      <a:pt x="318" y="2274"/>
                    </a:lnTo>
                    <a:lnTo>
                      <a:pt x="330" y="2280"/>
                    </a:lnTo>
                    <a:lnTo>
                      <a:pt x="342" y="2280"/>
                    </a:lnTo>
                    <a:lnTo>
                      <a:pt x="354" y="2292"/>
                    </a:lnTo>
                    <a:lnTo>
                      <a:pt x="354" y="2298"/>
                    </a:lnTo>
                    <a:lnTo>
                      <a:pt x="348" y="2304"/>
                    </a:lnTo>
                    <a:lnTo>
                      <a:pt x="348" y="2340"/>
                    </a:lnTo>
                    <a:lnTo>
                      <a:pt x="2058" y="2340"/>
                    </a:lnTo>
                    <a:lnTo>
                      <a:pt x="2064" y="2328"/>
                    </a:lnTo>
                    <a:lnTo>
                      <a:pt x="2064" y="2322"/>
                    </a:lnTo>
                    <a:lnTo>
                      <a:pt x="2070" y="2310"/>
                    </a:lnTo>
                    <a:lnTo>
                      <a:pt x="2076" y="2304"/>
                    </a:lnTo>
                    <a:lnTo>
                      <a:pt x="2088" y="2298"/>
                    </a:lnTo>
                    <a:lnTo>
                      <a:pt x="2100" y="2310"/>
                    </a:lnTo>
                    <a:lnTo>
                      <a:pt x="2088" y="2322"/>
                    </a:lnTo>
                    <a:lnTo>
                      <a:pt x="2082" y="2334"/>
                    </a:lnTo>
                    <a:lnTo>
                      <a:pt x="2082" y="2346"/>
                    </a:lnTo>
                    <a:lnTo>
                      <a:pt x="2094" y="2352"/>
                    </a:lnTo>
                    <a:lnTo>
                      <a:pt x="2112" y="2358"/>
                    </a:lnTo>
                    <a:lnTo>
                      <a:pt x="2124" y="2358"/>
                    </a:lnTo>
                    <a:lnTo>
                      <a:pt x="2142" y="2376"/>
                    </a:lnTo>
                    <a:lnTo>
                      <a:pt x="2154" y="2376"/>
                    </a:lnTo>
                    <a:lnTo>
                      <a:pt x="2154" y="2370"/>
                    </a:lnTo>
                    <a:lnTo>
                      <a:pt x="2166" y="2358"/>
                    </a:lnTo>
                    <a:lnTo>
                      <a:pt x="2178" y="2358"/>
                    </a:lnTo>
                    <a:lnTo>
                      <a:pt x="2190" y="2364"/>
                    </a:lnTo>
                    <a:lnTo>
                      <a:pt x="2202" y="2376"/>
                    </a:lnTo>
                    <a:lnTo>
                      <a:pt x="2202" y="2382"/>
                    </a:lnTo>
                    <a:lnTo>
                      <a:pt x="2208" y="2388"/>
                    </a:lnTo>
                    <a:lnTo>
                      <a:pt x="2238" y="2388"/>
                    </a:lnTo>
                    <a:lnTo>
                      <a:pt x="2256" y="2406"/>
                    </a:lnTo>
                    <a:lnTo>
                      <a:pt x="2268" y="2406"/>
                    </a:lnTo>
                    <a:lnTo>
                      <a:pt x="2280" y="2394"/>
                    </a:lnTo>
                    <a:lnTo>
                      <a:pt x="2292" y="2388"/>
                    </a:lnTo>
                    <a:lnTo>
                      <a:pt x="2298" y="2382"/>
                    </a:lnTo>
                    <a:lnTo>
                      <a:pt x="2298" y="2400"/>
                    </a:lnTo>
                    <a:lnTo>
                      <a:pt x="2346" y="2394"/>
                    </a:lnTo>
                    <a:lnTo>
                      <a:pt x="2346" y="2400"/>
                    </a:lnTo>
                    <a:lnTo>
                      <a:pt x="2352" y="2400"/>
                    </a:lnTo>
                    <a:lnTo>
                      <a:pt x="2364" y="2406"/>
                    </a:lnTo>
                    <a:lnTo>
                      <a:pt x="2382" y="2406"/>
                    </a:lnTo>
                    <a:lnTo>
                      <a:pt x="2394" y="2394"/>
                    </a:lnTo>
                    <a:lnTo>
                      <a:pt x="2406" y="2388"/>
                    </a:lnTo>
                    <a:lnTo>
                      <a:pt x="2412" y="2376"/>
                    </a:lnTo>
                    <a:lnTo>
                      <a:pt x="2412" y="2370"/>
                    </a:lnTo>
                    <a:lnTo>
                      <a:pt x="2430" y="2370"/>
                    </a:lnTo>
                    <a:lnTo>
                      <a:pt x="2436" y="2376"/>
                    </a:lnTo>
                    <a:lnTo>
                      <a:pt x="2442" y="2376"/>
                    </a:lnTo>
                    <a:lnTo>
                      <a:pt x="2454" y="2364"/>
                    </a:lnTo>
                    <a:lnTo>
                      <a:pt x="2460" y="2352"/>
                    </a:lnTo>
                    <a:lnTo>
                      <a:pt x="2466" y="2346"/>
                    </a:lnTo>
                    <a:lnTo>
                      <a:pt x="2472" y="2346"/>
                    </a:lnTo>
                    <a:lnTo>
                      <a:pt x="2472" y="2352"/>
                    </a:lnTo>
                    <a:lnTo>
                      <a:pt x="2478" y="2358"/>
                    </a:lnTo>
                    <a:lnTo>
                      <a:pt x="2502" y="2352"/>
                    </a:lnTo>
                    <a:lnTo>
                      <a:pt x="2496" y="2346"/>
                    </a:lnTo>
                    <a:lnTo>
                      <a:pt x="2496" y="2334"/>
                    </a:lnTo>
                    <a:lnTo>
                      <a:pt x="2502" y="2328"/>
                    </a:lnTo>
                    <a:lnTo>
                      <a:pt x="2514" y="2322"/>
                    </a:lnTo>
                    <a:lnTo>
                      <a:pt x="2532" y="2340"/>
                    </a:lnTo>
                    <a:lnTo>
                      <a:pt x="2556" y="2340"/>
                    </a:lnTo>
                    <a:lnTo>
                      <a:pt x="2562" y="2346"/>
                    </a:lnTo>
                    <a:lnTo>
                      <a:pt x="2580" y="2346"/>
                    </a:lnTo>
                    <a:lnTo>
                      <a:pt x="2604" y="2358"/>
                    </a:lnTo>
                    <a:lnTo>
                      <a:pt x="2604" y="2370"/>
                    </a:lnTo>
                    <a:lnTo>
                      <a:pt x="2598" y="2382"/>
                    </a:lnTo>
                    <a:lnTo>
                      <a:pt x="2598" y="2388"/>
                    </a:lnTo>
                    <a:lnTo>
                      <a:pt x="2592" y="2400"/>
                    </a:lnTo>
                    <a:lnTo>
                      <a:pt x="2604" y="2412"/>
                    </a:lnTo>
                    <a:lnTo>
                      <a:pt x="2592" y="2436"/>
                    </a:lnTo>
                    <a:lnTo>
                      <a:pt x="2598" y="2436"/>
                    </a:lnTo>
                    <a:lnTo>
                      <a:pt x="2604" y="2430"/>
                    </a:lnTo>
                    <a:lnTo>
                      <a:pt x="2616" y="2424"/>
                    </a:lnTo>
                    <a:lnTo>
                      <a:pt x="2634" y="2418"/>
                    </a:lnTo>
                    <a:lnTo>
                      <a:pt x="2646" y="2412"/>
                    </a:lnTo>
                    <a:lnTo>
                      <a:pt x="2670" y="2412"/>
                    </a:lnTo>
                    <a:lnTo>
                      <a:pt x="2670" y="2424"/>
                    </a:lnTo>
                    <a:lnTo>
                      <a:pt x="2658" y="2430"/>
                    </a:lnTo>
                    <a:lnTo>
                      <a:pt x="2652" y="2436"/>
                    </a:lnTo>
                    <a:lnTo>
                      <a:pt x="2646" y="2436"/>
                    </a:lnTo>
                    <a:lnTo>
                      <a:pt x="2640" y="2442"/>
                    </a:lnTo>
                    <a:lnTo>
                      <a:pt x="2646" y="2448"/>
                    </a:lnTo>
                    <a:lnTo>
                      <a:pt x="2652" y="2448"/>
                    </a:lnTo>
                    <a:lnTo>
                      <a:pt x="2664" y="2460"/>
                    </a:lnTo>
                    <a:lnTo>
                      <a:pt x="2640" y="2484"/>
                    </a:lnTo>
                    <a:lnTo>
                      <a:pt x="2640" y="2490"/>
                    </a:lnTo>
                    <a:lnTo>
                      <a:pt x="2652" y="2490"/>
                    </a:lnTo>
                    <a:lnTo>
                      <a:pt x="2652" y="2502"/>
                    </a:lnTo>
                    <a:lnTo>
                      <a:pt x="2640" y="2514"/>
                    </a:lnTo>
                    <a:lnTo>
                      <a:pt x="2640" y="2526"/>
                    </a:lnTo>
                    <a:lnTo>
                      <a:pt x="2658" y="2526"/>
                    </a:lnTo>
                    <a:lnTo>
                      <a:pt x="2652" y="2544"/>
                    </a:lnTo>
                    <a:lnTo>
                      <a:pt x="2658" y="2544"/>
                    </a:lnTo>
                    <a:lnTo>
                      <a:pt x="2670" y="2550"/>
                    </a:lnTo>
                    <a:lnTo>
                      <a:pt x="2754" y="2550"/>
                    </a:lnTo>
                    <a:lnTo>
                      <a:pt x="2766" y="2556"/>
                    </a:lnTo>
                    <a:lnTo>
                      <a:pt x="2784" y="2568"/>
                    </a:lnTo>
                    <a:lnTo>
                      <a:pt x="2838" y="2568"/>
                    </a:lnTo>
                    <a:lnTo>
                      <a:pt x="2850" y="2574"/>
                    </a:lnTo>
                    <a:lnTo>
                      <a:pt x="2856" y="2580"/>
                    </a:lnTo>
                    <a:lnTo>
                      <a:pt x="2856" y="2610"/>
                    </a:lnTo>
                    <a:lnTo>
                      <a:pt x="2874" y="2610"/>
                    </a:lnTo>
                    <a:lnTo>
                      <a:pt x="2874" y="2628"/>
                    </a:lnTo>
                    <a:lnTo>
                      <a:pt x="2862" y="2640"/>
                    </a:lnTo>
                    <a:lnTo>
                      <a:pt x="2862" y="2652"/>
                    </a:lnTo>
                    <a:lnTo>
                      <a:pt x="2874" y="2664"/>
                    </a:lnTo>
                    <a:lnTo>
                      <a:pt x="2880" y="2664"/>
                    </a:lnTo>
                    <a:lnTo>
                      <a:pt x="2856" y="2658"/>
                    </a:lnTo>
                    <a:lnTo>
                      <a:pt x="2856" y="2670"/>
                    </a:lnTo>
                    <a:lnTo>
                      <a:pt x="2850" y="2676"/>
                    </a:lnTo>
                    <a:lnTo>
                      <a:pt x="2844" y="2688"/>
                    </a:lnTo>
                    <a:lnTo>
                      <a:pt x="2838" y="2694"/>
                    </a:lnTo>
                    <a:lnTo>
                      <a:pt x="2832" y="2688"/>
                    </a:lnTo>
                    <a:lnTo>
                      <a:pt x="2820" y="2682"/>
                    </a:lnTo>
                    <a:lnTo>
                      <a:pt x="2802" y="2670"/>
                    </a:lnTo>
                    <a:lnTo>
                      <a:pt x="2790" y="2664"/>
                    </a:lnTo>
                    <a:lnTo>
                      <a:pt x="2784" y="2652"/>
                    </a:lnTo>
                    <a:lnTo>
                      <a:pt x="2784" y="2628"/>
                    </a:lnTo>
                    <a:lnTo>
                      <a:pt x="2766" y="2622"/>
                    </a:lnTo>
                    <a:lnTo>
                      <a:pt x="2772" y="2640"/>
                    </a:lnTo>
                    <a:lnTo>
                      <a:pt x="2772" y="2646"/>
                    </a:lnTo>
                    <a:lnTo>
                      <a:pt x="2778" y="2652"/>
                    </a:lnTo>
                    <a:lnTo>
                      <a:pt x="2778" y="2664"/>
                    </a:lnTo>
                    <a:lnTo>
                      <a:pt x="2772" y="2676"/>
                    </a:lnTo>
                    <a:lnTo>
                      <a:pt x="2760" y="2688"/>
                    </a:lnTo>
                    <a:lnTo>
                      <a:pt x="2754" y="2700"/>
                    </a:lnTo>
                    <a:lnTo>
                      <a:pt x="2736" y="2706"/>
                    </a:lnTo>
                    <a:lnTo>
                      <a:pt x="2718" y="2724"/>
                    </a:lnTo>
                    <a:lnTo>
                      <a:pt x="2712" y="2742"/>
                    </a:lnTo>
                    <a:lnTo>
                      <a:pt x="2700" y="2760"/>
                    </a:lnTo>
                    <a:lnTo>
                      <a:pt x="2694" y="2778"/>
                    </a:lnTo>
                    <a:lnTo>
                      <a:pt x="2688" y="2784"/>
                    </a:lnTo>
                    <a:lnTo>
                      <a:pt x="2664" y="2796"/>
                    </a:lnTo>
                    <a:lnTo>
                      <a:pt x="2652" y="2796"/>
                    </a:lnTo>
                    <a:lnTo>
                      <a:pt x="2646" y="2790"/>
                    </a:lnTo>
                    <a:lnTo>
                      <a:pt x="2640" y="2802"/>
                    </a:lnTo>
                    <a:lnTo>
                      <a:pt x="2634" y="2808"/>
                    </a:lnTo>
                    <a:lnTo>
                      <a:pt x="2634" y="2832"/>
                    </a:lnTo>
                    <a:lnTo>
                      <a:pt x="2628" y="2838"/>
                    </a:lnTo>
                    <a:lnTo>
                      <a:pt x="2622" y="2838"/>
                    </a:lnTo>
                    <a:lnTo>
                      <a:pt x="2586" y="2856"/>
                    </a:lnTo>
                    <a:lnTo>
                      <a:pt x="2562" y="2880"/>
                    </a:lnTo>
                    <a:lnTo>
                      <a:pt x="2562" y="2886"/>
                    </a:lnTo>
                    <a:lnTo>
                      <a:pt x="2568" y="2886"/>
                    </a:lnTo>
                    <a:lnTo>
                      <a:pt x="2580" y="2880"/>
                    </a:lnTo>
                    <a:lnTo>
                      <a:pt x="2592" y="2880"/>
                    </a:lnTo>
                    <a:lnTo>
                      <a:pt x="2598" y="2886"/>
                    </a:lnTo>
                    <a:lnTo>
                      <a:pt x="2610" y="2880"/>
                    </a:lnTo>
                    <a:lnTo>
                      <a:pt x="2616" y="2868"/>
                    </a:lnTo>
                    <a:lnTo>
                      <a:pt x="2628" y="2862"/>
                    </a:lnTo>
                    <a:lnTo>
                      <a:pt x="2658" y="2862"/>
                    </a:lnTo>
                    <a:lnTo>
                      <a:pt x="2658" y="2856"/>
                    </a:lnTo>
                    <a:lnTo>
                      <a:pt x="2664" y="2844"/>
                    </a:lnTo>
                    <a:lnTo>
                      <a:pt x="2676" y="2838"/>
                    </a:lnTo>
                    <a:lnTo>
                      <a:pt x="2682" y="2832"/>
                    </a:lnTo>
                    <a:lnTo>
                      <a:pt x="2754" y="2832"/>
                    </a:lnTo>
                    <a:lnTo>
                      <a:pt x="2766" y="2838"/>
                    </a:lnTo>
                    <a:lnTo>
                      <a:pt x="2790" y="2820"/>
                    </a:lnTo>
                    <a:lnTo>
                      <a:pt x="2856" y="2820"/>
                    </a:lnTo>
                    <a:lnTo>
                      <a:pt x="2862" y="2814"/>
                    </a:lnTo>
                    <a:lnTo>
                      <a:pt x="2862" y="2790"/>
                    </a:lnTo>
                    <a:lnTo>
                      <a:pt x="2844" y="2796"/>
                    </a:lnTo>
                    <a:lnTo>
                      <a:pt x="2832" y="2796"/>
                    </a:lnTo>
                    <a:lnTo>
                      <a:pt x="2826" y="2790"/>
                    </a:lnTo>
                    <a:lnTo>
                      <a:pt x="2826" y="2784"/>
                    </a:lnTo>
                    <a:lnTo>
                      <a:pt x="2832" y="2772"/>
                    </a:lnTo>
                    <a:lnTo>
                      <a:pt x="2850" y="2754"/>
                    </a:lnTo>
                    <a:lnTo>
                      <a:pt x="2868" y="2742"/>
                    </a:lnTo>
                    <a:lnTo>
                      <a:pt x="2880" y="2736"/>
                    </a:lnTo>
                    <a:lnTo>
                      <a:pt x="2910" y="2736"/>
                    </a:lnTo>
                    <a:lnTo>
                      <a:pt x="2928" y="2730"/>
                    </a:lnTo>
                    <a:lnTo>
                      <a:pt x="2952" y="2730"/>
                    </a:lnTo>
                    <a:lnTo>
                      <a:pt x="2964" y="2724"/>
                    </a:lnTo>
                    <a:lnTo>
                      <a:pt x="2970" y="2724"/>
                    </a:lnTo>
                    <a:lnTo>
                      <a:pt x="2976" y="2718"/>
                    </a:lnTo>
                    <a:lnTo>
                      <a:pt x="2982" y="2718"/>
                    </a:lnTo>
                    <a:lnTo>
                      <a:pt x="2994" y="2724"/>
                    </a:lnTo>
                    <a:lnTo>
                      <a:pt x="3000" y="2724"/>
                    </a:lnTo>
                    <a:lnTo>
                      <a:pt x="3012" y="2730"/>
                    </a:lnTo>
                    <a:lnTo>
                      <a:pt x="3018" y="2736"/>
                    </a:lnTo>
                    <a:lnTo>
                      <a:pt x="3024" y="2736"/>
                    </a:lnTo>
                    <a:lnTo>
                      <a:pt x="3030" y="2730"/>
                    </a:lnTo>
                    <a:lnTo>
                      <a:pt x="3030" y="2712"/>
                    </a:lnTo>
                    <a:lnTo>
                      <a:pt x="3036" y="2706"/>
                    </a:lnTo>
                    <a:lnTo>
                      <a:pt x="3048" y="2700"/>
                    </a:lnTo>
                    <a:lnTo>
                      <a:pt x="3060" y="2700"/>
                    </a:lnTo>
                    <a:lnTo>
                      <a:pt x="3066" y="2706"/>
                    </a:lnTo>
                    <a:lnTo>
                      <a:pt x="3072" y="2706"/>
                    </a:lnTo>
                    <a:lnTo>
                      <a:pt x="3072" y="2700"/>
                    </a:lnTo>
                    <a:lnTo>
                      <a:pt x="3102" y="2700"/>
                    </a:lnTo>
                    <a:lnTo>
                      <a:pt x="3114" y="2688"/>
                    </a:lnTo>
                    <a:lnTo>
                      <a:pt x="3126" y="2682"/>
                    </a:lnTo>
                    <a:lnTo>
                      <a:pt x="3150" y="2658"/>
                    </a:lnTo>
                    <a:lnTo>
                      <a:pt x="3162" y="2652"/>
                    </a:lnTo>
                    <a:lnTo>
                      <a:pt x="3174" y="2640"/>
                    </a:lnTo>
                    <a:lnTo>
                      <a:pt x="3408" y="2640"/>
                    </a:lnTo>
                    <a:lnTo>
                      <a:pt x="3408" y="2634"/>
                    </a:lnTo>
                    <a:lnTo>
                      <a:pt x="3420" y="2622"/>
                    </a:lnTo>
                    <a:lnTo>
                      <a:pt x="3438" y="2622"/>
                    </a:lnTo>
                    <a:lnTo>
                      <a:pt x="3450" y="2616"/>
                    </a:lnTo>
                    <a:lnTo>
                      <a:pt x="3456" y="2616"/>
                    </a:lnTo>
                    <a:lnTo>
                      <a:pt x="3456" y="2610"/>
                    </a:lnTo>
                    <a:lnTo>
                      <a:pt x="3468" y="2598"/>
                    </a:lnTo>
                    <a:lnTo>
                      <a:pt x="3480" y="2592"/>
                    </a:lnTo>
                    <a:lnTo>
                      <a:pt x="3486" y="2586"/>
                    </a:lnTo>
                    <a:lnTo>
                      <a:pt x="3498" y="2586"/>
                    </a:lnTo>
                    <a:lnTo>
                      <a:pt x="3504" y="2592"/>
                    </a:lnTo>
                    <a:lnTo>
                      <a:pt x="3510" y="2592"/>
                    </a:lnTo>
                    <a:lnTo>
                      <a:pt x="3510" y="2568"/>
                    </a:lnTo>
                    <a:lnTo>
                      <a:pt x="3516" y="2556"/>
                    </a:lnTo>
                    <a:lnTo>
                      <a:pt x="3528" y="2544"/>
                    </a:lnTo>
                    <a:lnTo>
                      <a:pt x="3534" y="2544"/>
                    </a:lnTo>
                    <a:lnTo>
                      <a:pt x="3546" y="2532"/>
                    </a:lnTo>
                    <a:lnTo>
                      <a:pt x="3546" y="2508"/>
                    </a:lnTo>
                    <a:lnTo>
                      <a:pt x="3588" y="2484"/>
                    </a:lnTo>
                    <a:lnTo>
                      <a:pt x="3594" y="2472"/>
                    </a:lnTo>
                    <a:lnTo>
                      <a:pt x="3618" y="2448"/>
                    </a:lnTo>
                    <a:lnTo>
                      <a:pt x="3630" y="2448"/>
                    </a:lnTo>
                    <a:lnTo>
                      <a:pt x="3636" y="2454"/>
                    </a:lnTo>
                    <a:lnTo>
                      <a:pt x="3636" y="2460"/>
                    </a:lnTo>
                    <a:lnTo>
                      <a:pt x="3642" y="2466"/>
                    </a:lnTo>
                    <a:lnTo>
                      <a:pt x="3654" y="2466"/>
                    </a:lnTo>
                    <a:lnTo>
                      <a:pt x="3666" y="2460"/>
                    </a:lnTo>
                    <a:lnTo>
                      <a:pt x="3702" y="2460"/>
                    </a:lnTo>
                    <a:lnTo>
                      <a:pt x="3708" y="2466"/>
                    </a:lnTo>
                    <a:lnTo>
                      <a:pt x="3708" y="2472"/>
                    </a:lnTo>
                    <a:lnTo>
                      <a:pt x="3702" y="2496"/>
                    </a:lnTo>
                    <a:lnTo>
                      <a:pt x="3690" y="2520"/>
                    </a:lnTo>
                    <a:lnTo>
                      <a:pt x="3678" y="2550"/>
                    </a:lnTo>
                    <a:lnTo>
                      <a:pt x="3666" y="2574"/>
                    </a:lnTo>
                    <a:lnTo>
                      <a:pt x="3666" y="2586"/>
                    </a:lnTo>
                    <a:lnTo>
                      <a:pt x="3672" y="2592"/>
                    </a:lnTo>
                    <a:lnTo>
                      <a:pt x="3678" y="2592"/>
                    </a:lnTo>
                    <a:lnTo>
                      <a:pt x="3684" y="2598"/>
                    </a:lnTo>
                    <a:lnTo>
                      <a:pt x="3672" y="2610"/>
                    </a:lnTo>
                    <a:lnTo>
                      <a:pt x="3666" y="2622"/>
                    </a:lnTo>
                    <a:lnTo>
                      <a:pt x="3666" y="2628"/>
                    </a:lnTo>
                    <a:lnTo>
                      <a:pt x="3690" y="2628"/>
                    </a:lnTo>
                    <a:lnTo>
                      <a:pt x="3690" y="2634"/>
                    </a:lnTo>
                    <a:lnTo>
                      <a:pt x="3696" y="2640"/>
                    </a:lnTo>
                    <a:lnTo>
                      <a:pt x="3714" y="2640"/>
                    </a:lnTo>
                    <a:lnTo>
                      <a:pt x="3750" y="2622"/>
                    </a:lnTo>
                    <a:lnTo>
                      <a:pt x="3768" y="2604"/>
                    </a:lnTo>
                    <a:lnTo>
                      <a:pt x="3780" y="2622"/>
                    </a:lnTo>
                    <a:lnTo>
                      <a:pt x="3786" y="2622"/>
                    </a:lnTo>
                    <a:lnTo>
                      <a:pt x="3792" y="2616"/>
                    </a:lnTo>
                    <a:lnTo>
                      <a:pt x="3816" y="2604"/>
                    </a:lnTo>
                    <a:lnTo>
                      <a:pt x="3828" y="2604"/>
                    </a:lnTo>
                    <a:lnTo>
                      <a:pt x="3840" y="2592"/>
                    </a:lnTo>
                    <a:lnTo>
                      <a:pt x="3852" y="2592"/>
                    </a:lnTo>
                    <a:lnTo>
                      <a:pt x="3864" y="2580"/>
                    </a:lnTo>
                    <a:lnTo>
                      <a:pt x="3870" y="2580"/>
                    </a:lnTo>
                    <a:lnTo>
                      <a:pt x="3888" y="2586"/>
                    </a:lnTo>
                    <a:lnTo>
                      <a:pt x="3846" y="2616"/>
                    </a:lnTo>
                    <a:lnTo>
                      <a:pt x="3936" y="2610"/>
                    </a:lnTo>
                    <a:lnTo>
                      <a:pt x="3918" y="2610"/>
                    </a:lnTo>
                    <a:lnTo>
                      <a:pt x="3906" y="2616"/>
                    </a:lnTo>
                    <a:lnTo>
                      <a:pt x="3894" y="2616"/>
                    </a:lnTo>
                    <a:lnTo>
                      <a:pt x="3888" y="2622"/>
                    </a:lnTo>
                    <a:lnTo>
                      <a:pt x="3888" y="2634"/>
                    </a:lnTo>
                    <a:lnTo>
                      <a:pt x="3882" y="2640"/>
                    </a:lnTo>
                    <a:lnTo>
                      <a:pt x="3876" y="2640"/>
                    </a:lnTo>
                    <a:lnTo>
                      <a:pt x="3870" y="2634"/>
                    </a:lnTo>
                    <a:lnTo>
                      <a:pt x="3864" y="2634"/>
                    </a:lnTo>
                    <a:lnTo>
                      <a:pt x="3852" y="2628"/>
                    </a:lnTo>
                    <a:lnTo>
                      <a:pt x="3846" y="2628"/>
                    </a:lnTo>
                    <a:lnTo>
                      <a:pt x="3828" y="2634"/>
                    </a:lnTo>
                    <a:lnTo>
                      <a:pt x="3738" y="2688"/>
                    </a:lnTo>
                    <a:lnTo>
                      <a:pt x="3726" y="2700"/>
                    </a:lnTo>
                    <a:lnTo>
                      <a:pt x="3720" y="2712"/>
                    </a:lnTo>
                    <a:lnTo>
                      <a:pt x="3720" y="2748"/>
                    </a:lnTo>
                    <a:lnTo>
                      <a:pt x="3726" y="2748"/>
                    </a:lnTo>
                    <a:lnTo>
                      <a:pt x="3732" y="2742"/>
                    </a:lnTo>
                    <a:lnTo>
                      <a:pt x="3738" y="2742"/>
                    </a:lnTo>
                    <a:lnTo>
                      <a:pt x="3738" y="2754"/>
                    </a:lnTo>
                    <a:lnTo>
                      <a:pt x="3744" y="2760"/>
                    </a:lnTo>
                    <a:lnTo>
                      <a:pt x="3756" y="2760"/>
                    </a:lnTo>
                    <a:lnTo>
                      <a:pt x="3762" y="2754"/>
                    </a:lnTo>
                    <a:lnTo>
                      <a:pt x="3768" y="2742"/>
                    </a:lnTo>
                    <a:lnTo>
                      <a:pt x="3774" y="2736"/>
                    </a:lnTo>
                    <a:lnTo>
                      <a:pt x="3786" y="2736"/>
                    </a:lnTo>
                    <a:lnTo>
                      <a:pt x="3804" y="2730"/>
                    </a:lnTo>
                    <a:lnTo>
                      <a:pt x="3816" y="2724"/>
                    </a:lnTo>
                    <a:lnTo>
                      <a:pt x="3834" y="2718"/>
                    </a:lnTo>
                    <a:lnTo>
                      <a:pt x="3846" y="2706"/>
                    </a:lnTo>
                    <a:lnTo>
                      <a:pt x="3852" y="2694"/>
                    </a:lnTo>
                    <a:lnTo>
                      <a:pt x="3870" y="2676"/>
                    </a:lnTo>
                    <a:lnTo>
                      <a:pt x="3876" y="2664"/>
                    </a:lnTo>
                    <a:lnTo>
                      <a:pt x="3876" y="2670"/>
                    </a:lnTo>
                    <a:lnTo>
                      <a:pt x="3882" y="2682"/>
                    </a:lnTo>
                    <a:lnTo>
                      <a:pt x="3888" y="2688"/>
                    </a:lnTo>
                    <a:lnTo>
                      <a:pt x="3894" y="2688"/>
                    </a:lnTo>
                    <a:lnTo>
                      <a:pt x="3930" y="2676"/>
                    </a:lnTo>
                    <a:lnTo>
                      <a:pt x="3954" y="2664"/>
                    </a:lnTo>
                    <a:lnTo>
                      <a:pt x="3972" y="2658"/>
                    </a:lnTo>
                    <a:lnTo>
                      <a:pt x="3984" y="2652"/>
                    </a:lnTo>
                    <a:lnTo>
                      <a:pt x="4008" y="2646"/>
                    </a:lnTo>
                    <a:lnTo>
                      <a:pt x="4068" y="2634"/>
                    </a:lnTo>
                    <a:lnTo>
                      <a:pt x="4080" y="2628"/>
                    </a:lnTo>
                    <a:lnTo>
                      <a:pt x="4068" y="2616"/>
                    </a:lnTo>
                    <a:lnTo>
                      <a:pt x="4074" y="2598"/>
                    </a:lnTo>
                    <a:lnTo>
                      <a:pt x="4038" y="2604"/>
                    </a:lnTo>
                    <a:lnTo>
                      <a:pt x="4038" y="2580"/>
                    </a:lnTo>
                    <a:lnTo>
                      <a:pt x="4026" y="2586"/>
                    </a:lnTo>
                    <a:lnTo>
                      <a:pt x="4020" y="2586"/>
                    </a:lnTo>
                    <a:lnTo>
                      <a:pt x="4008" y="2592"/>
                    </a:lnTo>
                    <a:lnTo>
                      <a:pt x="4002" y="2598"/>
                    </a:lnTo>
                    <a:lnTo>
                      <a:pt x="3990" y="2598"/>
                    </a:lnTo>
                    <a:lnTo>
                      <a:pt x="3990" y="2580"/>
                    </a:lnTo>
                    <a:lnTo>
                      <a:pt x="3930" y="2580"/>
                    </a:lnTo>
                    <a:lnTo>
                      <a:pt x="3924" y="2574"/>
                    </a:lnTo>
                    <a:lnTo>
                      <a:pt x="3924" y="2568"/>
                    </a:lnTo>
                    <a:lnTo>
                      <a:pt x="3918" y="2562"/>
                    </a:lnTo>
                    <a:lnTo>
                      <a:pt x="3918" y="2556"/>
                    </a:lnTo>
                    <a:lnTo>
                      <a:pt x="3930" y="2556"/>
                    </a:lnTo>
                    <a:lnTo>
                      <a:pt x="3918" y="2544"/>
                    </a:lnTo>
                    <a:lnTo>
                      <a:pt x="3888" y="2544"/>
                    </a:lnTo>
                    <a:lnTo>
                      <a:pt x="3882" y="2532"/>
                    </a:lnTo>
                    <a:lnTo>
                      <a:pt x="3882" y="2526"/>
                    </a:lnTo>
                    <a:lnTo>
                      <a:pt x="3876" y="2514"/>
                    </a:lnTo>
                    <a:lnTo>
                      <a:pt x="3876" y="2502"/>
                    </a:lnTo>
                    <a:lnTo>
                      <a:pt x="3894" y="2484"/>
                    </a:lnTo>
                    <a:lnTo>
                      <a:pt x="3870" y="2484"/>
                    </a:lnTo>
                    <a:lnTo>
                      <a:pt x="3876" y="2478"/>
                    </a:lnTo>
                    <a:lnTo>
                      <a:pt x="3888" y="2472"/>
                    </a:lnTo>
                    <a:lnTo>
                      <a:pt x="3894" y="2460"/>
                    </a:lnTo>
                    <a:lnTo>
                      <a:pt x="3906" y="2454"/>
                    </a:lnTo>
                    <a:lnTo>
                      <a:pt x="3918" y="2442"/>
                    </a:lnTo>
                    <a:lnTo>
                      <a:pt x="3924" y="2430"/>
                    </a:lnTo>
                    <a:lnTo>
                      <a:pt x="3936" y="2424"/>
                    </a:lnTo>
                    <a:lnTo>
                      <a:pt x="3942" y="2412"/>
                    </a:lnTo>
                    <a:lnTo>
                      <a:pt x="3948" y="2406"/>
                    </a:lnTo>
                    <a:lnTo>
                      <a:pt x="3936" y="2400"/>
                    </a:lnTo>
                    <a:lnTo>
                      <a:pt x="3912" y="2430"/>
                    </a:lnTo>
                    <a:lnTo>
                      <a:pt x="3894" y="2418"/>
                    </a:lnTo>
                    <a:lnTo>
                      <a:pt x="3864" y="2436"/>
                    </a:lnTo>
                    <a:lnTo>
                      <a:pt x="3858" y="2418"/>
                    </a:lnTo>
                    <a:lnTo>
                      <a:pt x="3828" y="2406"/>
                    </a:lnTo>
                    <a:lnTo>
                      <a:pt x="3810" y="2412"/>
                    </a:lnTo>
                    <a:lnTo>
                      <a:pt x="3864" y="2394"/>
                    </a:lnTo>
                    <a:lnTo>
                      <a:pt x="3870" y="2400"/>
                    </a:lnTo>
                    <a:lnTo>
                      <a:pt x="3882" y="2406"/>
                    </a:lnTo>
                    <a:lnTo>
                      <a:pt x="3900" y="2406"/>
                    </a:lnTo>
                    <a:lnTo>
                      <a:pt x="3918" y="2388"/>
                    </a:lnTo>
                    <a:lnTo>
                      <a:pt x="3930" y="2382"/>
                    </a:lnTo>
                    <a:lnTo>
                      <a:pt x="3936" y="2376"/>
                    </a:lnTo>
                    <a:lnTo>
                      <a:pt x="3978" y="2376"/>
                    </a:lnTo>
                    <a:lnTo>
                      <a:pt x="3978" y="2364"/>
                    </a:lnTo>
                    <a:lnTo>
                      <a:pt x="3972" y="2358"/>
                    </a:lnTo>
                    <a:lnTo>
                      <a:pt x="3966" y="2346"/>
                    </a:lnTo>
                    <a:lnTo>
                      <a:pt x="3990" y="2346"/>
                    </a:lnTo>
                    <a:lnTo>
                      <a:pt x="3978" y="2334"/>
                    </a:lnTo>
                    <a:lnTo>
                      <a:pt x="3972" y="2322"/>
                    </a:lnTo>
                    <a:lnTo>
                      <a:pt x="3960" y="2316"/>
                    </a:lnTo>
                    <a:lnTo>
                      <a:pt x="3942" y="2310"/>
                    </a:lnTo>
                    <a:lnTo>
                      <a:pt x="3918" y="2310"/>
                    </a:lnTo>
                    <a:lnTo>
                      <a:pt x="3852" y="2316"/>
                    </a:lnTo>
                    <a:lnTo>
                      <a:pt x="3792" y="2334"/>
                    </a:lnTo>
                    <a:lnTo>
                      <a:pt x="3744" y="2352"/>
                    </a:lnTo>
                    <a:lnTo>
                      <a:pt x="3684" y="2376"/>
                    </a:lnTo>
                    <a:lnTo>
                      <a:pt x="3660" y="2388"/>
                    </a:lnTo>
                    <a:lnTo>
                      <a:pt x="3642" y="2400"/>
                    </a:lnTo>
                    <a:lnTo>
                      <a:pt x="3624" y="2418"/>
                    </a:lnTo>
                    <a:lnTo>
                      <a:pt x="3606" y="2430"/>
                    </a:lnTo>
                    <a:lnTo>
                      <a:pt x="3594" y="2442"/>
                    </a:lnTo>
                    <a:lnTo>
                      <a:pt x="3576" y="2454"/>
                    </a:lnTo>
                    <a:lnTo>
                      <a:pt x="3564" y="2466"/>
                    </a:lnTo>
                    <a:lnTo>
                      <a:pt x="3528" y="2484"/>
                    </a:lnTo>
                    <a:lnTo>
                      <a:pt x="3516" y="2484"/>
                    </a:lnTo>
                    <a:lnTo>
                      <a:pt x="3498" y="2490"/>
                    </a:lnTo>
                    <a:lnTo>
                      <a:pt x="3486" y="2490"/>
                    </a:lnTo>
                    <a:lnTo>
                      <a:pt x="3492" y="2490"/>
                    </a:lnTo>
                    <a:lnTo>
                      <a:pt x="3498" y="2484"/>
                    </a:lnTo>
                    <a:lnTo>
                      <a:pt x="3510" y="2478"/>
                    </a:lnTo>
                    <a:lnTo>
                      <a:pt x="3522" y="2466"/>
                    </a:lnTo>
                    <a:lnTo>
                      <a:pt x="3540" y="2460"/>
                    </a:lnTo>
                    <a:lnTo>
                      <a:pt x="3552" y="2448"/>
                    </a:lnTo>
                    <a:lnTo>
                      <a:pt x="3576" y="2436"/>
                    </a:lnTo>
                    <a:lnTo>
                      <a:pt x="3600" y="2412"/>
                    </a:lnTo>
                    <a:lnTo>
                      <a:pt x="3606" y="2400"/>
                    </a:lnTo>
                    <a:lnTo>
                      <a:pt x="3582" y="2388"/>
                    </a:lnTo>
                    <a:lnTo>
                      <a:pt x="3588" y="2388"/>
                    </a:lnTo>
                    <a:lnTo>
                      <a:pt x="3594" y="2394"/>
                    </a:lnTo>
                    <a:lnTo>
                      <a:pt x="3624" y="2394"/>
                    </a:lnTo>
                    <a:lnTo>
                      <a:pt x="3642" y="2382"/>
                    </a:lnTo>
                    <a:lnTo>
                      <a:pt x="3702" y="2334"/>
                    </a:lnTo>
                    <a:lnTo>
                      <a:pt x="3750" y="2310"/>
                    </a:lnTo>
                    <a:lnTo>
                      <a:pt x="3768" y="2304"/>
                    </a:lnTo>
                    <a:lnTo>
                      <a:pt x="3804" y="2304"/>
                    </a:lnTo>
                    <a:lnTo>
                      <a:pt x="3852" y="2256"/>
                    </a:lnTo>
                    <a:lnTo>
                      <a:pt x="3870" y="2244"/>
                    </a:lnTo>
                    <a:lnTo>
                      <a:pt x="3888" y="2238"/>
                    </a:lnTo>
                    <a:lnTo>
                      <a:pt x="3936" y="2232"/>
                    </a:lnTo>
                    <a:lnTo>
                      <a:pt x="3990" y="2232"/>
                    </a:lnTo>
                    <a:lnTo>
                      <a:pt x="4044" y="2226"/>
                    </a:lnTo>
                    <a:lnTo>
                      <a:pt x="4074" y="2226"/>
                    </a:lnTo>
                    <a:lnTo>
                      <a:pt x="4104" y="2232"/>
                    </a:lnTo>
                    <a:lnTo>
                      <a:pt x="4176" y="2244"/>
                    </a:lnTo>
                    <a:lnTo>
                      <a:pt x="4200" y="2250"/>
                    </a:lnTo>
                    <a:lnTo>
                      <a:pt x="4212" y="2244"/>
                    </a:lnTo>
                    <a:lnTo>
                      <a:pt x="4248" y="2232"/>
                    </a:lnTo>
                    <a:lnTo>
                      <a:pt x="4260" y="2226"/>
                    </a:lnTo>
                    <a:lnTo>
                      <a:pt x="4278" y="2226"/>
                    </a:lnTo>
                    <a:lnTo>
                      <a:pt x="4296" y="2220"/>
                    </a:lnTo>
                    <a:lnTo>
                      <a:pt x="4320" y="2214"/>
                    </a:lnTo>
                    <a:lnTo>
                      <a:pt x="4338" y="2208"/>
                    </a:lnTo>
                    <a:lnTo>
                      <a:pt x="4374" y="2172"/>
                    </a:lnTo>
                    <a:lnTo>
                      <a:pt x="4392" y="2166"/>
                    </a:lnTo>
                    <a:lnTo>
                      <a:pt x="4404" y="2154"/>
                    </a:lnTo>
                    <a:lnTo>
                      <a:pt x="4410" y="2154"/>
                    </a:lnTo>
                    <a:lnTo>
                      <a:pt x="4422" y="2148"/>
                    </a:lnTo>
                    <a:lnTo>
                      <a:pt x="4452" y="2148"/>
                    </a:lnTo>
                    <a:lnTo>
                      <a:pt x="4458" y="2142"/>
                    </a:lnTo>
                    <a:lnTo>
                      <a:pt x="4470" y="2136"/>
                    </a:lnTo>
                    <a:lnTo>
                      <a:pt x="4476" y="2130"/>
                    </a:lnTo>
                    <a:lnTo>
                      <a:pt x="4494" y="2130"/>
                    </a:lnTo>
                    <a:lnTo>
                      <a:pt x="4500" y="2136"/>
                    </a:lnTo>
                    <a:lnTo>
                      <a:pt x="4518" y="2136"/>
                    </a:lnTo>
                    <a:lnTo>
                      <a:pt x="4530" y="2130"/>
                    </a:lnTo>
                    <a:lnTo>
                      <a:pt x="4536" y="2130"/>
                    </a:lnTo>
                    <a:lnTo>
                      <a:pt x="4542" y="2124"/>
                    </a:lnTo>
                    <a:lnTo>
                      <a:pt x="4596" y="2106"/>
                    </a:lnTo>
                    <a:lnTo>
                      <a:pt x="4620" y="2094"/>
                    </a:lnTo>
                    <a:lnTo>
                      <a:pt x="4620" y="2088"/>
                    </a:lnTo>
                    <a:lnTo>
                      <a:pt x="4614" y="2076"/>
                    </a:lnTo>
                    <a:lnTo>
                      <a:pt x="4602" y="2070"/>
                    </a:lnTo>
                    <a:lnTo>
                      <a:pt x="4584" y="2052"/>
                    </a:lnTo>
                    <a:lnTo>
                      <a:pt x="4578" y="2052"/>
                    </a:lnTo>
                    <a:lnTo>
                      <a:pt x="4602" y="2052"/>
                    </a:lnTo>
                    <a:lnTo>
                      <a:pt x="4614" y="2046"/>
                    </a:lnTo>
                    <a:lnTo>
                      <a:pt x="4614" y="2028"/>
                    </a:lnTo>
                    <a:lnTo>
                      <a:pt x="4608" y="2022"/>
                    </a:lnTo>
                    <a:lnTo>
                      <a:pt x="4608" y="2010"/>
                    </a:lnTo>
                    <a:lnTo>
                      <a:pt x="4632" y="2010"/>
                    </a:lnTo>
                    <a:lnTo>
                      <a:pt x="4644" y="1998"/>
                    </a:lnTo>
                    <a:lnTo>
                      <a:pt x="4644" y="1992"/>
                    </a:lnTo>
                    <a:lnTo>
                      <a:pt x="4632" y="1980"/>
                    </a:lnTo>
                    <a:lnTo>
                      <a:pt x="4626" y="1968"/>
                    </a:lnTo>
                    <a:lnTo>
                      <a:pt x="4608" y="1962"/>
                    </a:lnTo>
                    <a:lnTo>
                      <a:pt x="4602" y="1956"/>
                    </a:lnTo>
                    <a:lnTo>
                      <a:pt x="4590" y="196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B4D2AC">
                      <a:lumMod val="50000"/>
                    </a:srgbClr>
                  </a:solidFill>
                </a:endParaRPr>
              </a:p>
            </p:txBody>
          </p:sp>
          <p:sp>
            <p:nvSpPr>
              <p:cNvPr id="226" name="Belize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C5CF27F-9E49-48AB-8601-AA28DBFE585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67942" y="3851588"/>
                <a:ext cx="47174" cy="95656"/>
              </a:xfrm>
              <a:custGeom>
                <a:avLst/>
                <a:gdLst>
                  <a:gd name="T0" fmla="*/ 2147483647 w 108"/>
                  <a:gd name="T1" fmla="*/ 2147483647 h 210"/>
                  <a:gd name="T2" fmla="*/ 2147483647 w 108"/>
                  <a:gd name="T3" fmla="*/ 2147483647 h 210"/>
                  <a:gd name="T4" fmla="*/ 2147483647 w 108"/>
                  <a:gd name="T5" fmla="*/ 2147483647 h 210"/>
                  <a:gd name="T6" fmla="*/ 2147483647 w 108"/>
                  <a:gd name="T7" fmla="*/ 2147483647 h 210"/>
                  <a:gd name="T8" fmla="*/ 2147483647 w 108"/>
                  <a:gd name="T9" fmla="*/ 2147483647 h 210"/>
                  <a:gd name="T10" fmla="*/ 2147483647 w 108"/>
                  <a:gd name="T11" fmla="*/ 0 h 210"/>
                  <a:gd name="T12" fmla="*/ 2147483647 w 108"/>
                  <a:gd name="T13" fmla="*/ 2147483647 h 210"/>
                  <a:gd name="T14" fmla="*/ 2147483647 w 108"/>
                  <a:gd name="T15" fmla="*/ 2147483647 h 210"/>
                  <a:gd name="T16" fmla="*/ 2147483647 w 108"/>
                  <a:gd name="T17" fmla="*/ 2147483647 h 210"/>
                  <a:gd name="T18" fmla="*/ 2147483647 w 108"/>
                  <a:gd name="T19" fmla="*/ 2147483647 h 210"/>
                  <a:gd name="T20" fmla="*/ 2147483647 w 108"/>
                  <a:gd name="T21" fmla="*/ 2147483647 h 210"/>
                  <a:gd name="T22" fmla="*/ 2147483647 w 108"/>
                  <a:gd name="T23" fmla="*/ 2147483647 h 210"/>
                  <a:gd name="T24" fmla="*/ 2147483647 w 108"/>
                  <a:gd name="T25" fmla="*/ 2147483647 h 210"/>
                  <a:gd name="T26" fmla="*/ 2147483647 w 108"/>
                  <a:gd name="T27" fmla="*/ 2147483647 h 210"/>
                  <a:gd name="T28" fmla="*/ 2147483647 w 108"/>
                  <a:gd name="T29" fmla="*/ 2147483647 h 210"/>
                  <a:gd name="T30" fmla="*/ 2147483647 w 108"/>
                  <a:gd name="T31" fmla="*/ 2147483647 h 210"/>
                  <a:gd name="T32" fmla="*/ 2147483647 w 108"/>
                  <a:gd name="T33" fmla="*/ 2147483647 h 210"/>
                  <a:gd name="T34" fmla="*/ 2147483647 w 108"/>
                  <a:gd name="T35" fmla="*/ 2147483647 h 210"/>
                  <a:gd name="T36" fmla="*/ 0 w 108"/>
                  <a:gd name="T37" fmla="*/ 2147483647 h 210"/>
                  <a:gd name="T38" fmla="*/ 2147483647 w 108"/>
                  <a:gd name="T39" fmla="*/ 2147483647 h 210"/>
                  <a:gd name="T40" fmla="*/ 2147483647 w 108"/>
                  <a:gd name="T41" fmla="*/ 2147483647 h 210"/>
                  <a:gd name="T42" fmla="*/ 2147483647 w 108"/>
                  <a:gd name="T43" fmla="*/ 2147483647 h 210"/>
                  <a:gd name="T44" fmla="*/ 2147483647 w 108"/>
                  <a:gd name="T45" fmla="*/ 2147483647 h 210"/>
                  <a:gd name="T46" fmla="*/ 2147483647 w 108"/>
                  <a:gd name="T47" fmla="*/ 2147483647 h 210"/>
                  <a:gd name="T48" fmla="*/ 2147483647 w 108"/>
                  <a:gd name="T49" fmla="*/ 2147483647 h 210"/>
                  <a:gd name="T50" fmla="*/ 2147483647 w 108"/>
                  <a:gd name="T51" fmla="*/ 2147483647 h 210"/>
                  <a:gd name="T52" fmla="*/ 2147483647 w 108"/>
                  <a:gd name="T53" fmla="*/ 2147483647 h 210"/>
                  <a:gd name="T54" fmla="*/ 2147483647 w 108"/>
                  <a:gd name="T55" fmla="*/ 2147483647 h 21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08"/>
                  <a:gd name="T85" fmla="*/ 0 h 210"/>
                  <a:gd name="T86" fmla="*/ 108 w 108"/>
                  <a:gd name="T87" fmla="*/ 210 h 21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08" h="210">
                    <a:moveTo>
                      <a:pt x="108" y="30"/>
                    </a:moveTo>
                    <a:lnTo>
                      <a:pt x="108" y="24"/>
                    </a:lnTo>
                    <a:lnTo>
                      <a:pt x="102" y="24"/>
                    </a:lnTo>
                    <a:lnTo>
                      <a:pt x="90" y="18"/>
                    </a:lnTo>
                    <a:lnTo>
                      <a:pt x="84" y="12"/>
                    </a:lnTo>
                    <a:lnTo>
                      <a:pt x="78" y="0"/>
                    </a:lnTo>
                    <a:lnTo>
                      <a:pt x="78" y="6"/>
                    </a:lnTo>
                    <a:lnTo>
                      <a:pt x="72" y="12"/>
                    </a:lnTo>
                    <a:lnTo>
                      <a:pt x="72" y="24"/>
                    </a:lnTo>
                    <a:lnTo>
                      <a:pt x="66" y="36"/>
                    </a:lnTo>
                    <a:lnTo>
                      <a:pt x="54" y="42"/>
                    </a:lnTo>
                    <a:lnTo>
                      <a:pt x="48" y="48"/>
                    </a:lnTo>
                    <a:lnTo>
                      <a:pt x="42" y="48"/>
                    </a:lnTo>
                    <a:lnTo>
                      <a:pt x="42" y="42"/>
                    </a:lnTo>
                    <a:lnTo>
                      <a:pt x="36" y="36"/>
                    </a:lnTo>
                    <a:lnTo>
                      <a:pt x="30" y="36"/>
                    </a:lnTo>
                    <a:lnTo>
                      <a:pt x="30" y="42"/>
                    </a:lnTo>
                    <a:lnTo>
                      <a:pt x="24" y="54"/>
                    </a:lnTo>
                    <a:lnTo>
                      <a:pt x="0" y="210"/>
                    </a:lnTo>
                    <a:lnTo>
                      <a:pt x="30" y="210"/>
                    </a:lnTo>
                    <a:lnTo>
                      <a:pt x="42" y="168"/>
                    </a:lnTo>
                    <a:lnTo>
                      <a:pt x="60" y="174"/>
                    </a:lnTo>
                    <a:lnTo>
                      <a:pt x="84" y="150"/>
                    </a:lnTo>
                    <a:lnTo>
                      <a:pt x="84" y="90"/>
                    </a:lnTo>
                    <a:lnTo>
                      <a:pt x="90" y="78"/>
                    </a:lnTo>
                    <a:lnTo>
                      <a:pt x="96" y="60"/>
                    </a:lnTo>
                    <a:lnTo>
                      <a:pt x="108" y="36"/>
                    </a:lnTo>
                    <a:lnTo>
                      <a:pt x="108" y="3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619419">
                  <a:defRPr/>
                </a:pPr>
                <a:endParaRPr lang="en-GB" sz="687" kern="0">
                  <a:solidFill>
                    <a:srgbClr val="555555"/>
                  </a:solidFill>
                </a:endParaRPr>
              </a:p>
            </p:txBody>
          </p:sp>
        </p:grpSp>
        <p:sp>
          <p:nvSpPr>
            <p:cNvPr id="208" name="Germany" descr="© INSCALE GmbH, 05.05.2010&#10;http://www.presentationload.com/">
              <a:extLst>
                <a:ext uri="{FF2B5EF4-FFF2-40B4-BE49-F238E27FC236}">
                  <a16:creationId xmlns:a16="http://schemas.microsoft.com/office/drawing/2014/main" id="{0AABD777-B86B-4A06-9BB4-70D112A95A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3611" y="1898315"/>
              <a:ext cx="295723" cy="312407"/>
            </a:xfrm>
            <a:custGeom>
              <a:avLst/>
              <a:gdLst>
                <a:gd name="T0" fmla="*/ 2147483647 w 564"/>
                <a:gd name="T1" fmla="*/ 2147483647 h 588"/>
                <a:gd name="T2" fmla="*/ 2147483647 w 564"/>
                <a:gd name="T3" fmla="*/ 2147483647 h 588"/>
                <a:gd name="T4" fmla="*/ 2147483647 w 564"/>
                <a:gd name="T5" fmla="*/ 2147483647 h 588"/>
                <a:gd name="T6" fmla="*/ 2147483647 w 564"/>
                <a:gd name="T7" fmla="*/ 2147483647 h 588"/>
                <a:gd name="T8" fmla="*/ 2147483647 w 564"/>
                <a:gd name="T9" fmla="*/ 2147483647 h 588"/>
                <a:gd name="T10" fmla="*/ 2147483647 w 564"/>
                <a:gd name="T11" fmla="*/ 2147483647 h 588"/>
                <a:gd name="T12" fmla="*/ 2147483647 w 564"/>
                <a:gd name="T13" fmla="*/ 2147483647 h 588"/>
                <a:gd name="T14" fmla="*/ 2147483647 w 564"/>
                <a:gd name="T15" fmla="*/ 2147483647 h 588"/>
                <a:gd name="T16" fmla="*/ 2147483647 w 564"/>
                <a:gd name="T17" fmla="*/ 2147483647 h 588"/>
                <a:gd name="T18" fmla="*/ 2147483647 w 564"/>
                <a:gd name="T19" fmla="*/ 2147483647 h 588"/>
                <a:gd name="T20" fmla="*/ 2147483647 w 564"/>
                <a:gd name="T21" fmla="*/ 2147483647 h 588"/>
                <a:gd name="T22" fmla="*/ 2147483647 w 564"/>
                <a:gd name="T23" fmla="*/ 2147483647 h 588"/>
                <a:gd name="T24" fmla="*/ 2147483647 w 564"/>
                <a:gd name="T25" fmla="*/ 2147483647 h 588"/>
                <a:gd name="T26" fmla="*/ 2147483647 w 564"/>
                <a:gd name="T27" fmla="*/ 2147483647 h 588"/>
                <a:gd name="T28" fmla="*/ 2147483647 w 564"/>
                <a:gd name="T29" fmla="*/ 2147483647 h 588"/>
                <a:gd name="T30" fmla="*/ 2147483647 w 564"/>
                <a:gd name="T31" fmla="*/ 2147483647 h 588"/>
                <a:gd name="T32" fmla="*/ 2147483647 w 564"/>
                <a:gd name="T33" fmla="*/ 2147483647 h 588"/>
                <a:gd name="T34" fmla="*/ 2147483647 w 564"/>
                <a:gd name="T35" fmla="*/ 2147483647 h 588"/>
                <a:gd name="T36" fmla="*/ 2147483647 w 564"/>
                <a:gd name="T37" fmla="*/ 2147483647 h 588"/>
                <a:gd name="T38" fmla="*/ 2147483647 w 564"/>
                <a:gd name="T39" fmla="*/ 2147483647 h 588"/>
                <a:gd name="T40" fmla="*/ 2147483647 w 564"/>
                <a:gd name="T41" fmla="*/ 2147483647 h 588"/>
                <a:gd name="T42" fmla="*/ 2147483647 w 564"/>
                <a:gd name="T43" fmla="*/ 2147483647 h 588"/>
                <a:gd name="T44" fmla="*/ 2147483647 w 564"/>
                <a:gd name="T45" fmla="*/ 2147483647 h 588"/>
                <a:gd name="T46" fmla="*/ 2147483647 w 564"/>
                <a:gd name="T47" fmla="*/ 2147483647 h 588"/>
                <a:gd name="T48" fmla="*/ 2147483647 w 564"/>
                <a:gd name="T49" fmla="*/ 2147483647 h 588"/>
                <a:gd name="T50" fmla="*/ 2147483647 w 564"/>
                <a:gd name="T51" fmla="*/ 2147483647 h 588"/>
                <a:gd name="T52" fmla="*/ 2147483647 w 564"/>
                <a:gd name="T53" fmla="*/ 2147483647 h 588"/>
                <a:gd name="T54" fmla="*/ 2147483647 w 564"/>
                <a:gd name="T55" fmla="*/ 2147483647 h 588"/>
                <a:gd name="T56" fmla="*/ 2147483647 w 564"/>
                <a:gd name="T57" fmla="*/ 2147483647 h 588"/>
                <a:gd name="T58" fmla="*/ 2147483647 w 564"/>
                <a:gd name="T59" fmla="*/ 2147483647 h 588"/>
                <a:gd name="T60" fmla="*/ 2147483647 w 564"/>
                <a:gd name="T61" fmla="*/ 2147483647 h 588"/>
                <a:gd name="T62" fmla="*/ 2147483647 w 564"/>
                <a:gd name="T63" fmla="*/ 2147483647 h 588"/>
                <a:gd name="T64" fmla="*/ 2147483647 w 564"/>
                <a:gd name="T65" fmla="*/ 2147483647 h 588"/>
                <a:gd name="T66" fmla="*/ 2147483647 w 564"/>
                <a:gd name="T67" fmla="*/ 2147483647 h 588"/>
                <a:gd name="T68" fmla="*/ 2147483647 w 564"/>
                <a:gd name="T69" fmla="*/ 2147483647 h 588"/>
                <a:gd name="T70" fmla="*/ 2147483647 w 564"/>
                <a:gd name="T71" fmla="*/ 2147483647 h 588"/>
                <a:gd name="T72" fmla="*/ 2147483647 w 564"/>
                <a:gd name="T73" fmla="*/ 2147483647 h 588"/>
                <a:gd name="T74" fmla="*/ 2147483647 w 564"/>
                <a:gd name="T75" fmla="*/ 2147483647 h 588"/>
                <a:gd name="T76" fmla="*/ 2147483647 w 564"/>
                <a:gd name="T77" fmla="*/ 2147483647 h 588"/>
                <a:gd name="T78" fmla="*/ 2147483647 w 564"/>
                <a:gd name="T79" fmla="*/ 2147483647 h 588"/>
                <a:gd name="T80" fmla="*/ 2147483647 w 564"/>
                <a:gd name="T81" fmla="*/ 2147483647 h 588"/>
                <a:gd name="T82" fmla="*/ 2147483647 w 564"/>
                <a:gd name="T83" fmla="*/ 0 h 588"/>
                <a:gd name="T84" fmla="*/ 2147483647 w 564"/>
                <a:gd name="T85" fmla="*/ 2147483647 h 588"/>
                <a:gd name="T86" fmla="*/ 2147483647 w 564"/>
                <a:gd name="T87" fmla="*/ 2147483647 h 588"/>
                <a:gd name="T88" fmla="*/ 2147483647 w 564"/>
                <a:gd name="T89" fmla="*/ 2147483647 h 588"/>
                <a:gd name="T90" fmla="*/ 2147483647 w 564"/>
                <a:gd name="T91" fmla="*/ 2147483647 h 588"/>
                <a:gd name="T92" fmla="*/ 2147483647 w 564"/>
                <a:gd name="T93" fmla="*/ 2147483647 h 588"/>
                <a:gd name="T94" fmla="*/ 2147483647 w 564"/>
                <a:gd name="T95" fmla="*/ 2147483647 h 588"/>
                <a:gd name="T96" fmla="*/ 2147483647 w 564"/>
                <a:gd name="T97" fmla="*/ 2147483647 h 588"/>
                <a:gd name="T98" fmla="*/ 2147483647 w 564"/>
                <a:gd name="T99" fmla="*/ 2147483647 h 588"/>
                <a:gd name="T100" fmla="*/ 2147483647 w 564"/>
                <a:gd name="T101" fmla="*/ 2147483647 h 588"/>
                <a:gd name="T102" fmla="*/ 2147483647 w 564"/>
                <a:gd name="T103" fmla="*/ 2147483647 h 588"/>
                <a:gd name="T104" fmla="*/ 0 w 564"/>
                <a:gd name="T105" fmla="*/ 2147483647 h 588"/>
                <a:gd name="T106" fmla="*/ 2147483647 w 564"/>
                <a:gd name="T107" fmla="*/ 2147483647 h 588"/>
                <a:gd name="T108" fmla="*/ 2147483647 w 564"/>
                <a:gd name="T109" fmla="*/ 2147483647 h 588"/>
                <a:gd name="T110" fmla="*/ 2147483647 w 564"/>
                <a:gd name="T111" fmla="*/ 2147483647 h 58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64"/>
                <a:gd name="T169" fmla="*/ 0 h 588"/>
                <a:gd name="T170" fmla="*/ 564 w 564"/>
                <a:gd name="T171" fmla="*/ 588 h 58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64" h="588">
                  <a:moveTo>
                    <a:pt x="30" y="414"/>
                  </a:moveTo>
                  <a:lnTo>
                    <a:pt x="30" y="420"/>
                  </a:lnTo>
                  <a:lnTo>
                    <a:pt x="36" y="420"/>
                  </a:lnTo>
                  <a:lnTo>
                    <a:pt x="36" y="444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72" y="450"/>
                  </a:lnTo>
                  <a:lnTo>
                    <a:pt x="84" y="444"/>
                  </a:lnTo>
                  <a:lnTo>
                    <a:pt x="96" y="444"/>
                  </a:lnTo>
                  <a:lnTo>
                    <a:pt x="96" y="450"/>
                  </a:lnTo>
                  <a:lnTo>
                    <a:pt x="120" y="450"/>
                  </a:lnTo>
                  <a:lnTo>
                    <a:pt x="138" y="456"/>
                  </a:lnTo>
                  <a:lnTo>
                    <a:pt x="132" y="468"/>
                  </a:lnTo>
                  <a:lnTo>
                    <a:pt x="114" y="486"/>
                  </a:lnTo>
                  <a:lnTo>
                    <a:pt x="114" y="498"/>
                  </a:lnTo>
                  <a:lnTo>
                    <a:pt x="108" y="510"/>
                  </a:lnTo>
                  <a:lnTo>
                    <a:pt x="102" y="516"/>
                  </a:lnTo>
                  <a:lnTo>
                    <a:pt x="96" y="528"/>
                  </a:lnTo>
                  <a:lnTo>
                    <a:pt x="96" y="570"/>
                  </a:lnTo>
                  <a:lnTo>
                    <a:pt x="132" y="570"/>
                  </a:lnTo>
                  <a:lnTo>
                    <a:pt x="150" y="564"/>
                  </a:lnTo>
                  <a:lnTo>
                    <a:pt x="156" y="570"/>
                  </a:lnTo>
                  <a:lnTo>
                    <a:pt x="150" y="564"/>
                  </a:lnTo>
                  <a:lnTo>
                    <a:pt x="150" y="552"/>
                  </a:lnTo>
                  <a:lnTo>
                    <a:pt x="156" y="546"/>
                  </a:lnTo>
                  <a:lnTo>
                    <a:pt x="162" y="546"/>
                  </a:lnTo>
                  <a:lnTo>
                    <a:pt x="174" y="552"/>
                  </a:lnTo>
                  <a:lnTo>
                    <a:pt x="180" y="558"/>
                  </a:lnTo>
                  <a:lnTo>
                    <a:pt x="192" y="558"/>
                  </a:lnTo>
                  <a:lnTo>
                    <a:pt x="210" y="564"/>
                  </a:lnTo>
                  <a:lnTo>
                    <a:pt x="216" y="576"/>
                  </a:lnTo>
                  <a:lnTo>
                    <a:pt x="252" y="576"/>
                  </a:lnTo>
                  <a:lnTo>
                    <a:pt x="258" y="582"/>
                  </a:lnTo>
                  <a:lnTo>
                    <a:pt x="258" y="588"/>
                  </a:lnTo>
                  <a:lnTo>
                    <a:pt x="270" y="588"/>
                  </a:lnTo>
                  <a:lnTo>
                    <a:pt x="276" y="582"/>
                  </a:lnTo>
                  <a:lnTo>
                    <a:pt x="276" y="570"/>
                  </a:lnTo>
                  <a:lnTo>
                    <a:pt x="294" y="570"/>
                  </a:lnTo>
                  <a:lnTo>
                    <a:pt x="312" y="588"/>
                  </a:lnTo>
                  <a:lnTo>
                    <a:pt x="330" y="588"/>
                  </a:lnTo>
                  <a:lnTo>
                    <a:pt x="336" y="582"/>
                  </a:lnTo>
                  <a:lnTo>
                    <a:pt x="354" y="570"/>
                  </a:lnTo>
                  <a:lnTo>
                    <a:pt x="372" y="570"/>
                  </a:lnTo>
                  <a:lnTo>
                    <a:pt x="390" y="558"/>
                  </a:lnTo>
                  <a:lnTo>
                    <a:pt x="402" y="564"/>
                  </a:lnTo>
                  <a:lnTo>
                    <a:pt x="420" y="570"/>
                  </a:lnTo>
                  <a:lnTo>
                    <a:pt x="432" y="582"/>
                  </a:lnTo>
                  <a:lnTo>
                    <a:pt x="438" y="582"/>
                  </a:lnTo>
                  <a:lnTo>
                    <a:pt x="438" y="540"/>
                  </a:lnTo>
                  <a:lnTo>
                    <a:pt x="426" y="540"/>
                  </a:lnTo>
                  <a:lnTo>
                    <a:pt x="426" y="534"/>
                  </a:lnTo>
                  <a:lnTo>
                    <a:pt x="432" y="528"/>
                  </a:lnTo>
                  <a:lnTo>
                    <a:pt x="432" y="522"/>
                  </a:lnTo>
                  <a:lnTo>
                    <a:pt x="438" y="516"/>
                  </a:lnTo>
                  <a:lnTo>
                    <a:pt x="456" y="516"/>
                  </a:lnTo>
                  <a:lnTo>
                    <a:pt x="462" y="522"/>
                  </a:lnTo>
                  <a:lnTo>
                    <a:pt x="468" y="522"/>
                  </a:lnTo>
                  <a:lnTo>
                    <a:pt x="468" y="504"/>
                  </a:lnTo>
                  <a:lnTo>
                    <a:pt x="462" y="492"/>
                  </a:lnTo>
                  <a:lnTo>
                    <a:pt x="480" y="492"/>
                  </a:lnTo>
                  <a:lnTo>
                    <a:pt x="486" y="474"/>
                  </a:lnTo>
                  <a:lnTo>
                    <a:pt x="486" y="462"/>
                  </a:lnTo>
                  <a:lnTo>
                    <a:pt x="480" y="462"/>
                  </a:lnTo>
                  <a:lnTo>
                    <a:pt x="474" y="456"/>
                  </a:lnTo>
                  <a:lnTo>
                    <a:pt x="462" y="456"/>
                  </a:lnTo>
                  <a:lnTo>
                    <a:pt x="456" y="444"/>
                  </a:lnTo>
                  <a:lnTo>
                    <a:pt x="450" y="444"/>
                  </a:lnTo>
                  <a:lnTo>
                    <a:pt x="444" y="432"/>
                  </a:lnTo>
                  <a:lnTo>
                    <a:pt x="432" y="432"/>
                  </a:lnTo>
                  <a:lnTo>
                    <a:pt x="420" y="426"/>
                  </a:lnTo>
                  <a:lnTo>
                    <a:pt x="420" y="420"/>
                  </a:lnTo>
                  <a:lnTo>
                    <a:pt x="414" y="420"/>
                  </a:lnTo>
                  <a:lnTo>
                    <a:pt x="408" y="408"/>
                  </a:lnTo>
                  <a:lnTo>
                    <a:pt x="396" y="396"/>
                  </a:lnTo>
                  <a:lnTo>
                    <a:pt x="396" y="390"/>
                  </a:lnTo>
                  <a:lnTo>
                    <a:pt x="402" y="390"/>
                  </a:lnTo>
                  <a:lnTo>
                    <a:pt x="408" y="384"/>
                  </a:lnTo>
                  <a:lnTo>
                    <a:pt x="396" y="372"/>
                  </a:lnTo>
                  <a:lnTo>
                    <a:pt x="390" y="372"/>
                  </a:lnTo>
                  <a:lnTo>
                    <a:pt x="384" y="366"/>
                  </a:lnTo>
                  <a:lnTo>
                    <a:pt x="384" y="354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402" y="360"/>
                  </a:lnTo>
                  <a:lnTo>
                    <a:pt x="402" y="354"/>
                  </a:lnTo>
                  <a:lnTo>
                    <a:pt x="414" y="354"/>
                  </a:lnTo>
                  <a:lnTo>
                    <a:pt x="414" y="348"/>
                  </a:lnTo>
                  <a:lnTo>
                    <a:pt x="420" y="342"/>
                  </a:lnTo>
                  <a:lnTo>
                    <a:pt x="426" y="342"/>
                  </a:lnTo>
                  <a:lnTo>
                    <a:pt x="438" y="348"/>
                  </a:lnTo>
                  <a:lnTo>
                    <a:pt x="450" y="336"/>
                  </a:lnTo>
                  <a:lnTo>
                    <a:pt x="468" y="330"/>
                  </a:lnTo>
                  <a:lnTo>
                    <a:pt x="468" y="324"/>
                  </a:lnTo>
                  <a:lnTo>
                    <a:pt x="492" y="324"/>
                  </a:lnTo>
                  <a:lnTo>
                    <a:pt x="492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6" y="306"/>
                  </a:lnTo>
                  <a:lnTo>
                    <a:pt x="522" y="306"/>
                  </a:lnTo>
                  <a:lnTo>
                    <a:pt x="528" y="300"/>
                  </a:lnTo>
                  <a:lnTo>
                    <a:pt x="540" y="312"/>
                  </a:lnTo>
                  <a:lnTo>
                    <a:pt x="552" y="312"/>
                  </a:lnTo>
                  <a:lnTo>
                    <a:pt x="558" y="300"/>
                  </a:lnTo>
                  <a:lnTo>
                    <a:pt x="558" y="294"/>
                  </a:lnTo>
                  <a:lnTo>
                    <a:pt x="564" y="288"/>
                  </a:lnTo>
                  <a:lnTo>
                    <a:pt x="564" y="282"/>
                  </a:lnTo>
                  <a:lnTo>
                    <a:pt x="552" y="282"/>
                  </a:lnTo>
                  <a:lnTo>
                    <a:pt x="558" y="276"/>
                  </a:lnTo>
                  <a:lnTo>
                    <a:pt x="558" y="264"/>
                  </a:lnTo>
                  <a:lnTo>
                    <a:pt x="552" y="264"/>
                  </a:lnTo>
                  <a:lnTo>
                    <a:pt x="546" y="270"/>
                  </a:lnTo>
                  <a:lnTo>
                    <a:pt x="546" y="252"/>
                  </a:lnTo>
                  <a:lnTo>
                    <a:pt x="540" y="246"/>
                  </a:lnTo>
                  <a:lnTo>
                    <a:pt x="534" y="246"/>
                  </a:lnTo>
                  <a:lnTo>
                    <a:pt x="528" y="240"/>
                  </a:lnTo>
                  <a:lnTo>
                    <a:pt x="528" y="234"/>
                  </a:lnTo>
                  <a:lnTo>
                    <a:pt x="540" y="228"/>
                  </a:lnTo>
                  <a:lnTo>
                    <a:pt x="546" y="222"/>
                  </a:lnTo>
                  <a:lnTo>
                    <a:pt x="540" y="216"/>
                  </a:lnTo>
                  <a:lnTo>
                    <a:pt x="534" y="216"/>
                  </a:lnTo>
                  <a:lnTo>
                    <a:pt x="540" y="210"/>
                  </a:lnTo>
                  <a:lnTo>
                    <a:pt x="540" y="204"/>
                  </a:lnTo>
                  <a:lnTo>
                    <a:pt x="528" y="204"/>
                  </a:lnTo>
                  <a:lnTo>
                    <a:pt x="528" y="192"/>
                  </a:lnTo>
                  <a:lnTo>
                    <a:pt x="534" y="192"/>
                  </a:lnTo>
                  <a:lnTo>
                    <a:pt x="534" y="174"/>
                  </a:lnTo>
                  <a:lnTo>
                    <a:pt x="522" y="174"/>
                  </a:lnTo>
                  <a:lnTo>
                    <a:pt x="516" y="168"/>
                  </a:lnTo>
                  <a:lnTo>
                    <a:pt x="510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50"/>
                  </a:lnTo>
                  <a:lnTo>
                    <a:pt x="522" y="138"/>
                  </a:lnTo>
                  <a:lnTo>
                    <a:pt x="522" y="120"/>
                  </a:lnTo>
                  <a:lnTo>
                    <a:pt x="516" y="114"/>
                  </a:lnTo>
                  <a:lnTo>
                    <a:pt x="510" y="114"/>
                  </a:lnTo>
                  <a:lnTo>
                    <a:pt x="510" y="96"/>
                  </a:lnTo>
                  <a:lnTo>
                    <a:pt x="504" y="90"/>
                  </a:lnTo>
                  <a:lnTo>
                    <a:pt x="486" y="84"/>
                  </a:lnTo>
                  <a:lnTo>
                    <a:pt x="486" y="78"/>
                  </a:lnTo>
                  <a:lnTo>
                    <a:pt x="480" y="66"/>
                  </a:lnTo>
                  <a:lnTo>
                    <a:pt x="474" y="60"/>
                  </a:lnTo>
                  <a:lnTo>
                    <a:pt x="456" y="60"/>
                  </a:lnTo>
                  <a:lnTo>
                    <a:pt x="450" y="54"/>
                  </a:lnTo>
                  <a:lnTo>
                    <a:pt x="444" y="54"/>
                  </a:lnTo>
                  <a:lnTo>
                    <a:pt x="438" y="48"/>
                  </a:lnTo>
                  <a:lnTo>
                    <a:pt x="426" y="48"/>
                  </a:lnTo>
                  <a:lnTo>
                    <a:pt x="420" y="42"/>
                  </a:lnTo>
                  <a:lnTo>
                    <a:pt x="396" y="42"/>
                  </a:lnTo>
                  <a:lnTo>
                    <a:pt x="384" y="54"/>
                  </a:lnTo>
                  <a:lnTo>
                    <a:pt x="342" y="54"/>
                  </a:lnTo>
                  <a:lnTo>
                    <a:pt x="342" y="72"/>
                  </a:lnTo>
                  <a:lnTo>
                    <a:pt x="300" y="72"/>
                  </a:lnTo>
                  <a:lnTo>
                    <a:pt x="300" y="60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30"/>
                  </a:lnTo>
                  <a:lnTo>
                    <a:pt x="294" y="42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18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6"/>
                  </a:lnTo>
                  <a:lnTo>
                    <a:pt x="204" y="6"/>
                  </a:lnTo>
                  <a:lnTo>
                    <a:pt x="198" y="0"/>
                  </a:lnTo>
                  <a:lnTo>
                    <a:pt x="168" y="0"/>
                  </a:lnTo>
                  <a:lnTo>
                    <a:pt x="192" y="36"/>
                  </a:lnTo>
                  <a:lnTo>
                    <a:pt x="180" y="48"/>
                  </a:lnTo>
                  <a:lnTo>
                    <a:pt x="198" y="72"/>
                  </a:lnTo>
                  <a:lnTo>
                    <a:pt x="216" y="90"/>
                  </a:lnTo>
                  <a:lnTo>
                    <a:pt x="186" y="78"/>
                  </a:lnTo>
                  <a:lnTo>
                    <a:pt x="162" y="84"/>
                  </a:lnTo>
                  <a:lnTo>
                    <a:pt x="162" y="108"/>
                  </a:lnTo>
                  <a:lnTo>
                    <a:pt x="132" y="108"/>
                  </a:lnTo>
                  <a:lnTo>
                    <a:pt x="126" y="96"/>
                  </a:lnTo>
                  <a:lnTo>
                    <a:pt x="84" y="96"/>
                  </a:lnTo>
                  <a:lnTo>
                    <a:pt x="84" y="126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90" y="144"/>
                  </a:lnTo>
                  <a:lnTo>
                    <a:pt x="78" y="150"/>
                  </a:lnTo>
                  <a:lnTo>
                    <a:pt x="72" y="150"/>
                  </a:lnTo>
                  <a:lnTo>
                    <a:pt x="72" y="168"/>
                  </a:lnTo>
                  <a:lnTo>
                    <a:pt x="78" y="174"/>
                  </a:lnTo>
                  <a:lnTo>
                    <a:pt x="66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86"/>
                  </a:lnTo>
                  <a:lnTo>
                    <a:pt x="54" y="192"/>
                  </a:lnTo>
                  <a:lnTo>
                    <a:pt x="60" y="192"/>
                  </a:lnTo>
                  <a:lnTo>
                    <a:pt x="72" y="204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28"/>
                  </a:lnTo>
                  <a:lnTo>
                    <a:pt x="48" y="228"/>
                  </a:lnTo>
                  <a:lnTo>
                    <a:pt x="42" y="234"/>
                  </a:lnTo>
                  <a:lnTo>
                    <a:pt x="42" y="240"/>
                  </a:lnTo>
                  <a:lnTo>
                    <a:pt x="18" y="240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12" y="258"/>
                  </a:lnTo>
                  <a:lnTo>
                    <a:pt x="12" y="264"/>
                  </a:lnTo>
                  <a:lnTo>
                    <a:pt x="18" y="270"/>
                  </a:lnTo>
                  <a:lnTo>
                    <a:pt x="18" y="276"/>
                  </a:lnTo>
                  <a:lnTo>
                    <a:pt x="6" y="282"/>
                  </a:lnTo>
                  <a:lnTo>
                    <a:pt x="0" y="288"/>
                  </a:lnTo>
                  <a:lnTo>
                    <a:pt x="6" y="294"/>
                  </a:lnTo>
                  <a:lnTo>
                    <a:pt x="6" y="306"/>
                  </a:lnTo>
                  <a:lnTo>
                    <a:pt x="0" y="312"/>
                  </a:lnTo>
                  <a:lnTo>
                    <a:pt x="0" y="324"/>
                  </a:lnTo>
                  <a:lnTo>
                    <a:pt x="12" y="324"/>
                  </a:lnTo>
                  <a:lnTo>
                    <a:pt x="24" y="336"/>
                  </a:lnTo>
                  <a:lnTo>
                    <a:pt x="24" y="354"/>
                  </a:lnTo>
                  <a:lnTo>
                    <a:pt x="30" y="360"/>
                  </a:lnTo>
                  <a:lnTo>
                    <a:pt x="18" y="360"/>
                  </a:lnTo>
                  <a:lnTo>
                    <a:pt x="12" y="366"/>
                  </a:lnTo>
                  <a:lnTo>
                    <a:pt x="12" y="384"/>
                  </a:lnTo>
                  <a:lnTo>
                    <a:pt x="18" y="390"/>
                  </a:lnTo>
                  <a:lnTo>
                    <a:pt x="24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30" y="414"/>
                  </a:lnTo>
                  <a:close/>
                </a:path>
              </a:pathLst>
            </a:custGeom>
            <a:solidFill>
              <a:srgbClr val="3C3C3C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19419">
                <a:spcBef>
                  <a:spcPct val="0"/>
                </a:spcBef>
                <a:defRPr/>
              </a:pPr>
              <a:endParaRPr lang="en-GB" sz="633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9" name="Link_Asia">
              <a:extLst>
                <a:ext uri="{FF2B5EF4-FFF2-40B4-BE49-F238E27FC236}">
                  <a16:creationId xmlns:a16="http://schemas.microsoft.com/office/drawing/2014/main" id="{E9D2E9A8-481B-4F46-83D1-20A05A98C356}"/>
                </a:ext>
              </a:extLst>
            </p:cNvPr>
            <p:cNvSpPr/>
            <p:nvPr/>
          </p:nvSpPr>
          <p:spPr bwMode="gray">
            <a:xfrm>
              <a:off x="7956740" y="1990836"/>
              <a:ext cx="2833911" cy="2215928"/>
            </a:xfrm>
            <a:custGeom>
              <a:avLst/>
              <a:gdLst>
                <a:gd name="connsiteX0" fmla="*/ 0 w 2299016"/>
                <a:gd name="connsiteY0" fmla="*/ 0 h 1532270"/>
                <a:gd name="connsiteX1" fmla="*/ 2299016 w 2299016"/>
                <a:gd name="connsiteY1" fmla="*/ 0 h 1532270"/>
                <a:gd name="connsiteX2" fmla="*/ 2299016 w 2299016"/>
                <a:gd name="connsiteY2" fmla="*/ 1532270 h 1532270"/>
                <a:gd name="connsiteX3" fmla="*/ 0 w 2299016"/>
                <a:gd name="connsiteY3" fmla="*/ 1532270 h 1532270"/>
                <a:gd name="connsiteX4" fmla="*/ 0 w 2299016"/>
                <a:gd name="connsiteY4" fmla="*/ 0 h 1532270"/>
                <a:gd name="connsiteX0" fmla="*/ 0 w 2299016"/>
                <a:gd name="connsiteY0" fmla="*/ 0 h 1843199"/>
                <a:gd name="connsiteX1" fmla="*/ 2299016 w 2299016"/>
                <a:gd name="connsiteY1" fmla="*/ 0 h 1843199"/>
                <a:gd name="connsiteX2" fmla="*/ 2299016 w 2299016"/>
                <a:gd name="connsiteY2" fmla="*/ 1532270 h 1843199"/>
                <a:gd name="connsiteX3" fmla="*/ 429259 w 2299016"/>
                <a:gd name="connsiteY3" fmla="*/ 1843196 h 1843199"/>
                <a:gd name="connsiteX4" fmla="*/ 0 w 2299016"/>
                <a:gd name="connsiteY4" fmla="*/ 1532270 h 1843199"/>
                <a:gd name="connsiteX5" fmla="*/ 0 w 2299016"/>
                <a:gd name="connsiteY5" fmla="*/ 0 h 1843199"/>
                <a:gd name="connsiteX0" fmla="*/ 14287 w 2313303"/>
                <a:gd name="connsiteY0" fmla="*/ 0 h 1843199"/>
                <a:gd name="connsiteX1" fmla="*/ 2313303 w 2313303"/>
                <a:gd name="connsiteY1" fmla="*/ 0 h 1843199"/>
                <a:gd name="connsiteX2" fmla="*/ 2313303 w 2313303"/>
                <a:gd name="connsiteY2" fmla="*/ 1532270 h 1843199"/>
                <a:gd name="connsiteX3" fmla="*/ 443546 w 2313303"/>
                <a:gd name="connsiteY3" fmla="*/ 1843196 h 1843199"/>
                <a:gd name="connsiteX4" fmla="*/ 0 w 2313303"/>
                <a:gd name="connsiteY4" fmla="*/ 1279858 h 1843199"/>
                <a:gd name="connsiteX5" fmla="*/ 14287 w 2313303"/>
                <a:gd name="connsiteY5" fmla="*/ 0 h 1843199"/>
                <a:gd name="connsiteX0" fmla="*/ 33337 w 2313303"/>
                <a:gd name="connsiteY0" fmla="*/ 161925 h 1843199"/>
                <a:gd name="connsiteX1" fmla="*/ 2313303 w 2313303"/>
                <a:gd name="connsiteY1" fmla="*/ 0 h 1843199"/>
                <a:gd name="connsiteX2" fmla="*/ 2313303 w 2313303"/>
                <a:gd name="connsiteY2" fmla="*/ 1532270 h 1843199"/>
                <a:gd name="connsiteX3" fmla="*/ 443546 w 2313303"/>
                <a:gd name="connsiteY3" fmla="*/ 1843196 h 1843199"/>
                <a:gd name="connsiteX4" fmla="*/ 0 w 2313303"/>
                <a:gd name="connsiteY4" fmla="*/ 1279858 h 1843199"/>
                <a:gd name="connsiteX5" fmla="*/ 33337 w 2313303"/>
                <a:gd name="connsiteY5" fmla="*/ 161925 h 1843199"/>
                <a:gd name="connsiteX0" fmla="*/ 33337 w 2313303"/>
                <a:gd name="connsiteY0" fmla="*/ 190391 h 1871665"/>
                <a:gd name="connsiteX1" fmla="*/ 1224597 w 2313303"/>
                <a:gd name="connsiteY1" fmla="*/ 0 h 1871665"/>
                <a:gd name="connsiteX2" fmla="*/ 2313303 w 2313303"/>
                <a:gd name="connsiteY2" fmla="*/ 28466 h 1871665"/>
                <a:gd name="connsiteX3" fmla="*/ 2313303 w 2313303"/>
                <a:gd name="connsiteY3" fmla="*/ 1560736 h 1871665"/>
                <a:gd name="connsiteX4" fmla="*/ 443546 w 2313303"/>
                <a:gd name="connsiteY4" fmla="*/ 1871662 h 1871665"/>
                <a:gd name="connsiteX5" fmla="*/ 0 w 2313303"/>
                <a:gd name="connsiteY5" fmla="*/ 1308324 h 1871665"/>
                <a:gd name="connsiteX6" fmla="*/ 33337 w 2313303"/>
                <a:gd name="connsiteY6" fmla="*/ 190391 h 1871665"/>
                <a:gd name="connsiteX0" fmla="*/ 33337 w 2313303"/>
                <a:gd name="connsiteY0" fmla="*/ 190391 h 1871665"/>
                <a:gd name="connsiteX1" fmla="*/ 1224597 w 2313303"/>
                <a:gd name="connsiteY1" fmla="*/ 0 h 1871665"/>
                <a:gd name="connsiteX2" fmla="*/ 2127565 w 2313303"/>
                <a:gd name="connsiteY2" fmla="*/ 128478 h 1871665"/>
                <a:gd name="connsiteX3" fmla="*/ 2313303 w 2313303"/>
                <a:gd name="connsiteY3" fmla="*/ 1560736 h 1871665"/>
                <a:gd name="connsiteX4" fmla="*/ 443546 w 2313303"/>
                <a:gd name="connsiteY4" fmla="*/ 1871662 h 1871665"/>
                <a:gd name="connsiteX5" fmla="*/ 0 w 2313303"/>
                <a:gd name="connsiteY5" fmla="*/ 1308324 h 1871665"/>
                <a:gd name="connsiteX6" fmla="*/ 33337 w 2313303"/>
                <a:gd name="connsiteY6" fmla="*/ 190391 h 1871665"/>
                <a:gd name="connsiteX0" fmla="*/ 33337 w 2394266"/>
                <a:gd name="connsiteY0" fmla="*/ 190391 h 1871663"/>
                <a:gd name="connsiteX1" fmla="*/ 1224597 w 2394266"/>
                <a:gd name="connsiteY1" fmla="*/ 0 h 1871663"/>
                <a:gd name="connsiteX2" fmla="*/ 2127565 w 2394266"/>
                <a:gd name="connsiteY2" fmla="*/ 128478 h 1871663"/>
                <a:gd name="connsiteX3" fmla="*/ 2394266 w 2394266"/>
                <a:gd name="connsiteY3" fmla="*/ 1108298 h 1871663"/>
                <a:gd name="connsiteX4" fmla="*/ 443546 w 2394266"/>
                <a:gd name="connsiteY4" fmla="*/ 1871662 h 1871663"/>
                <a:gd name="connsiteX5" fmla="*/ 0 w 2394266"/>
                <a:gd name="connsiteY5" fmla="*/ 1308324 h 1871663"/>
                <a:gd name="connsiteX6" fmla="*/ 33337 w 2394266"/>
                <a:gd name="connsiteY6" fmla="*/ 190391 h 1871663"/>
                <a:gd name="connsiteX0" fmla="*/ 33337 w 2394266"/>
                <a:gd name="connsiteY0" fmla="*/ 190391 h 1874113"/>
                <a:gd name="connsiteX1" fmla="*/ 1224597 w 2394266"/>
                <a:gd name="connsiteY1" fmla="*/ 0 h 1874113"/>
                <a:gd name="connsiteX2" fmla="*/ 2127565 w 2394266"/>
                <a:gd name="connsiteY2" fmla="*/ 128478 h 1874113"/>
                <a:gd name="connsiteX3" fmla="*/ 2394266 w 2394266"/>
                <a:gd name="connsiteY3" fmla="*/ 1108298 h 1874113"/>
                <a:gd name="connsiteX4" fmla="*/ 1381758 w 2394266"/>
                <a:gd name="connsiteY4" fmla="*/ 1666875 h 1874113"/>
                <a:gd name="connsiteX5" fmla="*/ 443546 w 2394266"/>
                <a:gd name="connsiteY5" fmla="*/ 1871662 h 1874113"/>
                <a:gd name="connsiteX6" fmla="*/ 0 w 2394266"/>
                <a:gd name="connsiteY6" fmla="*/ 1308324 h 1874113"/>
                <a:gd name="connsiteX7" fmla="*/ 33337 w 2394266"/>
                <a:gd name="connsiteY7" fmla="*/ 190391 h 1874113"/>
                <a:gd name="connsiteX0" fmla="*/ 33337 w 2394266"/>
                <a:gd name="connsiteY0" fmla="*/ 190391 h 1872034"/>
                <a:gd name="connsiteX1" fmla="*/ 1224597 w 2394266"/>
                <a:gd name="connsiteY1" fmla="*/ 0 h 1872034"/>
                <a:gd name="connsiteX2" fmla="*/ 2127565 w 2394266"/>
                <a:gd name="connsiteY2" fmla="*/ 128478 h 1872034"/>
                <a:gd name="connsiteX3" fmla="*/ 2394266 w 2394266"/>
                <a:gd name="connsiteY3" fmla="*/ 1108298 h 1872034"/>
                <a:gd name="connsiteX4" fmla="*/ 1138871 w 2394266"/>
                <a:gd name="connsiteY4" fmla="*/ 1028700 h 1872034"/>
                <a:gd name="connsiteX5" fmla="*/ 443546 w 2394266"/>
                <a:gd name="connsiteY5" fmla="*/ 1871662 h 1872034"/>
                <a:gd name="connsiteX6" fmla="*/ 0 w 2394266"/>
                <a:gd name="connsiteY6" fmla="*/ 1308324 h 1872034"/>
                <a:gd name="connsiteX7" fmla="*/ 33337 w 2394266"/>
                <a:gd name="connsiteY7" fmla="*/ 190391 h 1872034"/>
                <a:gd name="connsiteX0" fmla="*/ 33337 w 2394266"/>
                <a:gd name="connsiteY0" fmla="*/ 190391 h 1872155"/>
                <a:gd name="connsiteX1" fmla="*/ 1224597 w 2394266"/>
                <a:gd name="connsiteY1" fmla="*/ 0 h 1872155"/>
                <a:gd name="connsiteX2" fmla="*/ 2127565 w 2394266"/>
                <a:gd name="connsiteY2" fmla="*/ 128478 h 1872155"/>
                <a:gd name="connsiteX3" fmla="*/ 2394266 w 2394266"/>
                <a:gd name="connsiteY3" fmla="*/ 1108298 h 1872155"/>
                <a:gd name="connsiteX4" fmla="*/ 1117439 w 2394266"/>
                <a:gd name="connsiteY4" fmla="*/ 1212056 h 1872155"/>
                <a:gd name="connsiteX5" fmla="*/ 443546 w 2394266"/>
                <a:gd name="connsiteY5" fmla="*/ 1871662 h 1872155"/>
                <a:gd name="connsiteX6" fmla="*/ 0 w 2394266"/>
                <a:gd name="connsiteY6" fmla="*/ 1308324 h 1872155"/>
                <a:gd name="connsiteX7" fmla="*/ 33337 w 2394266"/>
                <a:gd name="connsiteY7" fmla="*/ 190391 h 1872155"/>
                <a:gd name="connsiteX0" fmla="*/ 33337 w 2394266"/>
                <a:gd name="connsiteY0" fmla="*/ 190391 h 1872155"/>
                <a:gd name="connsiteX1" fmla="*/ 1224597 w 2394266"/>
                <a:gd name="connsiteY1" fmla="*/ 0 h 1872155"/>
                <a:gd name="connsiteX2" fmla="*/ 2127565 w 2394266"/>
                <a:gd name="connsiteY2" fmla="*/ 128478 h 1872155"/>
                <a:gd name="connsiteX3" fmla="*/ 2394266 w 2394266"/>
                <a:gd name="connsiteY3" fmla="*/ 1108298 h 1872155"/>
                <a:gd name="connsiteX4" fmla="*/ 1117439 w 2394266"/>
                <a:gd name="connsiteY4" fmla="*/ 1212056 h 1872155"/>
                <a:gd name="connsiteX5" fmla="*/ 443546 w 2394266"/>
                <a:gd name="connsiteY5" fmla="*/ 1871662 h 1872155"/>
                <a:gd name="connsiteX6" fmla="*/ 0 w 2394266"/>
                <a:gd name="connsiteY6" fmla="*/ 1308324 h 1872155"/>
                <a:gd name="connsiteX7" fmla="*/ 33337 w 2394266"/>
                <a:gd name="connsiteY7" fmla="*/ 190391 h 1872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4266" h="1872155">
                  <a:moveTo>
                    <a:pt x="33337" y="190391"/>
                  </a:moveTo>
                  <a:cubicBezTo>
                    <a:pt x="485986" y="158677"/>
                    <a:pt x="771948" y="31714"/>
                    <a:pt x="1224597" y="0"/>
                  </a:cubicBezTo>
                  <a:lnTo>
                    <a:pt x="2127565" y="128478"/>
                  </a:lnTo>
                  <a:lnTo>
                    <a:pt x="2394266" y="1108298"/>
                  </a:lnTo>
                  <a:cubicBezTo>
                    <a:pt x="2293777" y="1324216"/>
                    <a:pt x="1430653" y="1399154"/>
                    <a:pt x="1117439" y="1212056"/>
                  </a:cubicBezTo>
                  <a:cubicBezTo>
                    <a:pt x="792319" y="1339283"/>
                    <a:pt x="697651" y="1890939"/>
                    <a:pt x="443546" y="1871662"/>
                  </a:cubicBezTo>
                  <a:lnTo>
                    <a:pt x="0" y="1308324"/>
                  </a:lnTo>
                  <a:lnTo>
                    <a:pt x="33337" y="190391"/>
                  </a:lnTo>
                  <a:close/>
                </a:path>
              </a:pathLst>
            </a:custGeom>
            <a:solidFill>
              <a:srgbClr val="66A697">
                <a:alpha val="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ctr"/>
            <a:lstStyle/>
            <a:p>
              <a:pPr marL="239989" indent="-239989" algn="ctr">
                <a:spcBef>
                  <a:spcPts val="800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endParaRPr lang="de-DE" sz="1867" err="1"/>
            </a:p>
          </p:txBody>
        </p:sp>
        <p:sp>
          <p:nvSpPr>
            <p:cNvPr id="210" name="Link_Germany">
              <a:extLst>
                <a:ext uri="{FF2B5EF4-FFF2-40B4-BE49-F238E27FC236}">
                  <a16:creationId xmlns:a16="http://schemas.microsoft.com/office/drawing/2014/main" id="{4C393220-38C9-4909-B81E-DC504F067784}"/>
                </a:ext>
              </a:extLst>
            </p:cNvPr>
            <p:cNvSpPr/>
            <p:nvPr/>
          </p:nvSpPr>
          <p:spPr bwMode="gray">
            <a:xfrm>
              <a:off x="5802956" y="1366339"/>
              <a:ext cx="334977" cy="369326"/>
            </a:xfrm>
            <a:custGeom>
              <a:avLst/>
              <a:gdLst>
                <a:gd name="connsiteX0" fmla="*/ 0 w 297888"/>
                <a:gd name="connsiteY0" fmla="*/ 0 h 352511"/>
                <a:gd name="connsiteX1" fmla="*/ 297888 w 297888"/>
                <a:gd name="connsiteY1" fmla="*/ 0 h 352511"/>
                <a:gd name="connsiteX2" fmla="*/ 297888 w 297888"/>
                <a:gd name="connsiteY2" fmla="*/ 352511 h 352511"/>
                <a:gd name="connsiteX3" fmla="*/ 0 w 297888"/>
                <a:gd name="connsiteY3" fmla="*/ 352511 h 352511"/>
                <a:gd name="connsiteX4" fmla="*/ 0 w 297888"/>
                <a:gd name="connsiteY4" fmla="*/ 0 h 352511"/>
                <a:gd name="connsiteX0" fmla="*/ 21432 w 297888"/>
                <a:gd name="connsiteY0" fmla="*/ 45243 h 352511"/>
                <a:gd name="connsiteX1" fmla="*/ 297888 w 297888"/>
                <a:gd name="connsiteY1" fmla="*/ 0 h 352511"/>
                <a:gd name="connsiteX2" fmla="*/ 297888 w 297888"/>
                <a:gd name="connsiteY2" fmla="*/ 352511 h 352511"/>
                <a:gd name="connsiteX3" fmla="*/ 0 w 297888"/>
                <a:gd name="connsiteY3" fmla="*/ 352511 h 352511"/>
                <a:gd name="connsiteX4" fmla="*/ 21432 w 297888"/>
                <a:gd name="connsiteY4" fmla="*/ 45243 h 352511"/>
                <a:gd name="connsiteX0" fmla="*/ 21432 w 297888"/>
                <a:gd name="connsiteY0" fmla="*/ 33337 h 340605"/>
                <a:gd name="connsiteX1" fmla="*/ 262170 w 297888"/>
                <a:gd name="connsiteY1" fmla="*/ 0 h 340605"/>
                <a:gd name="connsiteX2" fmla="*/ 297888 w 297888"/>
                <a:gd name="connsiteY2" fmla="*/ 340605 h 340605"/>
                <a:gd name="connsiteX3" fmla="*/ 0 w 297888"/>
                <a:gd name="connsiteY3" fmla="*/ 340605 h 340605"/>
                <a:gd name="connsiteX4" fmla="*/ 21432 w 297888"/>
                <a:gd name="connsiteY4" fmla="*/ 33337 h 340605"/>
                <a:gd name="connsiteX0" fmla="*/ 0 w 276456"/>
                <a:gd name="connsiteY0" fmla="*/ 33337 h 340605"/>
                <a:gd name="connsiteX1" fmla="*/ 240738 w 276456"/>
                <a:gd name="connsiteY1" fmla="*/ 0 h 340605"/>
                <a:gd name="connsiteX2" fmla="*/ 276456 w 276456"/>
                <a:gd name="connsiteY2" fmla="*/ 340605 h 340605"/>
                <a:gd name="connsiteX3" fmla="*/ 2380 w 276456"/>
                <a:gd name="connsiteY3" fmla="*/ 312030 h 340605"/>
                <a:gd name="connsiteX4" fmla="*/ 0 w 276456"/>
                <a:gd name="connsiteY4" fmla="*/ 33337 h 340605"/>
                <a:gd name="connsiteX0" fmla="*/ 0 w 278837"/>
                <a:gd name="connsiteY0" fmla="*/ 33337 h 312030"/>
                <a:gd name="connsiteX1" fmla="*/ 240738 w 278837"/>
                <a:gd name="connsiteY1" fmla="*/ 0 h 312030"/>
                <a:gd name="connsiteX2" fmla="*/ 278837 w 278837"/>
                <a:gd name="connsiteY2" fmla="*/ 309649 h 312030"/>
                <a:gd name="connsiteX3" fmla="*/ 2380 w 278837"/>
                <a:gd name="connsiteY3" fmla="*/ 312030 h 312030"/>
                <a:gd name="connsiteX4" fmla="*/ 0 w 278837"/>
                <a:gd name="connsiteY4" fmla="*/ 33337 h 312030"/>
                <a:gd name="connsiteX0" fmla="*/ 0 w 283010"/>
                <a:gd name="connsiteY0" fmla="*/ 33337 h 312030"/>
                <a:gd name="connsiteX1" fmla="*/ 240738 w 283010"/>
                <a:gd name="connsiteY1" fmla="*/ 0 h 312030"/>
                <a:gd name="connsiteX2" fmla="*/ 283010 w 283010"/>
                <a:gd name="connsiteY2" fmla="*/ 149781 h 312030"/>
                <a:gd name="connsiteX3" fmla="*/ 278837 w 283010"/>
                <a:gd name="connsiteY3" fmla="*/ 309649 h 312030"/>
                <a:gd name="connsiteX4" fmla="*/ 2380 w 283010"/>
                <a:gd name="connsiteY4" fmla="*/ 312030 h 312030"/>
                <a:gd name="connsiteX5" fmla="*/ 0 w 283010"/>
                <a:gd name="connsiteY5" fmla="*/ 33337 h 312030"/>
                <a:gd name="connsiteX0" fmla="*/ 0 w 283010"/>
                <a:gd name="connsiteY0" fmla="*/ 33337 h 312030"/>
                <a:gd name="connsiteX1" fmla="*/ 240738 w 283010"/>
                <a:gd name="connsiteY1" fmla="*/ 0 h 312030"/>
                <a:gd name="connsiteX2" fmla="*/ 283010 w 283010"/>
                <a:gd name="connsiteY2" fmla="*/ 149781 h 312030"/>
                <a:gd name="connsiteX3" fmla="*/ 245499 w 283010"/>
                <a:gd name="connsiteY3" fmla="*/ 307268 h 312030"/>
                <a:gd name="connsiteX4" fmla="*/ 2380 w 283010"/>
                <a:gd name="connsiteY4" fmla="*/ 312030 h 312030"/>
                <a:gd name="connsiteX5" fmla="*/ 0 w 283010"/>
                <a:gd name="connsiteY5" fmla="*/ 33337 h 312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3010" h="312030">
                  <a:moveTo>
                    <a:pt x="0" y="33337"/>
                  </a:moveTo>
                  <a:lnTo>
                    <a:pt x="240738" y="0"/>
                  </a:lnTo>
                  <a:cubicBezTo>
                    <a:pt x="246097" y="53102"/>
                    <a:pt x="277651" y="96679"/>
                    <a:pt x="283010" y="149781"/>
                  </a:cubicBezTo>
                  <a:lnTo>
                    <a:pt x="245499" y="307268"/>
                  </a:lnTo>
                  <a:lnTo>
                    <a:pt x="2380" y="312030"/>
                  </a:lnTo>
                  <a:cubicBezTo>
                    <a:pt x="1587" y="219132"/>
                    <a:pt x="793" y="126235"/>
                    <a:pt x="0" y="33337"/>
                  </a:cubicBezTo>
                  <a:close/>
                </a:path>
              </a:pathLst>
            </a:cu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96000" rIns="96000" bIns="96000" rtlCol="0" anchor="ctr"/>
            <a:lstStyle/>
            <a:p>
              <a:pPr marL="239989" indent="-239989" algn="ctr">
                <a:spcBef>
                  <a:spcPts val="800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endParaRPr lang="de-DE" sz="1867" err="1"/>
            </a:p>
          </p:txBody>
        </p:sp>
      </p:grpSp>
    </p:spTree>
    <p:extLst>
      <p:ext uri="{BB962C8B-B14F-4D97-AF65-F5344CB8AC3E}">
        <p14:creationId xmlns:p14="http://schemas.microsoft.com/office/powerpoint/2010/main" val="371000167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>
            <a:cxnSpLocks/>
          </p:cNvCxnSpPr>
          <p:nvPr userDrawn="1"/>
        </p:nvCxnSpPr>
        <p:spPr>
          <a:xfrm flipH="1">
            <a:off x="3" y="1150375"/>
            <a:ext cx="811741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2">
            <a:extLst>
              <a:ext uri="{FF2B5EF4-FFF2-40B4-BE49-F238E27FC236}">
                <a16:creationId xmlns:a16="http://schemas.microsoft.com/office/drawing/2014/main" id="{C1919F79-FBF3-49A3-818F-EE3B70748664}"/>
              </a:ext>
            </a:extLst>
          </p:cNvPr>
          <p:cNvSpPr/>
          <p:nvPr userDrawn="1"/>
        </p:nvSpPr>
        <p:spPr>
          <a:xfrm>
            <a:off x="8439672" y="1"/>
            <a:ext cx="3752328" cy="57076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9D111FB-A664-4077-9B7E-00ABCA15870A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EB4F56D1-4CD5-4851-ACB6-3C4851906A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32C8833-AD48-4D43-8DCD-0FE814C615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BA07A9E-D57F-4704-8EEB-EF732BC0F1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88035625-7F3D-42D6-9393-86A849CAD0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E47154B-2BA3-496B-B3FB-41222CC58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1393544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3CF285C-36C6-4D0B-A71C-4297EAD1D9C3}"/>
              </a:ext>
            </a:extLst>
          </p:cNvPr>
          <p:cNvSpPr/>
          <p:nvPr userDrawn="1"/>
        </p:nvSpPr>
        <p:spPr>
          <a:xfrm>
            <a:off x="5127116" y="0"/>
            <a:ext cx="7064885" cy="570762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00"/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F0F79BDC-4097-4953-BB76-2E8483235A13}"/>
              </a:ext>
            </a:extLst>
          </p:cNvPr>
          <p:cNvCxnSpPr/>
          <p:nvPr userDrawn="1"/>
        </p:nvCxnSpPr>
        <p:spPr>
          <a:xfrm flipH="1">
            <a:off x="3" y="1150375"/>
            <a:ext cx="48239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9">
            <a:extLst>
              <a:ext uri="{FF2B5EF4-FFF2-40B4-BE49-F238E27FC236}">
                <a16:creationId xmlns:a16="http://schemas.microsoft.com/office/drawing/2014/main" id="{52B3F417-3526-418C-AFDA-4B4AF8087E1C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01125DA4-6F68-4E34-8097-DA84D07BD3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FD35D8-0818-4D9A-ABCC-504C063398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3283755-252E-46BC-8196-C8E5E8BE61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4709264F-A6CF-4B38-A4C9-C49E3E3F0D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D7EEB8A-88FD-404B-A682-4E1FB4524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1" y="450001"/>
            <a:ext cx="4327915" cy="45690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407171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B715A43-8B7F-4A33-8E56-14984C6EE969}"/>
              </a:ext>
            </a:extLst>
          </p:cNvPr>
          <p:cNvCxnSpPr/>
          <p:nvPr userDrawn="1"/>
        </p:nvCxnSpPr>
        <p:spPr>
          <a:xfrm flipH="1">
            <a:off x="1" y="1150375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43">
            <a:extLst>
              <a:ext uri="{FF2B5EF4-FFF2-40B4-BE49-F238E27FC236}">
                <a16:creationId xmlns:a16="http://schemas.microsoft.com/office/drawing/2014/main" id="{32B6DEF0-9227-429B-BA84-A0B34E328E5E}"/>
              </a:ext>
            </a:extLst>
          </p:cNvPr>
          <p:cNvSpPr/>
          <p:nvPr userDrawn="1"/>
        </p:nvSpPr>
        <p:spPr>
          <a:xfrm>
            <a:off x="0" y="1150376"/>
            <a:ext cx="12192000" cy="2743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24E3CE2-DF98-4947-A8A1-6EC8B5F1DE3D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A25E878-41B2-4B33-AD59-7F05F14026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930591-CC3F-4535-AED5-7BD033F390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B1316FFF-A551-4487-9396-1F07DE220E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A9CA8D6-5205-4E2E-9BCD-7C3A4094E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0029650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724E3CE2-DF98-4947-A8A1-6EC8B5F1DE3D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A25E878-41B2-4B33-AD59-7F05F14026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930591-CC3F-4535-AED5-7BD033F390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B1316FFF-A551-4487-9396-1F07DE220E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7E4E7C2-EED3-4903-98A3-6EDEF1687964}"/>
              </a:ext>
            </a:extLst>
          </p:cNvPr>
          <p:cNvSpPr/>
          <p:nvPr userDrawn="1"/>
        </p:nvSpPr>
        <p:spPr>
          <a:xfrm>
            <a:off x="-1" y="2870200"/>
            <a:ext cx="12192001" cy="2524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200D58C-917A-418F-A565-72737F7CD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1295368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35B5A04A-4E84-4004-99EC-83421679A198}"/>
              </a:ext>
            </a:extLst>
          </p:cNvPr>
          <p:cNvSpPr/>
          <p:nvPr userDrawn="1"/>
        </p:nvSpPr>
        <p:spPr>
          <a:xfrm>
            <a:off x="-5465" y="1125416"/>
            <a:ext cx="12192000" cy="5732584"/>
          </a:xfrm>
          <a:prstGeom prst="rect">
            <a:avLst/>
          </a:prstGeom>
          <a:solidFill>
            <a:schemeClr val="bg1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90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9ABDA7A-DAF9-46BB-9641-7C40F2DC1A66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EB78983-1B51-413F-937F-FB0B7DD0D7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DEKRA Corporate Presentation 2022/0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DDC466B-024D-4DD8-A249-8C9AA11F98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A1FD9291-BC58-4192-B2B0-265BEAF24B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4A90506-5552-4D6F-A46B-2A65105E86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5761" y="6134101"/>
            <a:ext cx="476251" cy="476251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6B52D82A-CA3E-447D-A91F-1B0B16B52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41015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Add</a:t>
            </a:r>
          </a:p>
          <a:p>
            <a:pPr lvl="0"/>
            <a:r>
              <a:rPr lang="de-DE"/>
              <a:t>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15749667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Titel Hinzufüg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525873"/>
      </p:ext>
    </p:extLst>
  </p:cSld>
  <p:clrMapOvr>
    <a:masterClrMapping/>
  </p:clrMapOvr>
  <p:transition spd="slow">
    <p:wip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98A342A-2953-4CD4-B74E-5CFD8463FF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" y="1125416"/>
            <a:ext cx="12191999" cy="57325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>
              <a:defRPr sz="1000"/>
            </a:lvl2pPr>
          </a:lstStyle>
          <a:p>
            <a:pPr lvl="0"/>
            <a:endParaRPr lang="de-DE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9ABDA7A-DAF9-46BB-9641-7C40F2DC1A66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A6920AC-4933-4665-9D8A-4F04038D490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CD884F8-0B23-4710-8F66-1EE00D3E10A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EC93A6E-2C7C-47D4-9F76-961E2789DC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B524DA7-9F56-4714-A4B2-2EA5DE8BE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2253232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9C190C9-B8C3-4186-BF78-2C96D3868E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27116" y="0"/>
            <a:ext cx="7064885" cy="570762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/>
          <p:nvPr userDrawn="1"/>
        </p:nvCxnSpPr>
        <p:spPr>
          <a:xfrm flipH="1">
            <a:off x="3" y="1150375"/>
            <a:ext cx="48239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D5EB7AFB-8D64-48A6-9AF0-85BB78F60107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027EA910-2658-4502-A322-6817189276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4E689DC-8C34-49E2-A61A-7C2653DDE9C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9C709A3-0C85-4FEA-8C84-938427D74A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D4330F63-76EA-41E0-BED1-7F0B522A79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D4303EE-878F-4268-A0D8-641246C81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1" y="450001"/>
            <a:ext cx="4327915" cy="45690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94908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3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/>
          <p:nvPr userDrawn="1"/>
        </p:nvCxnSpPr>
        <p:spPr>
          <a:xfrm flipH="1">
            <a:off x="3" y="1150375"/>
            <a:ext cx="48239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2">
            <a:extLst>
              <a:ext uri="{FF2B5EF4-FFF2-40B4-BE49-F238E27FC236}">
                <a16:creationId xmlns:a16="http://schemas.microsoft.com/office/drawing/2014/main" id="{C1919F79-FBF3-49A3-818F-EE3B70748664}"/>
              </a:ext>
            </a:extLst>
          </p:cNvPr>
          <p:cNvSpPr/>
          <p:nvPr userDrawn="1"/>
        </p:nvSpPr>
        <p:spPr>
          <a:xfrm>
            <a:off x="5127116" y="1"/>
            <a:ext cx="7064885" cy="57076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69F5806-DD94-469A-B960-E2BAFF5A8679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5F4B323-0107-4B9E-8CB2-D3ECA470F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4B02F97-B7B7-4838-A770-2C298EA614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EB4A92F-1F92-442F-BD2F-07BC2D4B16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816238E3-92A3-4E5E-B591-234189D3BB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5C51BE8-91E0-4CCD-8E70-66707D47E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0" y="450001"/>
            <a:ext cx="4327915" cy="45690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6996627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/>
          <p:nvPr userDrawn="1"/>
        </p:nvCxnSpPr>
        <p:spPr>
          <a:xfrm flipH="1">
            <a:off x="3" y="1150375"/>
            <a:ext cx="48239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2">
            <a:extLst>
              <a:ext uri="{FF2B5EF4-FFF2-40B4-BE49-F238E27FC236}">
                <a16:creationId xmlns:a16="http://schemas.microsoft.com/office/drawing/2014/main" id="{C1919F79-FBF3-49A3-818F-EE3B70748664}"/>
              </a:ext>
            </a:extLst>
          </p:cNvPr>
          <p:cNvSpPr/>
          <p:nvPr userDrawn="1"/>
        </p:nvSpPr>
        <p:spPr>
          <a:xfrm>
            <a:off x="6096000" y="1"/>
            <a:ext cx="6096000" cy="57076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69F5806-DD94-469A-B960-E2BAFF5A8679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5F4B323-0107-4B9E-8CB2-D3ECA470F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4B02F97-B7B7-4838-A770-2C298EA614E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EB4A92F-1F92-442F-BD2F-07BC2D4B16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816238E3-92A3-4E5E-B591-234189D3BB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1EC04B6-BCF3-4883-B723-BF439D624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0" y="450001"/>
            <a:ext cx="5296800" cy="45690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9368791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32A0A9BE-F2A3-45EE-AAF6-54C7D2344115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EC71337D-6D52-4487-8EE8-8158B9217B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3CC136-11FE-4372-AF88-2AA5A01E8EC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2E73E6-7923-49EE-93CB-D30F46344A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ECDE8D2A-F005-4828-9507-047D79AC37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DF4C791-F8B3-4085-B0F5-4E1175DDC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0" y="450001"/>
            <a:ext cx="5296800" cy="45690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2045450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>
            <a:cxnSpLocks/>
          </p:cNvCxnSpPr>
          <p:nvPr userDrawn="1"/>
        </p:nvCxnSpPr>
        <p:spPr>
          <a:xfrm flipH="1">
            <a:off x="3" y="1150375"/>
            <a:ext cx="811741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72EC0CE3-67E3-42FA-888D-F118D9ECB4F3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F7BF3322-5569-4911-883C-996374E79A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7F680953-6B83-445A-8583-F7CCE0E0759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39671" y="0"/>
            <a:ext cx="3752328" cy="570762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F059840-5F6C-4744-8185-64B9A3BEEEA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Corporate Presentation 2022/0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A109CB2-B81D-4FFE-931E-AB580CD8CF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3F05CF4B-2AFC-4A66-AAC4-8FB99B65AF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E86B640-3B03-4E37-B33B-F2872412A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0" y="450001"/>
            <a:ext cx="5296800" cy="45690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3463141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FB51E25-0A12-4AE3-8A4D-8643606BCF20}"/>
              </a:ext>
            </a:extLst>
          </p:cNvPr>
          <p:cNvCxnSpPr/>
          <p:nvPr userDrawn="1"/>
        </p:nvCxnSpPr>
        <p:spPr>
          <a:xfrm flipH="1">
            <a:off x="1" y="1150375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AAAAD789-B846-4C36-B222-6DCA0EBB84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  <a:endParaRPr lang="de-D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2A0A9BE-F2A3-45EE-AAF6-54C7D2344115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3" name="Titel 3">
            <a:extLst>
              <a:ext uri="{FF2B5EF4-FFF2-40B4-BE49-F238E27FC236}">
                <a16:creationId xmlns:a16="http://schemas.microsoft.com/office/drawing/2014/main" id="{7EFC8540-C0BB-4BAA-8629-9948CAC7A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EC71337D-6D52-4487-8EE8-8158B9217B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42944782-8542-43B1-BBDF-D8A6BBE645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202" y="830901"/>
            <a:ext cx="3739535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err="1"/>
              <a:t>Subtitel</a:t>
            </a:r>
            <a:r>
              <a:rPr lang="de-DE" dirty="0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19480597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3160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183064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49F54E6F-7EC5-48B6-B008-7D59E5BFDA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71388017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343025"/>
            <a:ext cx="12192000" cy="43513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  <a:lvl3pPr marL="914377" indent="0">
              <a:buNone/>
              <a:defRPr/>
            </a:lvl3pPr>
          </a:lstStyle>
          <a:p>
            <a:pPr lvl="2"/>
            <a:endParaRPr lang="en-US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602D9523-801A-41B2-9435-02AADE9B4756}"/>
              </a:ext>
            </a:extLst>
          </p:cNvPr>
          <p:cNvSpPr txBox="1">
            <a:spLocks/>
          </p:cNvSpPr>
          <p:nvPr userDrawn="1"/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/>
              <a:t>Hier einen Text einfügen</a:t>
            </a:r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0577092B-DF29-45E2-BF23-B6D612894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8B740564-2243-461C-B833-688434E326F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99200" y="830901"/>
            <a:ext cx="3762640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104597744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55725"/>
            <a:ext cx="5181600" cy="43513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55725"/>
            <a:ext cx="5181600" cy="435133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0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endParaRPr lang="en-US"/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39D5C2E7-7BF8-4DD1-A1D4-4DD7A4411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4CF17D37-8100-4818-8837-DAEBB5FC22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6" name="Textplatzhalter 14">
            <a:extLst>
              <a:ext uri="{FF2B5EF4-FFF2-40B4-BE49-F238E27FC236}">
                <a16:creationId xmlns:a16="http://schemas.microsoft.com/office/drawing/2014/main" id="{21EBD1AF-73C8-44FB-A03C-A17170E0E63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99200" y="830901"/>
            <a:ext cx="3772800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470898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5158063"/>
      </p:ext>
    </p:extLst>
  </p:cSld>
  <p:clrMapOvr>
    <a:masterClrMapping/>
  </p:clrMapOvr>
  <p:transition spd="slow">
    <p:wip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98A342A-2953-4CD4-B74E-5CFD8463FF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" y="1125416"/>
            <a:ext cx="12191999" cy="57325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>
              <a:defRPr sz="1000"/>
            </a:lvl2pPr>
          </a:lstStyle>
          <a:p>
            <a:pPr lvl="0"/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DA8FA368-D848-4BEC-BCF0-014C652732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9ABDA7A-DAF9-46BB-9641-7C40F2DC1A66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AD299EA3-D623-4765-872B-9FC85E639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A8768B1B-597D-433C-9AFE-59A263822BAB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99200" y="830901"/>
            <a:ext cx="3742320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227466888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55A0CCF5-E307-441B-B8E2-34DECDE3C4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9" name="Bildplatzhalter 5">
            <a:extLst>
              <a:ext uri="{FF2B5EF4-FFF2-40B4-BE49-F238E27FC236}">
                <a16:creationId xmlns:a16="http://schemas.microsoft.com/office/drawing/2014/main" id="{D9C190C9-B8C3-4186-BF78-2C96D3868E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127116" y="0"/>
            <a:ext cx="7064885" cy="570762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/>
          <p:nvPr userDrawn="1"/>
        </p:nvCxnSpPr>
        <p:spPr>
          <a:xfrm flipH="1">
            <a:off x="3" y="1150375"/>
            <a:ext cx="48239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>
            <a:extLst>
              <a:ext uri="{FF2B5EF4-FFF2-40B4-BE49-F238E27FC236}">
                <a16:creationId xmlns:a16="http://schemas.microsoft.com/office/drawing/2014/main" id="{D5EB7AFB-8D64-48A6-9AF0-85BB78F60107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0D285DB3-8EAF-480A-AE19-7A5CAB4A7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027EA910-2658-4502-A322-6817189276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B921CD81-72D7-48C6-95AE-DD29072F87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202" y="830901"/>
            <a:ext cx="3739535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2117468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3">
          <p15:clr>
            <a:srgbClr val="FBAE40"/>
          </p15:clr>
        </p15:guide>
        <p15:guide id="2" pos="211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5FB51E25-0A12-4AE3-8A4D-8643606BCF20}"/>
              </a:ext>
            </a:extLst>
          </p:cNvPr>
          <p:cNvCxnSpPr/>
          <p:nvPr userDrawn="1"/>
        </p:nvCxnSpPr>
        <p:spPr>
          <a:xfrm flipH="1">
            <a:off x="1" y="1150375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AAAAD789-B846-4C36-B222-6DCA0EBB84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2A0A9BE-F2A3-45EE-AAF6-54C7D2344115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3" name="Titel 3">
            <a:extLst>
              <a:ext uri="{FF2B5EF4-FFF2-40B4-BE49-F238E27FC236}">
                <a16:creationId xmlns:a16="http://schemas.microsoft.com/office/drawing/2014/main" id="{7EFC8540-C0BB-4BAA-8629-9948CAC7A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EC71337D-6D52-4487-8EE8-8158B9217B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42944782-8542-43B1-BBDF-D8A6BBE645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202" y="830901"/>
            <a:ext cx="3739535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35015783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>
            <a:cxnSpLocks/>
          </p:cNvCxnSpPr>
          <p:nvPr userDrawn="1"/>
        </p:nvCxnSpPr>
        <p:spPr>
          <a:xfrm flipH="1">
            <a:off x="3" y="1150375"/>
            <a:ext cx="811741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ußzeilenplatzhalter 1">
            <a:extLst>
              <a:ext uri="{FF2B5EF4-FFF2-40B4-BE49-F238E27FC236}">
                <a16:creationId xmlns:a16="http://schemas.microsoft.com/office/drawing/2014/main" id="{5E05F8DD-6B18-4A7E-88B7-26E4953200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72EC0CE3-67E3-42FA-888D-F118D9ECB4F3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4" name="Titel 3">
            <a:extLst>
              <a:ext uri="{FF2B5EF4-FFF2-40B4-BE49-F238E27FC236}">
                <a16:creationId xmlns:a16="http://schemas.microsoft.com/office/drawing/2014/main" id="{0135B7C1-B8AE-48CB-BD5B-6FCFEC7AF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F7BF3322-5569-4911-883C-996374E79A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7F680953-6B83-445A-8583-F7CCE0E0759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439671" y="0"/>
            <a:ext cx="3752328" cy="570762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1D93CDA5-10E3-437B-82BB-E2037302D1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202" y="830901"/>
            <a:ext cx="3739535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181431538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6B715A43-8B7F-4A33-8E56-14984C6EE969}"/>
              </a:ext>
            </a:extLst>
          </p:cNvPr>
          <p:cNvCxnSpPr/>
          <p:nvPr userDrawn="1"/>
        </p:nvCxnSpPr>
        <p:spPr>
          <a:xfrm flipH="1">
            <a:off x="1" y="1150375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43">
            <a:extLst>
              <a:ext uri="{FF2B5EF4-FFF2-40B4-BE49-F238E27FC236}">
                <a16:creationId xmlns:a16="http://schemas.microsoft.com/office/drawing/2014/main" id="{32B6DEF0-9227-429B-BA84-A0B34E328E5E}"/>
              </a:ext>
            </a:extLst>
          </p:cNvPr>
          <p:cNvSpPr/>
          <p:nvPr userDrawn="1"/>
        </p:nvSpPr>
        <p:spPr>
          <a:xfrm>
            <a:off x="0" y="1150376"/>
            <a:ext cx="12192000" cy="2278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17BA16BC-BE65-4019-A024-4BDC1350B2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24E3CE2-DF98-4947-A8A1-6EC8B5F1DE3D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4" name="Titel 3">
            <a:extLst>
              <a:ext uri="{FF2B5EF4-FFF2-40B4-BE49-F238E27FC236}">
                <a16:creationId xmlns:a16="http://schemas.microsoft.com/office/drawing/2014/main" id="{53FE506D-225B-420C-ACA4-CC1F63DFA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C3DF735F-C974-41C4-AED4-E62D87D84D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200" y="830901"/>
            <a:ext cx="3742320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414094027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7AED8AFA-0AB9-4F8F-BE49-63606EEDE219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F5F99063-69AF-4779-AB72-FC86018E03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B1A58D-A2B8-4D15-9F89-02298A18C1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DEKRA _ REV &amp; Pepper CP _ 15 Mars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773E4B-C2B1-48FB-9A4C-AA771268A7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862BB2-6545-43FB-8344-C215873BF11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632D3405-BBA1-4D55-B934-459F0275C7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202" y="846877"/>
            <a:ext cx="3654583" cy="407987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de-DE" dirty="0"/>
            </a:lvl1pPr>
          </a:lstStyle>
          <a:p>
            <a:pPr lvl="0"/>
            <a:r>
              <a:rPr lang="de-DE" err="1"/>
              <a:t>Subtitel</a:t>
            </a:r>
            <a:r>
              <a:rPr lang="de-DE"/>
              <a:t> hinzufüg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E25F445-BE4C-46D0-93C5-AE7BBA16F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3691628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2">
            <a:extLst>
              <a:ext uri="{FF2B5EF4-FFF2-40B4-BE49-F238E27FC236}">
                <a16:creationId xmlns:a16="http://schemas.microsoft.com/office/drawing/2014/main" id="{2706C069-1162-4ACA-A6BC-33CE94EFAE7F}"/>
              </a:ext>
            </a:extLst>
          </p:cNvPr>
          <p:cNvCxnSpPr/>
          <p:nvPr userDrawn="1"/>
        </p:nvCxnSpPr>
        <p:spPr>
          <a:xfrm flipH="1">
            <a:off x="3" y="1150375"/>
            <a:ext cx="48239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2">
            <a:extLst>
              <a:ext uri="{FF2B5EF4-FFF2-40B4-BE49-F238E27FC236}">
                <a16:creationId xmlns:a16="http://schemas.microsoft.com/office/drawing/2014/main" id="{C1919F79-FBF3-49A3-818F-EE3B70748664}"/>
              </a:ext>
            </a:extLst>
          </p:cNvPr>
          <p:cNvSpPr/>
          <p:nvPr userDrawn="1"/>
        </p:nvSpPr>
        <p:spPr>
          <a:xfrm>
            <a:off x="5127116" y="1"/>
            <a:ext cx="7064885" cy="570762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47784C26-D744-49A5-8D32-5B74D0A072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569F5806-DD94-469A-B960-E2BAFF5A8679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B6152031-7711-40CF-997B-35EC94AF9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85F4B323-0107-4B9E-8CB2-D3ECA470F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0B110526-1086-417B-8469-AD8C0A67C5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202" y="830901"/>
            <a:ext cx="3739535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127526908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1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93319994"/>
      </p:ext>
    </p:extLst>
  </p:cSld>
  <p:clrMapOvr>
    <a:masterClrMapping/>
  </p:clrMapOvr>
  <p:transition spd="slow">
    <p:wip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1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5580591"/>
      </p:ext>
    </p:extLst>
  </p:cSld>
  <p:clrMapOvr>
    <a:masterClrMapping/>
  </p:clrMapOvr>
  <p:transition spd="slow">
    <p:wip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3851E3C-79B5-44A5-8B0A-C3C78ED309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SII Meeting March 2022 | Idea-to-Market | Global Marketing &amp; Sales</a:t>
            </a:r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AED8AFA-0AB9-4F8F-BE49-63606EEDE219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F5F99063-69AF-4779-AB72-FC86018E03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1869" y="1520186"/>
            <a:ext cx="3716867" cy="4217911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008C4F"/>
              </a:buClr>
              <a:buFont typeface="Wingdings" panose="05000000000000000000" pitchFamily="2" charset="2"/>
              <a:buNone/>
              <a:defRPr sz="1200"/>
            </a:lvl1pPr>
            <a:lvl2pPr marL="685766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2pPr>
            <a:lvl3pPr marL="1142942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400"/>
            </a:lvl3pPr>
            <a:lvl4pPr marL="1600120" indent="-228589">
              <a:buClr>
                <a:srgbClr val="008C4F"/>
              </a:buClr>
              <a:buFont typeface="Wingdings" panose="05000000000000000000" pitchFamily="2" charset="2"/>
              <a:buChar char="§"/>
              <a:defRPr sz="1000"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E2A87AB1-48F5-49F0-B9D2-0213BF82D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202" y="450001"/>
            <a:ext cx="3654583" cy="4080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500" b="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A7BE4613-37DF-4A7F-B00A-33FF8EEF78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202" y="830901"/>
            <a:ext cx="3739535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464164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6AE550A-4244-478E-AE30-4D5EB0AD9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7F3CE6-ACBC-4555-8BDD-53D9CAD6AB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8B504E4-C4BF-46DC-829D-A43BFEB556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9090815"/>
      </p:ext>
    </p:extLst>
  </p:cSld>
  <p:clrMapOvr>
    <a:masterClrMapping/>
  </p:clrMapOvr>
  <p:transition spd="slow">
    <p:wip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6AE550A-4244-478E-AE30-4D5EB0AD9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5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7F3CE6-ACBC-4555-8BDD-53D9CAD6AB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1"/>
            <a:ext cx="5580063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8B504E4-C4BF-46DC-829D-A43BFEB556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1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1051538"/>
      </p:ext>
    </p:extLst>
  </p:cSld>
  <p:clrMapOvr>
    <a:masterClrMapping/>
  </p:clrMapOvr>
  <p:transition spd="slow">
    <p:wip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Titel Hinzufüg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643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860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80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14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98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216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grüne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4387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504000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382883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5"/>
          </p:nvPr>
        </p:nvSpPr>
        <p:spPr>
          <a:xfrm>
            <a:off x="6261766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6"/>
          </p:nvPr>
        </p:nvSpPr>
        <p:spPr>
          <a:xfrm>
            <a:off x="9140648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04000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82883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3" name="Bildplatzhalter 5"/>
          <p:cNvSpPr>
            <a:spLocks noGrp="1"/>
          </p:cNvSpPr>
          <p:nvPr>
            <p:ph type="pic" sz="quarter" idx="19"/>
          </p:nvPr>
        </p:nvSpPr>
        <p:spPr>
          <a:xfrm>
            <a:off x="6261766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20"/>
          </p:nvPr>
        </p:nvSpPr>
        <p:spPr>
          <a:xfrm>
            <a:off x="9140648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91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layout_4_in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50852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61CDFBF6-BA2B-4D24-BC16-67D365551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812B408-5047-4F44-9827-DDD8A87588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533257F-5011-408B-8484-2471C0792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D6263C5-027A-455A-AFD2-33A116A363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4139925"/>
      </p:ext>
    </p:extLst>
  </p:cSld>
  <p:clrMapOvr>
    <a:masterClrMapping/>
  </p:clrMapOvr>
  <p:transition spd="slow">
    <p:wip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60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658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layouts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026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layouts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008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8119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E9C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06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_Lauf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8827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_Lauf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116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_Icon_Lauf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96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_Vollflächig_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5AD6811-CEFC-4941-846B-5AA2217BEB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0269DCD-0B77-4466-9843-15BD2EDC1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199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96AC8B4E-2F48-4F16-86DF-154F7E9495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366B23C-F3BF-4211-858B-9480406E6F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56488463"/>
      </p:ext>
    </p:extLst>
  </p:cSld>
  <p:clrMapOvr>
    <a:masterClrMapping/>
  </p:clrMapOvr>
  <p:transition spd="slow">
    <p:wip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halt_Bil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0730729-371B-49CF-95E5-5547541C16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600FAB-1FF2-4271-9940-1DEDB4EB3C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0EF63F6-8B55-4D0D-81CC-A9194C6F26E7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1333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061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Titel Hinzufüg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926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_Titel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333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und_Text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6AE550A-4244-478E-AE30-4D5EB0AD9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7F3CE6-ACBC-4555-8BDD-53D9CAD6AB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29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und_Text_Icon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61CDFBF6-BA2B-4D24-BC16-67D365551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812B408-5047-4F44-9827-DDD8A87588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533257F-5011-408B-8484-2471C0792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72868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4_innen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96AC8B4E-2F48-4F16-86DF-154F7E9495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920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2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EB3ABC5-A323-4926-941D-A8E94AA612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9983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4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EBC40457-68DC-4A9B-9603-8D76361D6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882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6_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1C481410-931B-4DDD-A847-DAFF804092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5388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EB3ABC5-A323-4926-941D-A8E94AA612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4E4B4B7-90CD-462C-8FDD-0B60EEACD0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4003688"/>
      </p:ext>
    </p:extLst>
  </p:cSld>
  <p:clrMapOvr>
    <a:masterClrMapping/>
  </p:clrMapOvr>
  <p:transition spd="slow">
    <p:wip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halt_Bil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5D186DE-A68C-4B31-B653-27D8BD2BB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621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FDD1744-FBE4-4AB6-ACDD-CD93DF914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02696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_Titel_Laufsteg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7C8A2BD3-5D4E-4F8A-9CE8-EE94D58DB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7045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" name="Grafik 197">
            <a:extLst>
              <a:ext uri="{FF2B5EF4-FFF2-40B4-BE49-F238E27FC236}">
                <a16:creationId xmlns:a16="http://schemas.microsoft.com/office/drawing/2014/main" id="{5714FD2A-0814-4CE1-87F1-B00A8F613A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pic>
        <p:nvPicPr>
          <p:cNvPr id="199" name="Grafik 19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4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104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417" y="1892300"/>
            <a:ext cx="7195607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</a:t>
            </a:r>
            <a:r>
              <a:rPr lang="en-US" noProof="0"/>
              <a:t> </a:t>
            </a:r>
            <a:fld id="{165E2D8B-FD9B-4A9E-8AEA-D09FA928FD2A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3875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0" y="1892300"/>
            <a:ext cx="7199200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</a:t>
            </a:r>
            <a:r>
              <a:rPr lang="en-US" noProof="0"/>
              <a:t> </a:t>
            </a:r>
            <a:fld id="{165E2D8B-FD9B-4A9E-8AEA-D09FA928FD2A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8108688" y="1892300"/>
            <a:ext cx="3456000" cy="4032000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19507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</a:t>
            </a:r>
            <a:r>
              <a:rPr lang="en-US" noProof="0"/>
              <a:t> </a:t>
            </a:r>
            <a:fld id="{165E2D8B-FD9B-4A9E-8AEA-D09FA928FD2A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7291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491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0780695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EBC40457-68DC-4A9B-9603-8D76361D6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8953AEC1-E35F-4620-A718-06555AD380F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54958383"/>
      </p:ext>
    </p:extLst>
  </p:cSld>
  <p:clrMapOvr>
    <a:masterClrMapping/>
  </p:clrMapOvr>
  <p:transition spd="slow">
    <p:wip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5AD6811-CEFC-4941-846B-5AA2217BEB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0269DCD-0B77-4466-9843-15BD2EDC1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Dekra">
            <a:extLst>
              <a:ext uri="{FF2B5EF4-FFF2-40B4-BE49-F238E27FC236}">
                <a16:creationId xmlns:a16="http://schemas.microsoft.com/office/drawing/2014/main" id="{764122F8-766A-42DE-9536-7663201637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1190956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1C481410-931B-4DDD-A847-DAFF804092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394025D-AFEC-4283-878C-FE6CCE37B30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6341410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5D186DE-A68C-4B31-B653-27D8BD2BB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A7A7D9C-2656-4F0A-AADF-7EE57BF35BF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02496121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FDD1744-FBE4-4AB6-ACDD-CD93DF914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2545785-4B5E-4519-8CFF-F62BB63FC56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64325510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B15B62-45F8-48B9-9D22-702E3DE038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533990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7C8A2BD3-5D4E-4F8A-9CE8-EE94D58DB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>
              <a:solidFill>
                <a:srgbClr val="555555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F7DD8F1-BDDA-4817-8EB1-10C1D3222F0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0686497"/>
      </p:ext>
    </p:extLst>
  </p:cSld>
  <p:clrMapOvr>
    <a:masterClrMapping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" name="Grafik 197">
            <a:extLst>
              <a:ext uri="{FF2B5EF4-FFF2-40B4-BE49-F238E27FC236}">
                <a16:creationId xmlns:a16="http://schemas.microsoft.com/office/drawing/2014/main" id="{5714FD2A-0814-4CE1-87F1-B00A8F613A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97" name="Grafik 196">
            <a:extLst>
              <a:ext uri="{FF2B5EF4-FFF2-40B4-BE49-F238E27FC236}">
                <a16:creationId xmlns:a16="http://schemas.microsoft.com/office/drawing/2014/main" id="{8C6EAAFB-0693-4028-94F6-1C66CFA007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9144154"/>
      </p:ext>
    </p:extLst>
  </p:cSld>
  <p:clrMapOvr>
    <a:masterClrMapping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33111063"/>
      </p:ext>
    </p:extLst>
  </p:cSld>
  <p:clrMapOvr>
    <a:masterClrMapping/>
  </p:clrMapOvr>
  <p:transition spd="slow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lobal Electric Vehicle Training Proposal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039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381" y="5122927"/>
            <a:ext cx="3456384" cy="731435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1" name="Foliennummernplatzhalter 3"/>
          <p:cNvSpPr txBox="1">
            <a:spLocks/>
          </p:cNvSpPr>
          <p:nvPr userDrawn="1"/>
        </p:nvSpPr>
        <p:spPr bwMode="gray">
          <a:xfrm>
            <a:off x="624416" y="6612843"/>
            <a:ext cx="589840" cy="14400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/>
              <a:t>Slide </a:t>
            </a:r>
            <a:fld id="{165E2D8B-FD9B-4A9E-8AEA-D09FA928FD2A}" type="slidenum">
              <a:rPr lang="en-US" sz="800" b="0" smtClean="0"/>
              <a:pPr/>
              <a:t>‹#›</a:t>
            </a:fld>
            <a:endParaRPr lang="en-US" sz="800" b="0"/>
          </a:p>
        </p:txBody>
      </p:sp>
    </p:spTree>
    <p:extLst>
      <p:ext uri="{BB962C8B-B14F-4D97-AF65-F5344CB8AC3E}">
        <p14:creationId xmlns:p14="http://schemas.microsoft.com/office/powerpoint/2010/main" val="1383674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Titel Hinzufüg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930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26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468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9479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318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E72B48E-5DFB-49B4-9AEB-B59EF19C6A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384583"/>
      </p:ext>
    </p:extLst>
  </p:cSld>
  <p:clrMapOvr>
    <a:masterClrMapping/>
  </p:clrMapOvr>
  <p:transition spd="slow">
    <p:wip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197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grünes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4016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504000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382883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5"/>
          </p:nvPr>
        </p:nvSpPr>
        <p:spPr>
          <a:xfrm>
            <a:off x="6261766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6"/>
          </p:nvPr>
        </p:nvSpPr>
        <p:spPr>
          <a:xfrm>
            <a:off x="9140648" y="1252361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7"/>
          </p:nvPr>
        </p:nvSpPr>
        <p:spPr>
          <a:xfrm>
            <a:off x="504000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8"/>
          </p:nvPr>
        </p:nvSpPr>
        <p:spPr>
          <a:xfrm>
            <a:off x="3382883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3" name="Bildplatzhalter 5"/>
          <p:cNvSpPr>
            <a:spLocks noGrp="1"/>
          </p:cNvSpPr>
          <p:nvPr>
            <p:ph type="pic" sz="quarter" idx="19"/>
          </p:nvPr>
        </p:nvSpPr>
        <p:spPr>
          <a:xfrm>
            <a:off x="6261766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20"/>
          </p:nvPr>
        </p:nvSpPr>
        <p:spPr>
          <a:xfrm>
            <a:off x="9140648" y="3870000"/>
            <a:ext cx="2520000" cy="144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703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layout_4_in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3576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401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250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layouts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4878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layouts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022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481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9FAE9C"/>
            </a:solidFill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7094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2738954"/>
      </p:ext>
    </p:extLst>
  </p:cSld>
  <p:clrMapOvr>
    <a:masterClrMapping/>
  </p:clrMapOvr>
  <p:transition spd="slow">
    <p:wip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_Titel_Lauf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220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_Lauf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935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und_Text_Icon_Lauf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273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_Vollflächig_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5AD6811-CEFC-4941-846B-5AA2217BEB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0269DCD-0B77-4466-9843-15BD2EDC1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6211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halt_Bil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0730729-371B-49CF-95E5-5547541C16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600FAB-1FF2-4271-9940-1DEDB4EB3C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0EF63F6-8B55-4D0D-81CC-A9194C6F26E7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6962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3289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/>
              <a:t>Titel Hinzufüg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545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_Titel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1526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und_Text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6AE550A-4244-478E-AE30-4D5EB0AD9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7F3CE6-ACBC-4555-8BDD-53D9CAD6AB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414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und_Text_Icon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61CDFBF6-BA2B-4D24-BC16-67D365551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812B408-5047-4F44-9827-DDD8A87588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533257F-5011-408B-8484-2471C0792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00639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3991536"/>
      </p:ext>
    </p:extLst>
  </p:cSld>
  <p:clrMapOvr>
    <a:masterClrMapping/>
  </p:clrMapOvr>
  <p:transition spd="slow">
    <p:wip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4_innen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96AC8B4E-2F48-4F16-86DF-154F7E9495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258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2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EB3ABC5-A323-4926-941D-A8E94AA612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529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4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EBC40457-68DC-4A9B-9603-8D76361D6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086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layout_6_weiß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1C481410-931B-4DDD-A847-DAFF804092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918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halt_Bil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5D186DE-A68C-4B31-B653-27D8BD2BB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0665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FDD1744-FBE4-4AB6-ACDD-CD93DF914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74913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_Titel_Laufsteg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7C8A2BD3-5D4E-4F8A-9CE8-EE94D58DB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3520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" name="Grafik 197">
            <a:extLst>
              <a:ext uri="{FF2B5EF4-FFF2-40B4-BE49-F238E27FC236}">
                <a16:creationId xmlns:a16="http://schemas.microsoft.com/office/drawing/2014/main" id="{5714FD2A-0814-4CE1-87F1-B00A8F613A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pic>
        <p:nvPicPr>
          <p:cNvPr id="199" name="Grafik 198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0179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AE33547-B1E5-4F5B-85DF-8D15D588BC1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565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417" y="1892300"/>
            <a:ext cx="7195607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</a:t>
            </a:r>
            <a:r>
              <a:rPr lang="en-US" noProof="0"/>
              <a:t> </a:t>
            </a:r>
            <a:fld id="{165E2D8B-FD9B-4A9E-8AEA-D09FA928FD2A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8989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3589728"/>
      </p:ext>
    </p:extLst>
  </p:cSld>
  <p:clrMapOvr>
    <a:masterClrMapping/>
  </p:clrMapOvr>
  <p:transition spd="slow">
    <p:wip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0" y="1892300"/>
            <a:ext cx="7199200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</a:t>
            </a:r>
            <a:r>
              <a:rPr lang="en-US" noProof="0"/>
              <a:t> </a:t>
            </a:r>
            <a:fld id="{165E2D8B-FD9B-4A9E-8AEA-D09FA928FD2A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8108688" y="1892300"/>
            <a:ext cx="3456000" cy="4032000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anchor="ctr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651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/>
              <a:t>Slide</a:t>
            </a:r>
            <a:r>
              <a:rPr lang="en-US" noProof="0"/>
              <a:t> </a:t>
            </a:r>
            <a:fld id="{165E2D8B-FD9B-4A9E-8AEA-D09FA928FD2A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7900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37519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6508" r="21639"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>
                <a:solidFill>
                  <a:srgbClr val="555555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‹#›</a:t>
            </a:fld>
            <a:endParaRPr lang="de-DE">
              <a:solidFill>
                <a:srgbClr val="555555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05233703"/>
      </p:ext>
    </p:extLst>
  </p:cSld>
  <p:clrMapOvr>
    <a:masterClrMapping/>
  </p:clrMapOvr>
  <p:transition spd="slow">
    <p:wip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01">
  <p:cSld name="Empty Slide 01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915906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with title 01">
  <p:cSld name="Empty Slide with title 01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23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3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3"/>
          <p:cNvSpPr txBox="1">
            <a:spLocks noGrp="1"/>
          </p:cNvSpPr>
          <p:nvPr>
            <p:ph type="body" idx="1"/>
          </p:nvPr>
        </p:nvSpPr>
        <p:spPr>
          <a:xfrm>
            <a:off x="431799" y="1444119"/>
            <a:ext cx="5306391" cy="4333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23"/>
          <p:cNvSpPr>
            <a:spLocks noGrp="1"/>
          </p:cNvSpPr>
          <p:nvPr>
            <p:ph type="pic" idx="2"/>
          </p:nvPr>
        </p:nvSpPr>
        <p:spPr>
          <a:xfrm>
            <a:off x="6096000" y="1444119"/>
            <a:ext cx="5664200" cy="4333829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15509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01">
  <p:cSld name="Title Slide 01">
    <p:bg>
      <p:bgPr>
        <a:solidFill>
          <a:srgbClr val="000000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oogle Shape;41;p24"/>
          <p:cNvGrpSpPr/>
          <p:nvPr/>
        </p:nvGrpSpPr>
        <p:grpSpPr>
          <a:xfrm>
            <a:off x="10608501" y="306003"/>
            <a:ext cx="1224891" cy="338688"/>
            <a:chOff x="11344274" y="872716"/>
            <a:chExt cx="12546261" cy="3469097"/>
          </a:xfrm>
        </p:grpSpPr>
        <p:sp>
          <p:nvSpPr>
            <p:cNvPr id="42" name="Google Shape;42;p24"/>
            <p:cNvSpPr/>
            <p:nvPr/>
          </p:nvSpPr>
          <p:spPr>
            <a:xfrm>
              <a:off x="15286700" y="1447905"/>
              <a:ext cx="1626700" cy="2129989"/>
            </a:xfrm>
            <a:custGeom>
              <a:avLst/>
              <a:gdLst/>
              <a:ahLst/>
              <a:cxnLst/>
              <a:rect l="l" t="t" r="r" b="b"/>
              <a:pathLst>
                <a:path w="1626700" h="2129989" extrusionOk="0">
                  <a:moveTo>
                    <a:pt x="416412" y="359491"/>
                  </a:moveTo>
                  <a:cubicBezTo>
                    <a:pt x="416412" y="359491"/>
                    <a:pt x="416412" y="359491"/>
                    <a:pt x="416412" y="1767500"/>
                  </a:cubicBezTo>
                  <a:cubicBezTo>
                    <a:pt x="416412" y="1767500"/>
                    <a:pt x="416412" y="1767500"/>
                    <a:pt x="487221" y="1767500"/>
                  </a:cubicBezTo>
                  <a:cubicBezTo>
                    <a:pt x="997046" y="1767500"/>
                    <a:pt x="1195311" y="1484483"/>
                    <a:pt x="1195311" y="1067033"/>
                  </a:cubicBezTo>
                  <a:cubicBezTo>
                    <a:pt x="1195311" y="600055"/>
                    <a:pt x="961641" y="359491"/>
                    <a:pt x="487221" y="359491"/>
                  </a:cubicBezTo>
                  <a:cubicBezTo>
                    <a:pt x="487221" y="359491"/>
                    <a:pt x="487221" y="359491"/>
                    <a:pt x="416412" y="359491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594100" y="0"/>
                  </a:cubicBezTo>
                  <a:cubicBezTo>
                    <a:pt x="1216490" y="0"/>
                    <a:pt x="1626700" y="459964"/>
                    <a:pt x="1626700" y="1068533"/>
                  </a:cubicBezTo>
                  <a:cubicBezTo>
                    <a:pt x="1626700" y="1670025"/>
                    <a:pt x="1202344" y="2129989"/>
                    <a:pt x="594100" y="2129989"/>
                  </a:cubicBezTo>
                  <a:cubicBezTo>
                    <a:pt x="594100" y="2129989"/>
                    <a:pt x="594100" y="2129989"/>
                    <a:pt x="0" y="2129989"/>
                  </a:cubicBezTo>
                  <a:cubicBezTo>
                    <a:pt x="0" y="2129956"/>
                    <a:pt x="0" y="2121555"/>
                    <a:pt x="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3" name="Google Shape;43;p24"/>
            <p:cNvSpPr/>
            <p:nvPr/>
          </p:nvSpPr>
          <p:spPr>
            <a:xfrm>
              <a:off x="17177028" y="1447905"/>
              <a:ext cx="1102441" cy="2129989"/>
            </a:xfrm>
            <a:custGeom>
              <a:avLst/>
              <a:gdLst/>
              <a:ahLst/>
              <a:cxnLst/>
              <a:rect l="l" t="t" r="r" b="b"/>
              <a:pathLst>
                <a:path w="368" h="711" extrusionOk="0">
                  <a:moveTo>
                    <a:pt x="368" y="120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368" y="711"/>
                  </a:lnTo>
                  <a:lnTo>
                    <a:pt x="368" y="590"/>
                  </a:lnTo>
                  <a:lnTo>
                    <a:pt x="139" y="590"/>
                  </a:lnTo>
                  <a:lnTo>
                    <a:pt x="139" y="399"/>
                  </a:lnTo>
                  <a:lnTo>
                    <a:pt x="359" y="399"/>
                  </a:lnTo>
                  <a:lnTo>
                    <a:pt x="359" y="276"/>
                  </a:lnTo>
                  <a:lnTo>
                    <a:pt x="139" y="276"/>
                  </a:lnTo>
                  <a:lnTo>
                    <a:pt x="139" y="120"/>
                  </a:lnTo>
                  <a:lnTo>
                    <a:pt x="368" y="120"/>
                  </a:lnTo>
                  <a:lnTo>
                    <a:pt x="368" y="12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4" name="Google Shape;44;p24"/>
            <p:cNvSpPr/>
            <p:nvPr/>
          </p:nvSpPr>
          <p:spPr>
            <a:xfrm>
              <a:off x="21925313" y="1390984"/>
              <a:ext cx="1965222" cy="2186908"/>
            </a:xfrm>
            <a:custGeom>
              <a:avLst/>
              <a:gdLst/>
              <a:ahLst/>
              <a:cxnLst/>
              <a:rect l="l" t="t" r="r" b="b"/>
              <a:pathLst>
                <a:path w="1965222" h="2186908" extrusionOk="0">
                  <a:moveTo>
                    <a:pt x="988602" y="629111"/>
                  </a:moveTo>
                  <a:lnTo>
                    <a:pt x="733962" y="1402018"/>
                  </a:lnTo>
                  <a:lnTo>
                    <a:pt x="1237250" y="1402018"/>
                  </a:lnTo>
                  <a:lnTo>
                    <a:pt x="997590" y="629111"/>
                  </a:lnTo>
                  <a:close/>
                  <a:moveTo>
                    <a:pt x="996748" y="0"/>
                  </a:moveTo>
                  <a:cubicBezTo>
                    <a:pt x="1074510" y="0"/>
                    <a:pt x="1159338" y="49542"/>
                    <a:pt x="1187616" y="134470"/>
                  </a:cubicBezTo>
                  <a:cubicBezTo>
                    <a:pt x="1965222" y="2186908"/>
                    <a:pt x="1965222" y="2186908"/>
                    <a:pt x="1965222" y="2186908"/>
                  </a:cubicBezTo>
                  <a:cubicBezTo>
                    <a:pt x="1519866" y="2186908"/>
                    <a:pt x="1519866" y="2186908"/>
                    <a:pt x="1519866" y="2186908"/>
                  </a:cubicBezTo>
                  <a:cubicBezTo>
                    <a:pt x="1357274" y="1741034"/>
                    <a:pt x="1357274" y="1741034"/>
                    <a:pt x="1357274" y="1741034"/>
                  </a:cubicBezTo>
                  <a:cubicBezTo>
                    <a:pt x="615016" y="1741034"/>
                    <a:pt x="615016" y="1741034"/>
                    <a:pt x="615016" y="1741034"/>
                  </a:cubicBezTo>
                  <a:cubicBezTo>
                    <a:pt x="438286" y="2186908"/>
                    <a:pt x="438286" y="2186908"/>
                    <a:pt x="438286" y="2186908"/>
                  </a:cubicBezTo>
                  <a:cubicBezTo>
                    <a:pt x="0" y="2186908"/>
                    <a:pt x="0" y="2186908"/>
                    <a:pt x="0" y="2186908"/>
                  </a:cubicBezTo>
                  <a:cubicBezTo>
                    <a:pt x="798812" y="134470"/>
                    <a:pt x="798812" y="134470"/>
                    <a:pt x="798812" y="134470"/>
                  </a:cubicBezTo>
                  <a:cubicBezTo>
                    <a:pt x="834158" y="49542"/>
                    <a:pt x="911920" y="0"/>
                    <a:pt x="996748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5" name="Google Shape;45;p24"/>
            <p:cNvSpPr/>
            <p:nvPr/>
          </p:nvSpPr>
          <p:spPr>
            <a:xfrm>
              <a:off x="18641956" y="1447905"/>
              <a:ext cx="1641679" cy="2129989"/>
            </a:xfrm>
            <a:custGeom>
              <a:avLst/>
              <a:gdLst/>
              <a:ahLst/>
              <a:cxnLst/>
              <a:rect l="l" t="t" r="r" b="b"/>
              <a:pathLst>
                <a:path w="548" h="711" extrusionOk="0">
                  <a:moveTo>
                    <a:pt x="141" y="300"/>
                  </a:moveTo>
                  <a:lnTo>
                    <a:pt x="139" y="300"/>
                  </a:lnTo>
                  <a:lnTo>
                    <a:pt x="139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139" y="711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368" y="711"/>
                  </a:lnTo>
                  <a:lnTo>
                    <a:pt x="548" y="711"/>
                  </a:lnTo>
                  <a:lnTo>
                    <a:pt x="262" y="328"/>
                  </a:lnTo>
                  <a:lnTo>
                    <a:pt x="531" y="0"/>
                  </a:lnTo>
                  <a:lnTo>
                    <a:pt x="361" y="0"/>
                  </a:lnTo>
                  <a:lnTo>
                    <a:pt x="141" y="300"/>
                  </a:lnTo>
                  <a:lnTo>
                    <a:pt x="141" y="30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6" name="Google Shape;46;p24"/>
            <p:cNvSpPr/>
            <p:nvPr/>
          </p:nvSpPr>
          <p:spPr>
            <a:xfrm>
              <a:off x="20481355" y="1447905"/>
              <a:ext cx="1443958" cy="2129989"/>
            </a:xfrm>
            <a:custGeom>
              <a:avLst/>
              <a:gdLst/>
              <a:ahLst/>
              <a:cxnLst/>
              <a:rect l="l" t="t" r="r" b="b"/>
              <a:pathLst>
                <a:path w="1443958" h="2129989" extrusionOk="0">
                  <a:moveTo>
                    <a:pt x="416412" y="338520"/>
                  </a:moveTo>
                  <a:cubicBezTo>
                    <a:pt x="416412" y="982610"/>
                    <a:pt x="416412" y="982610"/>
                    <a:pt x="416412" y="982610"/>
                  </a:cubicBezTo>
                  <a:cubicBezTo>
                    <a:pt x="636498" y="982610"/>
                    <a:pt x="636498" y="982610"/>
                    <a:pt x="636498" y="982610"/>
                  </a:cubicBezTo>
                  <a:cubicBezTo>
                    <a:pt x="799788" y="982610"/>
                    <a:pt x="934680" y="833974"/>
                    <a:pt x="934680" y="657026"/>
                  </a:cubicBezTo>
                  <a:cubicBezTo>
                    <a:pt x="934680" y="480078"/>
                    <a:pt x="799788" y="338520"/>
                    <a:pt x="636498" y="338520"/>
                  </a:cubicBezTo>
                  <a:cubicBezTo>
                    <a:pt x="416412" y="338520"/>
                    <a:pt x="416412" y="338520"/>
                    <a:pt x="416412" y="338520"/>
                  </a:cubicBezTo>
                  <a:close/>
                  <a:moveTo>
                    <a:pt x="0" y="0"/>
                  </a:moveTo>
                  <a:cubicBezTo>
                    <a:pt x="714900" y="0"/>
                    <a:pt x="714900" y="0"/>
                    <a:pt x="714900" y="0"/>
                  </a:cubicBezTo>
                  <a:cubicBezTo>
                    <a:pt x="1068812" y="0"/>
                    <a:pt x="1351942" y="283055"/>
                    <a:pt x="1351942" y="636874"/>
                  </a:cubicBezTo>
                  <a:cubicBezTo>
                    <a:pt x="1351942" y="941158"/>
                    <a:pt x="1139594" y="1195908"/>
                    <a:pt x="856466" y="1259595"/>
                  </a:cubicBezTo>
                  <a:cubicBezTo>
                    <a:pt x="1443958" y="2129989"/>
                    <a:pt x="1443958" y="2129989"/>
                    <a:pt x="1443958" y="2129989"/>
                  </a:cubicBezTo>
                  <a:cubicBezTo>
                    <a:pt x="941404" y="2129989"/>
                    <a:pt x="941404" y="2129989"/>
                    <a:pt x="941404" y="2129989"/>
                  </a:cubicBezTo>
                  <a:cubicBezTo>
                    <a:pt x="417616" y="1273748"/>
                    <a:pt x="417616" y="1273748"/>
                    <a:pt x="417616" y="1273748"/>
                  </a:cubicBezTo>
                  <a:cubicBezTo>
                    <a:pt x="417616" y="2129989"/>
                    <a:pt x="417616" y="2129989"/>
                    <a:pt x="417616" y="2129989"/>
                  </a:cubicBezTo>
                  <a:cubicBezTo>
                    <a:pt x="0" y="2129989"/>
                    <a:pt x="0" y="2129989"/>
                    <a:pt x="0" y="212998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47" name="Google Shape;47;p24"/>
            <p:cNvSpPr/>
            <p:nvPr/>
          </p:nvSpPr>
          <p:spPr>
            <a:xfrm>
              <a:off x="11344274" y="872716"/>
              <a:ext cx="2747117" cy="3469097"/>
            </a:xfrm>
            <a:custGeom>
              <a:avLst/>
              <a:gdLst/>
              <a:ahLst/>
              <a:cxnLst/>
              <a:rect l="l" t="t" r="r" b="b"/>
              <a:pathLst>
                <a:path w="388" h="490" extrusionOk="0">
                  <a:moveTo>
                    <a:pt x="94" y="4"/>
                  </a:moveTo>
                  <a:cubicBezTo>
                    <a:pt x="349" y="152"/>
                    <a:pt x="349" y="152"/>
                    <a:pt x="349" y="152"/>
                  </a:cubicBezTo>
                  <a:cubicBezTo>
                    <a:pt x="369" y="163"/>
                    <a:pt x="388" y="187"/>
                    <a:pt x="388" y="220"/>
                  </a:cubicBezTo>
                  <a:cubicBezTo>
                    <a:pt x="388" y="252"/>
                    <a:pt x="369" y="276"/>
                    <a:pt x="349" y="288"/>
                  </a:cubicBezTo>
                  <a:cubicBezTo>
                    <a:pt x="0" y="490"/>
                    <a:pt x="0" y="490"/>
                    <a:pt x="0" y="49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310" y="220"/>
                    <a:pt x="310" y="220"/>
                    <a:pt x="310" y="220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259"/>
                    <a:pt x="143" y="259"/>
                    <a:pt x="143" y="259"/>
                  </a:cubicBezTo>
                  <a:cubicBezTo>
                    <a:pt x="65" y="305"/>
                    <a:pt x="65" y="305"/>
                    <a:pt x="65" y="305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14"/>
                    <a:pt x="69" y="8"/>
                    <a:pt x="75" y="4"/>
                  </a:cubicBezTo>
                  <a:cubicBezTo>
                    <a:pt x="80" y="1"/>
                    <a:pt x="88" y="0"/>
                    <a:pt x="94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sp>
        <p:nvSpPr>
          <p:cNvPr id="48" name="Google Shape;48;p24"/>
          <p:cNvSpPr txBox="1">
            <a:spLocks noGrp="1"/>
          </p:cNvSpPr>
          <p:nvPr>
            <p:ph type="body" idx="1"/>
          </p:nvPr>
        </p:nvSpPr>
        <p:spPr>
          <a:xfrm>
            <a:off x="3408148" y="5829267"/>
            <a:ext cx="5375705" cy="332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2000"/>
              <a:buNone/>
              <a:defRPr sz="2667" b="1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19936" algn="l">
              <a:spcBef>
                <a:spcPts val="800"/>
              </a:spcBef>
              <a:spcAft>
                <a:spcPts val="0"/>
              </a:spcAft>
              <a:buSzPts val="1360"/>
              <a:buChar char="•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36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440256" algn="l">
              <a:spcBef>
                <a:spcPts val="400"/>
              </a:spcBef>
              <a:spcAft>
                <a:spcPts val="0"/>
              </a:spcAft>
              <a:buSzPts val="1600"/>
              <a:buChar char="−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pic>
        <p:nvPicPr>
          <p:cNvPr id="49" name="Google Shape;49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646831" y="3261000"/>
            <a:ext cx="4898339" cy="3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50" name="Google Shape;50;p24"/>
          <p:cNvSpPr/>
          <p:nvPr/>
        </p:nvSpPr>
        <p:spPr>
          <a:xfrm>
            <a:off x="1" y="6500192"/>
            <a:ext cx="530087" cy="357808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59029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02">
  <p:cSld name="Title slide 02">
    <p:bg>
      <p:bgPr>
        <a:solidFill>
          <a:schemeClr val="accent1"/>
        </a:solidFill>
        <a:effectLst/>
      </p:bgPr>
    </p:bg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oogle Shape;52;p25"/>
          <p:cNvGrpSpPr/>
          <p:nvPr/>
        </p:nvGrpSpPr>
        <p:grpSpPr>
          <a:xfrm>
            <a:off x="10608501" y="306003"/>
            <a:ext cx="1224891" cy="338688"/>
            <a:chOff x="11344274" y="872716"/>
            <a:chExt cx="12546261" cy="3469097"/>
          </a:xfrm>
        </p:grpSpPr>
        <p:sp>
          <p:nvSpPr>
            <p:cNvPr id="53" name="Google Shape;53;p25"/>
            <p:cNvSpPr/>
            <p:nvPr/>
          </p:nvSpPr>
          <p:spPr>
            <a:xfrm>
              <a:off x="15286700" y="1447905"/>
              <a:ext cx="1626700" cy="2129989"/>
            </a:xfrm>
            <a:custGeom>
              <a:avLst/>
              <a:gdLst/>
              <a:ahLst/>
              <a:cxnLst/>
              <a:rect l="l" t="t" r="r" b="b"/>
              <a:pathLst>
                <a:path w="1626700" h="2129989" extrusionOk="0">
                  <a:moveTo>
                    <a:pt x="416412" y="359491"/>
                  </a:moveTo>
                  <a:cubicBezTo>
                    <a:pt x="416412" y="359491"/>
                    <a:pt x="416412" y="359491"/>
                    <a:pt x="416412" y="1767500"/>
                  </a:cubicBezTo>
                  <a:cubicBezTo>
                    <a:pt x="416412" y="1767500"/>
                    <a:pt x="416412" y="1767500"/>
                    <a:pt x="487221" y="1767500"/>
                  </a:cubicBezTo>
                  <a:cubicBezTo>
                    <a:pt x="997046" y="1767500"/>
                    <a:pt x="1195311" y="1484483"/>
                    <a:pt x="1195311" y="1067033"/>
                  </a:cubicBezTo>
                  <a:cubicBezTo>
                    <a:pt x="1195311" y="600055"/>
                    <a:pt x="961641" y="359491"/>
                    <a:pt x="487221" y="359491"/>
                  </a:cubicBezTo>
                  <a:cubicBezTo>
                    <a:pt x="487221" y="359491"/>
                    <a:pt x="487221" y="359491"/>
                    <a:pt x="416412" y="359491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594100" y="0"/>
                  </a:cubicBezTo>
                  <a:cubicBezTo>
                    <a:pt x="1216490" y="0"/>
                    <a:pt x="1626700" y="459964"/>
                    <a:pt x="1626700" y="1068533"/>
                  </a:cubicBezTo>
                  <a:cubicBezTo>
                    <a:pt x="1626700" y="1670025"/>
                    <a:pt x="1202344" y="2129989"/>
                    <a:pt x="594100" y="2129989"/>
                  </a:cubicBezTo>
                  <a:cubicBezTo>
                    <a:pt x="594100" y="2129989"/>
                    <a:pt x="594100" y="2129989"/>
                    <a:pt x="0" y="2129989"/>
                  </a:cubicBezTo>
                  <a:cubicBezTo>
                    <a:pt x="0" y="2129956"/>
                    <a:pt x="0" y="2121555"/>
                    <a:pt x="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4" name="Google Shape;54;p25"/>
            <p:cNvSpPr/>
            <p:nvPr/>
          </p:nvSpPr>
          <p:spPr>
            <a:xfrm>
              <a:off x="17177028" y="1447905"/>
              <a:ext cx="1102441" cy="2129989"/>
            </a:xfrm>
            <a:custGeom>
              <a:avLst/>
              <a:gdLst/>
              <a:ahLst/>
              <a:cxnLst/>
              <a:rect l="l" t="t" r="r" b="b"/>
              <a:pathLst>
                <a:path w="368" h="711" extrusionOk="0">
                  <a:moveTo>
                    <a:pt x="368" y="120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368" y="711"/>
                  </a:lnTo>
                  <a:lnTo>
                    <a:pt x="368" y="590"/>
                  </a:lnTo>
                  <a:lnTo>
                    <a:pt x="139" y="590"/>
                  </a:lnTo>
                  <a:lnTo>
                    <a:pt x="139" y="399"/>
                  </a:lnTo>
                  <a:lnTo>
                    <a:pt x="359" y="399"/>
                  </a:lnTo>
                  <a:lnTo>
                    <a:pt x="359" y="276"/>
                  </a:lnTo>
                  <a:lnTo>
                    <a:pt x="139" y="276"/>
                  </a:lnTo>
                  <a:lnTo>
                    <a:pt x="139" y="120"/>
                  </a:lnTo>
                  <a:lnTo>
                    <a:pt x="368" y="120"/>
                  </a:lnTo>
                  <a:lnTo>
                    <a:pt x="368" y="12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5" name="Google Shape;55;p25"/>
            <p:cNvSpPr/>
            <p:nvPr/>
          </p:nvSpPr>
          <p:spPr>
            <a:xfrm>
              <a:off x="21925313" y="1390984"/>
              <a:ext cx="1965222" cy="2186908"/>
            </a:xfrm>
            <a:custGeom>
              <a:avLst/>
              <a:gdLst/>
              <a:ahLst/>
              <a:cxnLst/>
              <a:rect l="l" t="t" r="r" b="b"/>
              <a:pathLst>
                <a:path w="1965222" h="2186908" extrusionOk="0">
                  <a:moveTo>
                    <a:pt x="988602" y="629111"/>
                  </a:moveTo>
                  <a:lnTo>
                    <a:pt x="733962" y="1402018"/>
                  </a:lnTo>
                  <a:lnTo>
                    <a:pt x="1237250" y="1402018"/>
                  </a:lnTo>
                  <a:lnTo>
                    <a:pt x="997590" y="629111"/>
                  </a:lnTo>
                  <a:close/>
                  <a:moveTo>
                    <a:pt x="996748" y="0"/>
                  </a:moveTo>
                  <a:cubicBezTo>
                    <a:pt x="1074510" y="0"/>
                    <a:pt x="1159338" y="49542"/>
                    <a:pt x="1187616" y="134470"/>
                  </a:cubicBezTo>
                  <a:cubicBezTo>
                    <a:pt x="1965222" y="2186908"/>
                    <a:pt x="1965222" y="2186908"/>
                    <a:pt x="1965222" y="2186908"/>
                  </a:cubicBezTo>
                  <a:cubicBezTo>
                    <a:pt x="1519866" y="2186908"/>
                    <a:pt x="1519866" y="2186908"/>
                    <a:pt x="1519866" y="2186908"/>
                  </a:cubicBezTo>
                  <a:cubicBezTo>
                    <a:pt x="1357274" y="1741034"/>
                    <a:pt x="1357274" y="1741034"/>
                    <a:pt x="1357274" y="1741034"/>
                  </a:cubicBezTo>
                  <a:cubicBezTo>
                    <a:pt x="615016" y="1741034"/>
                    <a:pt x="615016" y="1741034"/>
                    <a:pt x="615016" y="1741034"/>
                  </a:cubicBezTo>
                  <a:cubicBezTo>
                    <a:pt x="438286" y="2186908"/>
                    <a:pt x="438286" y="2186908"/>
                    <a:pt x="438286" y="2186908"/>
                  </a:cubicBezTo>
                  <a:cubicBezTo>
                    <a:pt x="0" y="2186908"/>
                    <a:pt x="0" y="2186908"/>
                    <a:pt x="0" y="2186908"/>
                  </a:cubicBezTo>
                  <a:cubicBezTo>
                    <a:pt x="798812" y="134470"/>
                    <a:pt x="798812" y="134470"/>
                    <a:pt x="798812" y="134470"/>
                  </a:cubicBezTo>
                  <a:cubicBezTo>
                    <a:pt x="834158" y="49542"/>
                    <a:pt x="911920" y="0"/>
                    <a:pt x="99674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6" name="Google Shape;56;p25"/>
            <p:cNvSpPr/>
            <p:nvPr/>
          </p:nvSpPr>
          <p:spPr>
            <a:xfrm>
              <a:off x="18641956" y="1447905"/>
              <a:ext cx="1641679" cy="2129989"/>
            </a:xfrm>
            <a:custGeom>
              <a:avLst/>
              <a:gdLst/>
              <a:ahLst/>
              <a:cxnLst/>
              <a:rect l="l" t="t" r="r" b="b"/>
              <a:pathLst>
                <a:path w="548" h="711" extrusionOk="0">
                  <a:moveTo>
                    <a:pt x="141" y="300"/>
                  </a:moveTo>
                  <a:lnTo>
                    <a:pt x="139" y="300"/>
                  </a:lnTo>
                  <a:lnTo>
                    <a:pt x="139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139" y="711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368" y="711"/>
                  </a:lnTo>
                  <a:lnTo>
                    <a:pt x="548" y="711"/>
                  </a:lnTo>
                  <a:lnTo>
                    <a:pt x="262" y="328"/>
                  </a:lnTo>
                  <a:lnTo>
                    <a:pt x="531" y="0"/>
                  </a:lnTo>
                  <a:lnTo>
                    <a:pt x="361" y="0"/>
                  </a:lnTo>
                  <a:lnTo>
                    <a:pt x="141" y="300"/>
                  </a:lnTo>
                  <a:lnTo>
                    <a:pt x="141" y="3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7" name="Google Shape;57;p25"/>
            <p:cNvSpPr/>
            <p:nvPr/>
          </p:nvSpPr>
          <p:spPr>
            <a:xfrm>
              <a:off x="20481355" y="1447905"/>
              <a:ext cx="1443958" cy="2129989"/>
            </a:xfrm>
            <a:custGeom>
              <a:avLst/>
              <a:gdLst/>
              <a:ahLst/>
              <a:cxnLst/>
              <a:rect l="l" t="t" r="r" b="b"/>
              <a:pathLst>
                <a:path w="1443958" h="2129989" extrusionOk="0">
                  <a:moveTo>
                    <a:pt x="416412" y="338520"/>
                  </a:moveTo>
                  <a:cubicBezTo>
                    <a:pt x="416412" y="982610"/>
                    <a:pt x="416412" y="982610"/>
                    <a:pt x="416412" y="982610"/>
                  </a:cubicBezTo>
                  <a:cubicBezTo>
                    <a:pt x="636498" y="982610"/>
                    <a:pt x="636498" y="982610"/>
                    <a:pt x="636498" y="982610"/>
                  </a:cubicBezTo>
                  <a:cubicBezTo>
                    <a:pt x="799788" y="982610"/>
                    <a:pt x="934680" y="833974"/>
                    <a:pt x="934680" y="657026"/>
                  </a:cubicBezTo>
                  <a:cubicBezTo>
                    <a:pt x="934680" y="480078"/>
                    <a:pt x="799788" y="338520"/>
                    <a:pt x="636498" y="338520"/>
                  </a:cubicBezTo>
                  <a:cubicBezTo>
                    <a:pt x="416412" y="338520"/>
                    <a:pt x="416412" y="338520"/>
                    <a:pt x="416412" y="338520"/>
                  </a:cubicBezTo>
                  <a:close/>
                  <a:moveTo>
                    <a:pt x="0" y="0"/>
                  </a:moveTo>
                  <a:cubicBezTo>
                    <a:pt x="714900" y="0"/>
                    <a:pt x="714900" y="0"/>
                    <a:pt x="714900" y="0"/>
                  </a:cubicBezTo>
                  <a:cubicBezTo>
                    <a:pt x="1068812" y="0"/>
                    <a:pt x="1351942" y="283055"/>
                    <a:pt x="1351942" y="636874"/>
                  </a:cubicBezTo>
                  <a:cubicBezTo>
                    <a:pt x="1351942" y="941158"/>
                    <a:pt x="1139594" y="1195908"/>
                    <a:pt x="856466" y="1259595"/>
                  </a:cubicBezTo>
                  <a:cubicBezTo>
                    <a:pt x="1443958" y="2129989"/>
                    <a:pt x="1443958" y="2129989"/>
                    <a:pt x="1443958" y="2129989"/>
                  </a:cubicBezTo>
                  <a:cubicBezTo>
                    <a:pt x="941404" y="2129989"/>
                    <a:pt x="941404" y="2129989"/>
                    <a:pt x="941404" y="2129989"/>
                  </a:cubicBezTo>
                  <a:cubicBezTo>
                    <a:pt x="417616" y="1273748"/>
                    <a:pt x="417616" y="1273748"/>
                    <a:pt x="417616" y="1273748"/>
                  </a:cubicBezTo>
                  <a:cubicBezTo>
                    <a:pt x="417616" y="2129989"/>
                    <a:pt x="417616" y="2129989"/>
                    <a:pt x="417616" y="2129989"/>
                  </a:cubicBezTo>
                  <a:cubicBezTo>
                    <a:pt x="0" y="2129989"/>
                    <a:pt x="0" y="2129989"/>
                    <a:pt x="0" y="212998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8" name="Google Shape;58;p25"/>
            <p:cNvSpPr/>
            <p:nvPr/>
          </p:nvSpPr>
          <p:spPr>
            <a:xfrm>
              <a:off x="11344274" y="872716"/>
              <a:ext cx="2747117" cy="3469097"/>
            </a:xfrm>
            <a:custGeom>
              <a:avLst/>
              <a:gdLst/>
              <a:ahLst/>
              <a:cxnLst/>
              <a:rect l="l" t="t" r="r" b="b"/>
              <a:pathLst>
                <a:path w="388" h="490" extrusionOk="0">
                  <a:moveTo>
                    <a:pt x="94" y="4"/>
                  </a:moveTo>
                  <a:cubicBezTo>
                    <a:pt x="349" y="152"/>
                    <a:pt x="349" y="152"/>
                    <a:pt x="349" y="152"/>
                  </a:cubicBezTo>
                  <a:cubicBezTo>
                    <a:pt x="369" y="163"/>
                    <a:pt x="388" y="187"/>
                    <a:pt x="388" y="220"/>
                  </a:cubicBezTo>
                  <a:cubicBezTo>
                    <a:pt x="388" y="252"/>
                    <a:pt x="369" y="276"/>
                    <a:pt x="349" y="288"/>
                  </a:cubicBezTo>
                  <a:cubicBezTo>
                    <a:pt x="0" y="490"/>
                    <a:pt x="0" y="490"/>
                    <a:pt x="0" y="49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310" y="220"/>
                    <a:pt x="310" y="220"/>
                    <a:pt x="310" y="220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259"/>
                    <a:pt x="143" y="259"/>
                    <a:pt x="143" y="259"/>
                  </a:cubicBezTo>
                  <a:cubicBezTo>
                    <a:pt x="65" y="305"/>
                    <a:pt x="65" y="305"/>
                    <a:pt x="65" y="305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14"/>
                    <a:pt x="69" y="8"/>
                    <a:pt x="75" y="4"/>
                  </a:cubicBezTo>
                  <a:cubicBezTo>
                    <a:pt x="80" y="1"/>
                    <a:pt x="88" y="0"/>
                    <a:pt x="94" y="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sp>
        <p:nvSpPr>
          <p:cNvPr id="59" name="Google Shape;59;p25"/>
          <p:cNvSpPr txBox="1">
            <a:spLocks noGrp="1"/>
          </p:cNvSpPr>
          <p:nvPr>
            <p:ph type="body" idx="1"/>
          </p:nvPr>
        </p:nvSpPr>
        <p:spPr>
          <a:xfrm>
            <a:off x="3408148" y="5829267"/>
            <a:ext cx="5375705" cy="332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2000"/>
              <a:buNone/>
              <a:defRPr sz="2667" b="1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19936" algn="l">
              <a:spcBef>
                <a:spcPts val="800"/>
              </a:spcBef>
              <a:spcAft>
                <a:spcPts val="0"/>
              </a:spcAft>
              <a:buSzPts val="1360"/>
              <a:buChar char="•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36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440256" algn="l">
              <a:spcBef>
                <a:spcPts val="400"/>
              </a:spcBef>
              <a:spcAft>
                <a:spcPts val="0"/>
              </a:spcAft>
              <a:buSzPts val="1600"/>
              <a:buChar char="−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pic>
        <p:nvPicPr>
          <p:cNvPr id="60" name="Google Shape;60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646831" y="3261000"/>
            <a:ext cx="4898339" cy="3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25"/>
          <p:cNvSpPr/>
          <p:nvPr/>
        </p:nvSpPr>
        <p:spPr>
          <a:xfrm>
            <a:off x="1" y="6500192"/>
            <a:ext cx="530087" cy="3578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04469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03">
  <p:cSld name="Title slide 03">
    <p:bg>
      <p:bgPr>
        <a:solidFill>
          <a:schemeClr val="accen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26"/>
          <p:cNvGrpSpPr/>
          <p:nvPr/>
        </p:nvGrpSpPr>
        <p:grpSpPr>
          <a:xfrm>
            <a:off x="10608501" y="306003"/>
            <a:ext cx="1224891" cy="338688"/>
            <a:chOff x="11344274" y="872716"/>
            <a:chExt cx="12546261" cy="3469097"/>
          </a:xfrm>
        </p:grpSpPr>
        <p:sp>
          <p:nvSpPr>
            <p:cNvPr id="64" name="Google Shape;64;p26"/>
            <p:cNvSpPr/>
            <p:nvPr/>
          </p:nvSpPr>
          <p:spPr>
            <a:xfrm>
              <a:off x="15286700" y="1447905"/>
              <a:ext cx="1626700" cy="2129989"/>
            </a:xfrm>
            <a:custGeom>
              <a:avLst/>
              <a:gdLst/>
              <a:ahLst/>
              <a:cxnLst/>
              <a:rect l="l" t="t" r="r" b="b"/>
              <a:pathLst>
                <a:path w="1626700" h="2129989" extrusionOk="0">
                  <a:moveTo>
                    <a:pt x="416412" y="359491"/>
                  </a:moveTo>
                  <a:cubicBezTo>
                    <a:pt x="416412" y="359491"/>
                    <a:pt x="416412" y="359491"/>
                    <a:pt x="416412" y="1767500"/>
                  </a:cubicBezTo>
                  <a:cubicBezTo>
                    <a:pt x="416412" y="1767500"/>
                    <a:pt x="416412" y="1767500"/>
                    <a:pt x="487221" y="1767500"/>
                  </a:cubicBezTo>
                  <a:cubicBezTo>
                    <a:pt x="997046" y="1767500"/>
                    <a:pt x="1195311" y="1484483"/>
                    <a:pt x="1195311" y="1067033"/>
                  </a:cubicBezTo>
                  <a:cubicBezTo>
                    <a:pt x="1195311" y="600055"/>
                    <a:pt x="961641" y="359491"/>
                    <a:pt x="487221" y="359491"/>
                  </a:cubicBezTo>
                  <a:cubicBezTo>
                    <a:pt x="487221" y="359491"/>
                    <a:pt x="487221" y="359491"/>
                    <a:pt x="416412" y="359491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594100" y="0"/>
                  </a:cubicBezTo>
                  <a:cubicBezTo>
                    <a:pt x="1216490" y="0"/>
                    <a:pt x="1626700" y="459964"/>
                    <a:pt x="1626700" y="1068533"/>
                  </a:cubicBezTo>
                  <a:cubicBezTo>
                    <a:pt x="1626700" y="1670025"/>
                    <a:pt x="1202344" y="2129989"/>
                    <a:pt x="594100" y="2129989"/>
                  </a:cubicBezTo>
                  <a:cubicBezTo>
                    <a:pt x="594100" y="2129989"/>
                    <a:pt x="594100" y="2129989"/>
                    <a:pt x="0" y="2129989"/>
                  </a:cubicBezTo>
                  <a:cubicBezTo>
                    <a:pt x="0" y="2129956"/>
                    <a:pt x="0" y="2121555"/>
                    <a:pt x="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5" name="Google Shape;65;p26"/>
            <p:cNvSpPr/>
            <p:nvPr/>
          </p:nvSpPr>
          <p:spPr>
            <a:xfrm>
              <a:off x="17177028" y="1447905"/>
              <a:ext cx="1102441" cy="2129989"/>
            </a:xfrm>
            <a:custGeom>
              <a:avLst/>
              <a:gdLst/>
              <a:ahLst/>
              <a:cxnLst/>
              <a:rect l="l" t="t" r="r" b="b"/>
              <a:pathLst>
                <a:path w="368" h="711" extrusionOk="0">
                  <a:moveTo>
                    <a:pt x="368" y="120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368" y="711"/>
                  </a:lnTo>
                  <a:lnTo>
                    <a:pt x="368" y="590"/>
                  </a:lnTo>
                  <a:lnTo>
                    <a:pt x="139" y="590"/>
                  </a:lnTo>
                  <a:lnTo>
                    <a:pt x="139" y="399"/>
                  </a:lnTo>
                  <a:lnTo>
                    <a:pt x="359" y="399"/>
                  </a:lnTo>
                  <a:lnTo>
                    <a:pt x="359" y="276"/>
                  </a:lnTo>
                  <a:lnTo>
                    <a:pt x="139" y="276"/>
                  </a:lnTo>
                  <a:lnTo>
                    <a:pt x="139" y="120"/>
                  </a:lnTo>
                  <a:lnTo>
                    <a:pt x="368" y="120"/>
                  </a:lnTo>
                  <a:lnTo>
                    <a:pt x="368" y="12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6" name="Google Shape;66;p26"/>
            <p:cNvSpPr/>
            <p:nvPr/>
          </p:nvSpPr>
          <p:spPr>
            <a:xfrm>
              <a:off x="21925313" y="1390984"/>
              <a:ext cx="1965222" cy="2186908"/>
            </a:xfrm>
            <a:custGeom>
              <a:avLst/>
              <a:gdLst/>
              <a:ahLst/>
              <a:cxnLst/>
              <a:rect l="l" t="t" r="r" b="b"/>
              <a:pathLst>
                <a:path w="1965222" h="2186908" extrusionOk="0">
                  <a:moveTo>
                    <a:pt x="988602" y="629111"/>
                  </a:moveTo>
                  <a:lnTo>
                    <a:pt x="733962" y="1402018"/>
                  </a:lnTo>
                  <a:lnTo>
                    <a:pt x="1237250" y="1402018"/>
                  </a:lnTo>
                  <a:lnTo>
                    <a:pt x="997590" y="629111"/>
                  </a:lnTo>
                  <a:close/>
                  <a:moveTo>
                    <a:pt x="996748" y="0"/>
                  </a:moveTo>
                  <a:cubicBezTo>
                    <a:pt x="1074510" y="0"/>
                    <a:pt x="1159338" y="49542"/>
                    <a:pt x="1187616" y="134470"/>
                  </a:cubicBezTo>
                  <a:cubicBezTo>
                    <a:pt x="1965222" y="2186908"/>
                    <a:pt x="1965222" y="2186908"/>
                    <a:pt x="1965222" y="2186908"/>
                  </a:cubicBezTo>
                  <a:cubicBezTo>
                    <a:pt x="1519866" y="2186908"/>
                    <a:pt x="1519866" y="2186908"/>
                    <a:pt x="1519866" y="2186908"/>
                  </a:cubicBezTo>
                  <a:cubicBezTo>
                    <a:pt x="1357274" y="1741034"/>
                    <a:pt x="1357274" y="1741034"/>
                    <a:pt x="1357274" y="1741034"/>
                  </a:cubicBezTo>
                  <a:cubicBezTo>
                    <a:pt x="615016" y="1741034"/>
                    <a:pt x="615016" y="1741034"/>
                    <a:pt x="615016" y="1741034"/>
                  </a:cubicBezTo>
                  <a:cubicBezTo>
                    <a:pt x="438286" y="2186908"/>
                    <a:pt x="438286" y="2186908"/>
                    <a:pt x="438286" y="2186908"/>
                  </a:cubicBezTo>
                  <a:cubicBezTo>
                    <a:pt x="0" y="2186908"/>
                    <a:pt x="0" y="2186908"/>
                    <a:pt x="0" y="2186908"/>
                  </a:cubicBezTo>
                  <a:cubicBezTo>
                    <a:pt x="798812" y="134470"/>
                    <a:pt x="798812" y="134470"/>
                    <a:pt x="798812" y="134470"/>
                  </a:cubicBezTo>
                  <a:cubicBezTo>
                    <a:pt x="834158" y="49542"/>
                    <a:pt x="911920" y="0"/>
                    <a:pt x="99674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7" name="Google Shape;67;p26"/>
            <p:cNvSpPr/>
            <p:nvPr/>
          </p:nvSpPr>
          <p:spPr>
            <a:xfrm>
              <a:off x="18641956" y="1447905"/>
              <a:ext cx="1641679" cy="2129989"/>
            </a:xfrm>
            <a:custGeom>
              <a:avLst/>
              <a:gdLst/>
              <a:ahLst/>
              <a:cxnLst/>
              <a:rect l="l" t="t" r="r" b="b"/>
              <a:pathLst>
                <a:path w="548" h="711" extrusionOk="0">
                  <a:moveTo>
                    <a:pt x="141" y="300"/>
                  </a:moveTo>
                  <a:lnTo>
                    <a:pt x="139" y="300"/>
                  </a:lnTo>
                  <a:lnTo>
                    <a:pt x="139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139" y="711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368" y="711"/>
                  </a:lnTo>
                  <a:lnTo>
                    <a:pt x="548" y="711"/>
                  </a:lnTo>
                  <a:lnTo>
                    <a:pt x="262" y="328"/>
                  </a:lnTo>
                  <a:lnTo>
                    <a:pt x="531" y="0"/>
                  </a:lnTo>
                  <a:lnTo>
                    <a:pt x="361" y="0"/>
                  </a:lnTo>
                  <a:lnTo>
                    <a:pt x="141" y="300"/>
                  </a:lnTo>
                  <a:lnTo>
                    <a:pt x="141" y="30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8" name="Google Shape;68;p26"/>
            <p:cNvSpPr/>
            <p:nvPr/>
          </p:nvSpPr>
          <p:spPr>
            <a:xfrm>
              <a:off x="20481355" y="1447905"/>
              <a:ext cx="1443958" cy="2129989"/>
            </a:xfrm>
            <a:custGeom>
              <a:avLst/>
              <a:gdLst/>
              <a:ahLst/>
              <a:cxnLst/>
              <a:rect l="l" t="t" r="r" b="b"/>
              <a:pathLst>
                <a:path w="1443958" h="2129989" extrusionOk="0">
                  <a:moveTo>
                    <a:pt x="416412" y="338520"/>
                  </a:moveTo>
                  <a:cubicBezTo>
                    <a:pt x="416412" y="982610"/>
                    <a:pt x="416412" y="982610"/>
                    <a:pt x="416412" y="982610"/>
                  </a:cubicBezTo>
                  <a:cubicBezTo>
                    <a:pt x="636498" y="982610"/>
                    <a:pt x="636498" y="982610"/>
                    <a:pt x="636498" y="982610"/>
                  </a:cubicBezTo>
                  <a:cubicBezTo>
                    <a:pt x="799788" y="982610"/>
                    <a:pt x="934680" y="833974"/>
                    <a:pt x="934680" y="657026"/>
                  </a:cubicBezTo>
                  <a:cubicBezTo>
                    <a:pt x="934680" y="480078"/>
                    <a:pt x="799788" y="338520"/>
                    <a:pt x="636498" y="338520"/>
                  </a:cubicBezTo>
                  <a:cubicBezTo>
                    <a:pt x="416412" y="338520"/>
                    <a:pt x="416412" y="338520"/>
                    <a:pt x="416412" y="338520"/>
                  </a:cubicBezTo>
                  <a:close/>
                  <a:moveTo>
                    <a:pt x="0" y="0"/>
                  </a:moveTo>
                  <a:cubicBezTo>
                    <a:pt x="714900" y="0"/>
                    <a:pt x="714900" y="0"/>
                    <a:pt x="714900" y="0"/>
                  </a:cubicBezTo>
                  <a:cubicBezTo>
                    <a:pt x="1068812" y="0"/>
                    <a:pt x="1351942" y="283055"/>
                    <a:pt x="1351942" y="636874"/>
                  </a:cubicBezTo>
                  <a:cubicBezTo>
                    <a:pt x="1351942" y="941158"/>
                    <a:pt x="1139594" y="1195908"/>
                    <a:pt x="856466" y="1259595"/>
                  </a:cubicBezTo>
                  <a:cubicBezTo>
                    <a:pt x="1443958" y="2129989"/>
                    <a:pt x="1443958" y="2129989"/>
                    <a:pt x="1443958" y="2129989"/>
                  </a:cubicBezTo>
                  <a:cubicBezTo>
                    <a:pt x="941404" y="2129989"/>
                    <a:pt x="941404" y="2129989"/>
                    <a:pt x="941404" y="2129989"/>
                  </a:cubicBezTo>
                  <a:cubicBezTo>
                    <a:pt x="417616" y="1273748"/>
                    <a:pt x="417616" y="1273748"/>
                    <a:pt x="417616" y="1273748"/>
                  </a:cubicBezTo>
                  <a:cubicBezTo>
                    <a:pt x="417616" y="2129989"/>
                    <a:pt x="417616" y="2129989"/>
                    <a:pt x="417616" y="2129989"/>
                  </a:cubicBezTo>
                  <a:cubicBezTo>
                    <a:pt x="0" y="2129989"/>
                    <a:pt x="0" y="2129989"/>
                    <a:pt x="0" y="212998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69" name="Google Shape;69;p26"/>
            <p:cNvSpPr/>
            <p:nvPr/>
          </p:nvSpPr>
          <p:spPr>
            <a:xfrm>
              <a:off x="11344274" y="872716"/>
              <a:ext cx="2747117" cy="3469097"/>
            </a:xfrm>
            <a:custGeom>
              <a:avLst/>
              <a:gdLst/>
              <a:ahLst/>
              <a:cxnLst/>
              <a:rect l="l" t="t" r="r" b="b"/>
              <a:pathLst>
                <a:path w="388" h="490" extrusionOk="0">
                  <a:moveTo>
                    <a:pt x="94" y="4"/>
                  </a:moveTo>
                  <a:cubicBezTo>
                    <a:pt x="349" y="152"/>
                    <a:pt x="349" y="152"/>
                    <a:pt x="349" y="152"/>
                  </a:cubicBezTo>
                  <a:cubicBezTo>
                    <a:pt x="369" y="163"/>
                    <a:pt x="388" y="187"/>
                    <a:pt x="388" y="220"/>
                  </a:cubicBezTo>
                  <a:cubicBezTo>
                    <a:pt x="388" y="252"/>
                    <a:pt x="369" y="276"/>
                    <a:pt x="349" y="288"/>
                  </a:cubicBezTo>
                  <a:cubicBezTo>
                    <a:pt x="0" y="490"/>
                    <a:pt x="0" y="490"/>
                    <a:pt x="0" y="49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310" y="220"/>
                    <a:pt x="310" y="220"/>
                    <a:pt x="310" y="220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259"/>
                    <a:pt x="143" y="259"/>
                    <a:pt x="143" y="259"/>
                  </a:cubicBezTo>
                  <a:cubicBezTo>
                    <a:pt x="65" y="305"/>
                    <a:pt x="65" y="305"/>
                    <a:pt x="65" y="305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14"/>
                    <a:pt x="69" y="8"/>
                    <a:pt x="75" y="4"/>
                  </a:cubicBezTo>
                  <a:cubicBezTo>
                    <a:pt x="80" y="1"/>
                    <a:pt x="88" y="0"/>
                    <a:pt x="94" y="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</p:grpSp>
      <p:sp>
        <p:nvSpPr>
          <p:cNvPr id="70" name="Google Shape;70;p26"/>
          <p:cNvSpPr txBox="1">
            <a:spLocks noGrp="1"/>
          </p:cNvSpPr>
          <p:nvPr>
            <p:ph type="body" idx="1"/>
          </p:nvPr>
        </p:nvSpPr>
        <p:spPr>
          <a:xfrm>
            <a:off x="3408148" y="5829267"/>
            <a:ext cx="5375705" cy="3328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2000"/>
              <a:buNone/>
              <a:defRPr sz="2667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19936" algn="l">
              <a:spcBef>
                <a:spcPts val="800"/>
              </a:spcBef>
              <a:spcAft>
                <a:spcPts val="0"/>
              </a:spcAft>
              <a:buSzPts val="1360"/>
              <a:buChar char="•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360"/>
              <a:buNone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440256" algn="l">
              <a:spcBef>
                <a:spcPts val="400"/>
              </a:spcBef>
              <a:spcAft>
                <a:spcPts val="0"/>
              </a:spcAft>
              <a:buSzPts val="1600"/>
              <a:buChar char="−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pic>
        <p:nvPicPr>
          <p:cNvPr id="71" name="Google Shape;71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646831" y="3261000"/>
            <a:ext cx="4898339" cy="336000"/>
          </a:xfrm>
          <a:prstGeom prst="rect">
            <a:avLst/>
          </a:prstGeom>
          <a:noFill/>
          <a:ln>
            <a:noFill/>
          </a:ln>
        </p:spPr>
      </p:pic>
      <p:sp>
        <p:nvSpPr>
          <p:cNvPr id="72" name="Google Shape;72;p26"/>
          <p:cNvSpPr/>
          <p:nvPr/>
        </p:nvSpPr>
        <p:spPr>
          <a:xfrm>
            <a:off x="1" y="6500192"/>
            <a:ext cx="530087" cy="3578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87375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parator 02">
  <p:cSld name="Separator 02">
    <p:bg>
      <p:bgPr>
        <a:solidFill>
          <a:schemeClr val="accent1"/>
        </a:solidFill>
        <a:effectLst/>
      </p:bgPr>
    </p:bg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8"/>
          <p:cNvSpPr txBox="1">
            <a:spLocks noGrp="1"/>
          </p:cNvSpPr>
          <p:nvPr>
            <p:ph type="body" idx="1"/>
          </p:nvPr>
        </p:nvSpPr>
        <p:spPr>
          <a:xfrm>
            <a:off x="0" y="3188842"/>
            <a:ext cx="12192000" cy="4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2000"/>
              <a:buNone/>
              <a:defRPr sz="2667" b="1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304792" algn="ctr">
              <a:spcBef>
                <a:spcPts val="800"/>
              </a:spcBef>
              <a:spcAft>
                <a:spcPts val="0"/>
              </a:spcAft>
              <a:buSzPts val="136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04792" algn="ctr">
              <a:spcBef>
                <a:spcPts val="400"/>
              </a:spcBef>
              <a:spcAft>
                <a:spcPts val="0"/>
              </a:spcAft>
              <a:buSzPts val="136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304792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04792" algn="ctr">
              <a:spcBef>
                <a:spcPts val="800"/>
              </a:spcBef>
              <a:spcAft>
                <a:spcPts val="0"/>
              </a:spcAft>
              <a:buSzPts val="160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8"/>
          <p:cNvSpPr/>
          <p:nvPr/>
        </p:nvSpPr>
        <p:spPr>
          <a:xfrm>
            <a:off x="1" y="6500192"/>
            <a:ext cx="530087" cy="3578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66283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2193257"/>
      </p:ext>
    </p:extLst>
  </p:cSld>
  <p:clrMapOvr>
    <a:masterClrMapping/>
  </p:clrMapOvr>
  <p:transition spd="slow">
    <p:wip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parator 03">
  <p:cSld name="Separator 03">
    <p:bg>
      <p:bgPr>
        <a:solidFill>
          <a:schemeClr val="accent2"/>
        </a:solidFill>
        <a:effectLst/>
      </p:bgPr>
    </p:bg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9"/>
          <p:cNvSpPr txBox="1">
            <a:spLocks noGrp="1"/>
          </p:cNvSpPr>
          <p:nvPr>
            <p:ph type="body" idx="1"/>
          </p:nvPr>
        </p:nvSpPr>
        <p:spPr>
          <a:xfrm>
            <a:off x="0" y="3188842"/>
            <a:ext cx="12192000" cy="4803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2000"/>
              <a:buNone/>
              <a:defRPr sz="2667" b="1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304792" algn="ctr">
              <a:spcBef>
                <a:spcPts val="800"/>
              </a:spcBef>
              <a:spcAft>
                <a:spcPts val="0"/>
              </a:spcAft>
              <a:buSzPts val="136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2pPr>
            <a:lvl3pPr marL="1828754" lvl="2" indent="-304792" algn="ctr">
              <a:spcBef>
                <a:spcPts val="400"/>
              </a:spcBef>
              <a:spcAft>
                <a:spcPts val="0"/>
              </a:spcAft>
              <a:buSzPts val="136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3pPr>
            <a:lvl4pPr marL="2438339" lvl="3" indent="-304792" algn="ctr">
              <a:spcBef>
                <a:spcPts val="400"/>
              </a:spcBef>
              <a:spcAft>
                <a:spcPts val="0"/>
              </a:spcAft>
              <a:buSzPts val="160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4pPr>
            <a:lvl5pPr marL="3047924" lvl="4" indent="-304792" algn="ctr">
              <a:spcBef>
                <a:spcPts val="800"/>
              </a:spcBef>
              <a:spcAft>
                <a:spcPts val="0"/>
              </a:spcAft>
              <a:buSzPts val="1600"/>
              <a:buNone/>
              <a:defRPr sz="2133" b="1">
                <a:latin typeface="Roboto"/>
                <a:ea typeface="Roboto"/>
                <a:cs typeface="Roboto"/>
                <a:sym typeface="Roboto"/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9"/>
          <p:cNvSpPr/>
          <p:nvPr/>
        </p:nvSpPr>
        <p:spPr>
          <a:xfrm>
            <a:off x="1" y="6500192"/>
            <a:ext cx="530087" cy="3578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12617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with title 02">
  <p:cSld name="Empty Slide with title 02">
    <p:bg>
      <p:bgPr>
        <a:solidFill>
          <a:schemeClr val="dk1"/>
        </a:solidFill>
        <a:effectLst/>
      </p:bgPr>
    </p:bg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30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30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Roboto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30"/>
          <p:cNvSpPr txBox="1">
            <a:spLocks noGrp="1"/>
          </p:cNvSpPr>
          <p:nvPr>
            <p:ph type="body" idx="1"/>
          </p:nvPr>
        </p:nvSpPr>
        <p:spPr>
          <a:xfrm>
            <a:off x="431799" y="1444119"/>
            <a:ext cx="5306391" cy="4333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30"/>
          <p:cNvSpPr>
            <a:spLocks noGrp="1"/>
          </p:cNvSpPr>
          <p:nvPr>
            <p:ph type="pic" idx="2"/>
          </p:nvPr>
        </p:nvSpPr>
        <p:spPr>
          <a:xfrm>
            <a:off x="6096000" y="1444119"/>
            <a:ext cx="5664200" cy="4333829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857413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with title 03">
  <p:cSld name="Empty Slide with title 03">
    <p:bg>
      <p:bgPr>
        <a:solidFill>
          <a:schemeClr val="accent1"/>
        </a:solid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31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CA8A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31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31"/>
          <p:cNvSpPr txBox="1">
            <a:spLocks noGrp="1"/>
          </p:cNvSpPr>
          <p:nvPr>
            <p:ph type="body" idx="1"/>
          </p:nvPr>
        </p:nvSpPr>
        <p:spPr>
          <a:xfrm>
            <a:off x="431799" y="1444119"/>
            <a:ext cx="5306391" cy="4333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31"/>
          <p:cNvSpPr>
            <a:spLocks noGrp="1"/>
          </p:cNvSpPr>
          <p:nvPr>
            <p:ph type="pic" idx="2"/>
          </p:nvPr>
        </p:nvSpPr>
        <p:spPr>
          <a:xfrm>
            <a:off x="6096000" y="1444119"/>
            <a:ext cx="5664200" cy="4333829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94301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Factors 01">
  <p:cSld name="Three Factors 01">
    <p:bg>
      <p:bgPr>
        <a:solidFill>
          <a:schemeClr val="accent1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2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32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" name="Google Shape;95;p32"/>
          <p:cNvSpPr/>
          <p:nvPr/>
        </p:nvSpPr>
        <p:spPr>
          <a:xfrm>
            <a:off x="363669" y="2023065"/>
            <a:ext cx="3120000" cy="3120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92000" tIns="192000" rIns="192000" bIns="19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6" name="Google Shape;96;p32"/>
          <p:cNvSpPr/>
          <p:nvPr/>
        </p:nvSpPr>
        <p:spPr>
          <a:xfrm>
            <a:off x="4373003" y="2023065"/>
            <a:ext cx="3120000" cy="3120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92000" tIns="192000" rIns="192000" bIns="19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7" name="Google Shape;97;p32"/>
          <p:cNvSpPr/>
          <p:nvPr/>
        </p:nvSpPr>
        <p:spPr>
          <a:xfrm>
            <a:off x="8382336" y="2023065"/>
            <a:ext cx="3120000" cy="3120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92000" tIns="192000" rIns="192000" bIns="19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8" name="Google Shape;98;p32"/>
          <p:cNvSpPr txBox="1">
            <a:spLocks noGrp="1"/>
          </p:cNvSpPr>
          <p:nvPr>
            <p:ph type="body" idx="1"/>
          </p:nvPr>
        </p:nvSpPr>
        <p:spPr>
          <a:xfrm>
            <a:off x="493862" y="2148418"/>
            <a:ext cx="2859617" cy="2423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32"/>
          <p:cNvSpPr txBox="1">
            <a:spLocks noGrp="1"/>
          </p:cNvSpPr>
          <p:nvPr>
            <p:ph type="body" idx="2"/>
          </p:nvPr>
        </p:nvSpPr>
        <p:spPr>
          <a:xfrm>
            <a:off x="4503196" y="2148418"/>
            <a:ext cx="2859617" cy="2423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32"/>
          <p:cNvSpPr txBox="1">
            <a:spLocks noGrp="1"/>
          </p:cNvSpPr>
          <p:nvPr>
            <p:ph type="body" idx="3"/>
          </p:nvPr>
        </p:nvSpPr>
        <p:spPr>
          <a:xfrm>
            <a:off x="8512529" y="2148418"/>
            <a:ext cx="2859617" cy="2423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32"/>
          <p:cNvSpPr txBox="1">
            <a:spLocks noGrp="1"/>
          </p:cNvSpPr>
          <p:nvPr>
            <p:ph type="body" idx="4"/>
          </p:nvPr>
        </p:nvSpPr>
        <p:spPr>
          <a:xfrm>
            <a:off x="1600201" y="4831927"/>
            <a:ext cx="2391833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32"/>
          <p:cNvSpPr txBox="1">
            <a:spLocks noGrp="1"/>
          </p:cNvSpPr>
          <p:nvPr>
            <p:ph type="body" idx="5"/>
          </p:nvPr>
        </p:nvSpPr>
        <p:spPr>
          <a:xfrm>
            <a:off x="5627365" y="4831927"/>
            <a:ext cx="2391833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32"/>
          <p:cNvSpPr txBox="1">
            <a:spLocks noGrp="1"/>
          </p:cNvSpPr>
          <p:nvPr>
            <p:ph type="body" idx="6"/>
          </p:nvPr>
        </p:nvSpPr>
        <p:spPr>
          <a:xfrm>
            <a:off x="9654529" y="4831927"/>
            <a:ext cx="2391833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38979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1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Factors 02">
  <p:cSld name="Three Factors 02">
    <p:bg>
      <p:bgPr>
        <a:solidFill>
          <a:schemeClr val="lt1"/>
        </a:solidFill>
        <a:effectLst/>
      </p:bgPr>
    </p:bg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33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33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33"/>
          <p:cNvSpPr/>
          <p:nvPr/>
        </p:nvSpPr>
        <p:spPr>
          <a:xfrm>
            <a:off x="363669" y="2023065"/>
            <a:ext cx="3120000" cy="31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92000" tIns="192000" rIns="192000" bIns="19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8" name="Google Shape;108;p33"/>
          <p:cNvSpPr/>
          <p:nvPr/>
        </p:nvSpPr>
        <p:spPr>
          <a:xfrm>
            <a:off x="4373003" y="2023065"/>
            <a:ext cx="3120000" cy="31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92000" tIns="192000" rIns="192000" bIns="19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09" name="Google Shape;109;p33"/>
          <p:cNvSpPr/>
          <p:nvPr/>
        </p:nvSpPr>
        <p:spPr>
          <a:xfrm>
            <a:off x="8382336" y="2023065"/>
            <a:ext cx="3120000" cy="31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92000" tIns="192000" rIns="192000" bIns="19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chemeClr val="accent2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10" name="Google Shape;110;p33"/>
          <p:cNvSpPr txBox="1">
            <a:spLocks noGrp="1"/>
          </p:cNvSpPr>
          <p:nvPr>
            <p:ph type="body" idx="1"/>
          </p:nvPr>
        </p:nvSpPr>
        <p:spPr>
          <a:xfrm>
            <a:off x="493862" y="2148418"/>
            <a:ext cx="2859617" cy="2423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33"/>
          <p:cNvSpPr txBox="1">
            <a:spLocks noGrp="1"/>
          </p:cNvSpPr>
          <p:nvPr>
            <p:ph type="body" idx="2"/>
          </p:nvPr>
        </p:nvSpPr>
        <p:spPr>
          <a:xfrm>
            <a:off x="4503196" y="2148418"/>
            <a:ext cx="2859617" cy="2423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33"/>
          <p:cNvSpPr txBox="1">
            <a:spLocks noGrp="1"/>
          </p:cNvSpPr>
          <p:nvPr>
            <p:ph type="body" idx="3"/>
          </p:nvPr>
        </p:nvSpPr>
        <p:spPr>
          <a:xfrm>
            <a:off x="8512529" y="2148418"/>
            <a:ext cx="2859617" cy="2423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33"/>
          <p:cNvSpPr txBox="1">
            <a:spLocks noGrp="1"/>
          </p:cNvSpPr>
          <p:nvPr>
            <p:ph type="body" idx="4"/>
          </p:nvPr>
        </p:nvSpPr>
        <p:spPr>
          <a:xfrm>
            <a:off x="1600201" y="4831927"/>
            <a:ext cx="2391833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33"/>
          <p:cNvSpPr txBox="1">
            <a:spLocks noGrp="1"/>
          </p:cNvSpPr>
          <p:nvPr>
            <p:ph type="body" idx="5"/>
          </p:nvPr>
        </p:nvSpPr>
        <p:spPr>
          <a:xfrm>
            <a:off x="5627365" y="4831927"/>
            <a:ext cx="2391833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33"/>
          <p:cNvSpPr txBox="1">
            <a:spLocks noGrp="1"/>
          </p:cNvSpPr>
          <p:nvPr>
            <p:ph type="body" idx="6"/>
          </p:nvPr>
        </p:nvSpPr>
        <p:spPr>
          <a:xfrm>
            <a:off x="9654529" y="4831927"/>
            <a:ext cx="2391833" cy="53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2691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1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Slide 02">
  <p:cSld name="Picture Slide 02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3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357478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Slide 02">
  <p:cSld name="Statement Slide 02">
    <p:bg>
      <p:bgPr>
        <a:solidFill>
          <a:schemeClr val="accent1"/>
        </a:solidFill>
        <a:effectLst/>
      </p:bgPr>
    </p:bg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35"/>
          <p:cNvSpPr>
            <a:spLocks noGrp="1"/>
          </p:cNvSpPr>
          <p:nvPr>
            <p:ph type="pic" idx="2"/>
          </p:nvPr>
        </p:nvSpPr>
        <p:spPr>
          <a:xfrm>
            <a:off x="0" y="0"/>
            <a:ext cx="7486651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123" name="Google Shape;123;p35"/>
          <p:cNvSpPr txBox="1">
            <a:spLocks noGrp="1"/>
          </p:cNvSpPr>
          <p:nvPr>
            <p:ph type="body" idx="1"/>
          </p:nvPr>
        </p:nvSpPr>
        <p:spPr>
          <a:xfrm>
            <a:off x="8077201" y="596900"/>
            <a:ext cx="3439584" cy="1788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2000"/>
              <a:buNone/>
              <a:defRPr sz="26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410567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ject summary 01">
  <p:cSld name="Project summary 01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36"/>
          <p:cNvSpPr/>
          <p:nvPr/>
        </p:nvSpPr>
        <p:spPr>
          <a:xfrm>
            <a:off x="431370" y="1538086"/>
            <a:ext cx="4720151" cy="11034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26" name="Google Shape;126;p36"/>
          <p:cNvSpPr txBox="1">
            <a:spLocks noGrp="1"/>
          </p:cNvSpPr>
          <p:nvPr>
            <p:ph type="body" idx="1"/>
          </p:nvPr>
        </p:nvSpPr>
        <p:spPr>
          <a:xfrm>
            <a:off x="430923" y="1929130"/>
            <a:ext cx="4720167" cy="714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36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36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5664629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36"/>
          <p:cNvSpPr/>
          <p:nvPr/>
        </p:nvSpPr>
        <p:spPr>
          <a:xfrm>
            <a:off x="5248064" y="3244605"/>
            <a:ext cx="6442709" cy="15509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30" name="Google Shape;130;p36"/>
          <p:cNvSpPr/>
          <p:nvPr/>
        </p:nvSpPr>
        <p:spPr>
          <a:xfrm>
            <a:off x="5248065" y="4869161"/>
            <a:ext cx="6442708" cy="12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31" name="Google Shape;131;p36"/>
          <p:cNvSpPr/>
          <p:nvPr/>
        </p:nvSpPr>
        <p:spPr>
          <a:xfrm>
            <a:off x="5248064" y="1538085"/>
            <a:ext cx="6442709" cy="16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 b="1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32" name="Google Shape;132;p36"/>
          <p:cNvSpPr/>
          <p:nvPr/>
        </p:nvSpPr>
        <p:spPr>
          <a:xfrm>
            <a:off x="431370" y="2779777"/>
            <a:ext cx="4720151" cy="3338415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33" name="Google Shape;133;p36"/>
          <p:cNvSpPr txBox="1">
            <a:spLocks noGrp="1"/>
          </p:cNvSpPr>
          <p:nvPr>
            <p:ph type="body" idx="2"/>
          </p:nvPr>
        </p:nvSpPr>
        <p:spPr>
          <a:xfrm>
            <a:off x="431801" y="1538086"/>
            <a:ext cx="4720167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36"/>
          <p:cNvSpPr txBox="1">
            <a:spLocks noGrp="1"/>
          </p:cNvSpPr>
          <p:nvPr>
            <p:ph type="body" idx="3"/>
          </p:nvPr>
        </p:nvSpPr>
        <p:spPr>
          <a:xfrm>
            <a:off x="5248065" y="1929130"/>
            <a:ext cx="6442708" cy="1216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0639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36"/>
          <p:cNvSpPr txBox="1">
            <a:spLocks noGrp="1"/>
          </p:cNvSpPr>
          <p:nvPr>
            <p:ph type="body" idx="4"/>
          </p:nvPr>
        </p:nvSpPr>
        <p:spPr>
          <a:xfrm>
            <a:off x="5248065" y="3642693"/>
            <a:ext cx="6442708" cy="1152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36"/>
          <p:cNvSpPr txBox="1">
            <a:spLocks noGrp="1"/>
          </p:cNvSpPr>
          <p:nvPr>
            <p:ph type="body" idx="5"/>
          </p:nvPr>
        </p:nvSpPr>
        <p:spPr>
          <a:xfrm>
            <a:off x="5248065" y="5260205"/>
            <a:ext cx="6442708" cy="857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0639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36"/>
          <p:cNvSpPr>
            <a:spLocks noGrp="1"/>
          </p:cNvSpPr>
          <p:nvPr>
            <p:ph type="pic" idx="6"/>
          </p:nvPr>
        </p:nvSpPr>
        <p:spPr>
          <a:xfrm>
            <a:off x="431801" y="2779185"/>
            <a:ext cx="4720167" cy="3337983"/>
          </a:xfrm>
          <a:prstGeom prst="rect">
            <a:avLst/>
          </a:prstGeom>
          <a:noFill/>
          <a:ln>
            <a:noFill/>
          </a:ln>
        </p:spPr>
      </p:sp>
      <p:sp>
        <p:nvSpPr>
          <p:cNvPr id="138" name="Google Shape;138;p36"/>
          <p:cNvSpPr txBox="1">
            <a:spLocks noGrp="1"/>
          </p:cNvSpPr>
          <p:nvPr>
            <p:ph type="body" idx="7"/>
          </p:nvPr>
        </p:nvSpPr>
        <p:spPr>
          <a:xfrm>
            <a:off x="5248065" y="1538086"/>
            <a:ext cx="6442708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36"/>
          <p:cNvSpPr txBox="1">
            <a:spLocks noGrp="1"/>
          </p:cNvSpPr>
          <p:nvPr>
            <p:ph type="body" idx="8"/>
          </p:nvPr>
        </p:nvSpPr>
        <p:spPr>
          <a:xfrm>
            <a:off x="5248065" y="4869161"/>
            <a:ext cx="6442708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36"/>
          <p:cNvSpPr txBox="1">
            <a:spLocks noGrp="1"/>
          </p:cNvSpPr>
          <p:nvPr>
            <p:ph type="body" idx="9"/>
          </p:nvPr>
        </p:nvSpPr>
        <p:spPr>
          <a:xfrm>
            <a:off x="5248065" y="3244606"/>
            <a:ext cx="6442708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4078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ject summary 02">
  <p:cSld name="Project summary 02">
    <p:bg>
      <p:bgPr>
        <a:solidFill>
          <a:schemeClr val="dk1"/>
        </a:solidFill>
        <a:effectLst/>
      </p:bgPr>
    </p:bg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37"/>
          <p:cNvSpPr/>
          <p:nvPr/>
        </p:nvSpPr>
        <p:spPr>
          <a:xfrm>
            <a:off x="431370" y="1538086"/>
            <a:ext cx="4720151" cy="11034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3" name="Google Shape;143;p37"/>
          <p:cNvSpPr txBox="1">
            <a:spLocks noGrp="1"/>
          </p:cNvSpPr>
          <p:nvPr>
            <p:ph type="body" idx="1"/>
          </p:nvPr>
        </p:nvSpPr>
        <p:spPr>
          <a:xfrm>
            <a:off x="430923" y="1929130"/>
            <a:ext cx="4720167" cy="7149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44" name="Google Shape;144;p37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37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5664629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Roboto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37"/>
          <p:cNvSpPr/>
          <p:nvPr/>
        </p:nvSpPr>
        <p:spPr>
          <a:xfrm>
            <a:off x="5248064" y="3244605"/>
            <a:ext cx="6442709" cy="15509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7" name="Google Shape;147;p37"/>
          <p:cNvSpPr/>
          <p:nvPr/>
        </p:nvSpPr>
        <p:spPr>
          <a:xfrm>
            <a:off x="5248065" y="4869161"/>
            <a:ext cx="6442708" cy="12490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8" name="Google Shape;148;p37"/>
          <p:cNvSpPr/>
          <p:nvPr/>
        </p:nvSpPr>
        <p:spPr>
          <a:xfrm>
            <a:off x="5248064" y="1538085"/>
            <a:ext cx="6442709" cy="16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 b="1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49" name="Google Shape;149;p37"/>
          <p:cNvSpPr/>
          <p:nvPr/>
        </p:nvSpPr>
        <p:spPr>
          <a:xfrm>
            <a:off x="431370" y="2779777"/>
            <a:ext cx="4720151" cy="3338415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50" name="Google Shape;150;p37"/>
          <p:cNvSpPr txBox="1">
            <a:spLocks noGrp="1"/>
          </p:cNvSpPr>
          <p:nvPr>
            <p:ph type="body" idx="2"/>
          </p:nvPr>
        </p:nvSpPr>
        <p:spPr>
          <a:xfrm>
            <a:off x="431801" y="1538086"/>
            <a:ext cx="4720167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37"/>
          <p:cNvSpPr txBox="1">
            <a:spLocks noGrp="1"/>
          </p:cNvSpPr>
          <p:nvPr>
            <p:ph type="body" idx="3"/>
          </p:nvPr>
        </p:nvSpPr>
        <p:spPr>
          <a:xfrm>
            <a:off x="5248065" y="1929130"/>
            <a:ext cx="6442708" cy="1216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0639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37"/>
          <p:cNvSpPr txBox="1">
            <a:spLocks noGrp="1"/>
          </p:cNvSpPr>
          <p:nvPr>
            <p:ph type="body" idx="4"/>
          </p:nvPr>
        </p:nvSpPr>
        <p:spPr>
          <a:xfrm>
            <a:off x="5248065" y="3642693"/>
            <a:ext cx="6442708" cy="1152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None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37"/>
          <p:cNvSpPr txBox="1">
            <a:spLocks noGrp="1"/>
          </p:cNvSpPr>
          <p:nvPr>
            <p:ph type="body" idx="5"/>
          </p:nvPr>
        </p:nvSpPr>
        <p:spPr>
          <a:xfrm>
            <a:off x="5248065" y="5260205"/>
            <a:ext cx="6442708" cy="857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0639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Noto Sans Symbols"/>
              <a:buChar char="▪"/>
              <a:defRPr sz="1600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37"/>
          <p:cNvSpPr>
            <a:spLocks noGrp="1"/>
          </p:cNvSpPr>
          <p:nvPr>
            <p:ph type="pic" idx="6"/>
          </p:nvPr>
        </p:nvSpPr>
        <p:spPr>
          <a:xfrm>
            <a:off x="431801" y="2779185"/>
            <a:ext cx="4720167" cy="3337983"/>
          </a:xfrm>
          <a:prstGeom prst="rect">
            <a:avLst/>
          </a:prstGeom>
          <a:noFill/>
          <a:ln>
            <a:noFill/>
          </a:ln>
        </p:spPr>
      </p:sp>
      <p:sp>
        <p:nvSpPr>
          <p:cNvPr id="155" name="Google Shape;155;p37"/>
          <p:cNvSpPr txBox="1">
            <a:spLocks noGrp="1"/>
          </p:cNvSpPr>
          <p:nvPr>
            <p:ph type="body" idx="7"/>
          </p:nvPr>
        </p:nvSpPr>
        <p:spPr>
          <a:xfrm>
            <a:off x="5248065" y="1538086"/>
            <a:ext cx="6442708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37"/>
          <p:cNvSpPr txBox="1">
            <a:spLocks noGrp="1"/>
          </p:cNvSpPr>
          <p:nvPr>
            <p:ph type="body" idx="8"/>
          </p:nvPr>
        </p:nvSpPr>
        <p:spPr>
          <a:xfrm>
            <a:off x="5248065" y="4869161"/>
            <a:ext cx="6442708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37"/>
          <p:cNvSpPr txBox="1">
            <a:spLocks noGrp="1"/>
          </p:cNvSpPr>
          <p:nvPr>
            <p:ph type="body" idx="9"/>
          </p:nvPr>
        </p:nvSpPr>
        <p:spPr>
          <a:xfrm>
            <a:off x="5248065" y="3244606"/>
            <a:ext cx="6442708" cy="367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973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rt-up template 01">
  <p:cSld name="Start-up template 01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38"/>
          <p:cNvSpPr/>
          <p:nvPr/>
        </p:nvSpPr>
        <p:spPr>
          <a:xfrm>
            <a:off x="438148" y="880742"/>
            <a:ext cx="3648000" cy="2534245"/>
          </a:xfrm>
          <a:prstGeom prst="rect">
            <a:avLst/>
          </a:prstGeom>
          <a:solidFill>
            <a:srgbClr val="3FCC88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Roboto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0" name="Google Shape;160;p38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38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5664629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" name="Google Shape;162;p38"/>
          <p:cNvSpPr/>
          <p:nvPr/>
        </p:nvSpPr>
        <p:spPr>
          <a:xfrm>
            <a:off x="4272033" y="880743"/>
            <a:ext cx="3648000" cy="2534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594" marR="0" lvl="0" indent="-16086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3" name="Google Shape;163;p38"/>
          <p:cNvSpPr/>
          <p:nvPr/>
        </p:nvSpPr>
        <p:spPr>
          <a:xfrm>
            <a:off x="8105920" y="880742"/>
            <a:ext cx="3648000" cy="1683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Roboto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4" name="Google Shape;164;p38"/>
          <p:cNvSpPr/>
          <p:nvPr/>
        </p:nvSpPr>
        <p:spPr>
          <a:xfrm>
            <a:off x="438149" y="3615559"/>
            <a:ext cx="3647999" cy="278418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Roboto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5" name="Google Shape;165;p38"/>
          <p:cNvSpPr/>
          <p:nvPr/>
        </p:nvSpPr>
        <p:spPr>
          <a:xfrm>
            <a:off x="8112200" y="2773667"/>
            <a:ext cx="3648000" cy="16837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Roboto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6" name="Google Shape;166;p38"/>
          <p:cNvSpPr/>
          <p:nvPr/>
        </p:nvSpPr>
        <p:spPr>
          <a:xfrm>
            <a:off x="8118480" y="4666593"/>
            <a:ext cx="3648000" cy="17331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Roboto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7" name="Google Shape;167;p38"/>
          <p:cNvSpPr/>
          <p:nvPr/>
        </p:nvSpPr>
        <p:spPr>
          <a:xfrm>
            <a:off x="4272000" y="3615557"/>
            <a:ext cx="3648000" cy="2784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594" marR="0" lvl="0" indent="-16086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8" name="Google Shape;168;p38"/>
          <p:cNvSpPr txBox="1">
            <a:spLocks noGrp="1"/>
          </p:cNvSpPr>
          <p:nvPr>
            <p:ph type="body" idx="1"/>
          </p:nvPr>
        </p:nvSpPr>
        <p:spPr>
          <a:xfrm>
            <a:off x="438148" y="880743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69" name="Google Shape;169;p38"/>
          <p:cNvSpPr txBox="1">
            <a:spLocks noGrp="1"/>
          </p:cNvSpPr>
          <p:nvPr>
            <p:ph type="body" idx="2"/>
          </p:nvPr>
        </p:nvSpPr>
        <p:spPr>
          <a:xfrm>
            <a:off x="438148" y="3615559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38"/>
          <p:cNvSpPr txBox="1">
            <a:spLocks noGrp="1"/>
          </p:cNvSpPr>
          <p:nvPr>
            <p:ph type="body" idx="3"/>
          </p:nvPr>
        </p:nvSpPr>
        <p:spPr>
          <a:xfrm>
            <a:off x="4272033" y="880743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38"/>
          <p:cNvSpPr txBox="1">
            <a:spLocks noGrp="1"/>
          </p:cNvSpPr>
          <p:nvPr>
            <p:ph type="body" idx="4"/>
          </p:nvPr>
        </p:nvSpPr>
        <p:spPr>
          <a:xfrm>
            <a:off x="8105920" y="880741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38"/>
          <p:cNvSpPr txBox="1">
            <a:spLocks noGrp="1"/>
          </p:cNvSpPr>
          <p:nvPr>
            <p:ph type="body" idx="5"/>
          </p:nvPr>
        </p:nvSpPr>
        <p:spPr>
          <a:xfrm>
            <a:off x="8112200" y="2773667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38"/>
          <p:cNvSpPr txBox="1">
            <a:spLocks noGrp="1"/>
          </p:cNvSpPr>
          <p:nvPr>
            <p:ph type="body" idx="6"/>
          </p:nvPr>
        </p:nvSpPr>
        <p:spPr>
          <a:xfrm>
            <a:off x="8118480" y="4666592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p38"/>
          <p:cNvSpPr txBox="1">
            <a:spLocks noGrp="1"/>
          </p:cNvSpPr>
          <p:nvPr>
            <p:ph type="body" idx="7"/>
          </p:nvPr>
        </p:nvSpPr>
        <p:spPr>
          <a:xfrm>
            <a:off x="4272000" y="3615556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38"/>
          <p:cNvSpPr txBox="1">
            <a:spLocks noGrp="1"/>
          </p:cNvSpPr>
          <p:nvPr>
            <p:ph type="body" idx="8"/>
          </p:nvPr>
        </p:nvSpPr>
        <p:spPr>
          <a:xfrm>
            <a:off x="4272000" y="4089400"/>
            <a:ext cx="3648000" cy="231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7252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Char char="▪"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6" name="Google Shape;176;p38"/>
          <p:cNvSpPr txBox="1">
            <a:spLocks noGrp="1"/>
          </p:cNvSpPr>
          <p:nvPr>
            <p:ph type="body" idx="9"/>
          </p:nvPr>
        </p:nvSpPr>
        <p:spPr>
          <a:xfrm>
            <a:off x="8112200" y="3247909"/>
            <a:ext cx="3648000" cy="12095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None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7" name="Google Shape;177;p38"/>
          <p:cNvSpPr txBox="1">
            <a:spLocks noGrp="1"/>
          </p:cNvSpPr>
          <p:nvPr>
            <p:ph type="body" idx="13"/>
          </p:nvPr>
        </p:nvSpPr>
        <p:spPr>
          <a:xfrm>
            <a:off x="8118480" y="5133937"/>
            <a:ext cx="3648000" cy="12647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None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38"/>
          <p:cNvSpPr txBox="1">
            <a:spLocks noGrp="1"/>
          </p:cNvSpPr>
          <p:nvPr>
            <p:ph type="body" idx="14"/>
          </p:nvPr>
        </p:nvSpPr>
        <p:spPr>
          <a:xfrm>
            <a:off x="4272033" y="1363135"/>
            <a:ext cx="3648000" cy="2051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7252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Char char="▪"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38"/>
          <p:cNvSpPr txBox="1">
            <a:spLocks noGrp="1"/>
          </p:cNvSpPr>
          <p:nvPr>
            <p:ph type="body" idx="15"/>
          </p:nvPr>
        </p:nvSpPr>
        <p:spPr>
          <a:xfrm>
            <a:off x="438148" y="4089399"/>
            <a:ext cx="3648000" cy="2309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None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4802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05346387"/>
      </p:ext>
    </p:extLst>
  </p:cSld>
  <p:clrMapOvr>
    <a:masterClrMapping/>
  </p:clrMapOvr>
  <p:transition spd="slow">
    <p:wip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rt-up template 02">
  <p:cSld name="Start-up template 0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3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p39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5664629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39"/>
          <p:cNvSpPr/>
          <p:nvPr/>
        </p:nvSpPr>
        <p:spPr>
          <a:xfrm>
            <a:off x="438148" y="880741"/>
            <a:ext cx="3648000" cy="55179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Roboto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4" name="Google Shape;184;p39"/>
          <p:cNvSpPr/>
          <p:nvPr/>
        </p:nvSpPr>
        <p:spPr>
          <a:xfrm>
            <a:off x="4272033" y="880743"/>
            <a:ext cx="3648000" cy="253424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594" marR="0" lvl="0" indent="-16086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5" name="Google Shape;185;p39"/>
          <p:cNvSpPr/>
          <p:nvPr/>
        </p:nvSpPr>
        <p:spPr>
          <a:xfrm>
            <a:off x="8105920" y="880742"/>
            <a:ext cx="3648000" cy="55242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Roboto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6" name="Google Shape;186;p39"/>
          <p:cNvSpPr/>
          <p:nvPr/>
        </p:nvSpPr>
        <p:spPr>
          <a:xfrm>
            <a:off x="4272000" y="3615557"/>
            <a:ext cx="3648000" cy="2784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t" anchorCtr="0">
            <a:noAutofit/>
          </a:bodyPr>
          <a:lstStyle/>
          <a:p>
            <a:pPr marL="228594" marR="0" lvl="0" indent="-16086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endParaRPr sz="1067" b="0" i="0" u="none" strike="noStrike" cap="none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87" name="Google Shape;187;p39"/>
          <p:cNvSpPr txBox="1">
            <a:spLocks noGrp="1"/>
          </p:cNvSpPr>
          <p:nvPr>
            <p:ph type="body" idx="1"/>
          </p:nvPr>
        </p:nvSpPr>
        <p:spPr>
          <a:xfrm>
            <a:off x="438148" y="880743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39"/>
          <p:cNvSpPr txBox="1">
            <a:spLocks noGrp="1"/>
          </p:cNvSpPr>
          <p:nvPr>
            <p:ph type="body" idx="2"/>
          </p:nvPr>
        </p:nvSpPr>
        <p:spPr>
          <a:xfrm>
            <a:off x="4272033" y="880743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89" name="Google Shape;189;p39"/>
          <p:cNvSpPr txBox="1">
            <a:spLocks noGrp="1"/>
          </p:cNvSpPr>
          <p:nvPr>
            <p:ph type="body" idx="3"/>
          </p:nvPr>
        </p:nvSpPr>
        <p:spPr>
          <a:xfrm>
            <a:off x="8105920" y="880741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39"/>
          <p:cNvSpPr txBox="1">
            <a:spLocks noGrp="1"/>
          </p:cNvSpPr>
          <p:nvPr>
            <p:ph type="body" idx="4"/>
          </p:nvPr>
        </p:nvSpPr>
        <p:spPr>
          <a:xfrm>
            <a:off x="4272000" y="3615556"/>
            <a:ext cx="3648000" cy="41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39"/>
          <p:cNvSpPr txBox="1">
            <a:spLocks noGrp="1"/>
          </p:cNvSpPr>
          <p:nvPr>
            <p:ph type="body" idx="5"/>
          </p:nvPr>
        </p:nvSpPr>
        <p:spPr>
          <a:xfrm>
            <a:off x="4272000" y="4089400"/>
            <a:ext cx="3648000" cy="2315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7252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Char char="▪"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39"/>
          <p:cNvSpPr txBox="1">
            <a:spLocks noGrp="1"/>
          </p:cNvSpPr>
          <p:nvPr>
            <p:ph type="body" idx="6"/>
          </p:nvPr>
        </p:nvSpPr>
        <p:spPr>
          <a:xfrm>
            <a:off x="8112200" y="1363135"/>
            <a:ext cx="3648000" cy="5041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7252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Char char="▪"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3" name="Google Shape;193;p39"/>
          <p:cNvSpPr txBox="1">
            <a:spLocks noGrp="1"/>
          </p:cNvSpPr>
          <p:nvPr>
            <p:ph type="body" idx="7"/>
          </p:nvPr>
        </p:nvSpPr>
        <p:spPr>
          <a:xfrm>
            <a:off x="4272033" y="1363135"/>
            <a:ext cx="3648000" cy="2051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7252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Char char="▪"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4" name="Google Shape;194;p39"/>
          <p:cNvSpPr txBox="1">
            <a:spLocks noGrp="1"/>
          </p:cNvSpPr>
          <p:nvPr>
            <p:ph type="body" idx="8"/>
          </p:nvPr>
        </p:nvSpPr>
        <p:spPr>
          <a:xfrm>
            <a:off x="438148" y="1363135"/>
            <a:ext cx="3648000" cy="5035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Noto Sans Symbols"/>
              <a:buNone/>
              <a:defRPr sz="1067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55098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Factors 01">
  <p:cSld name="Four Factors 01">
    <p:bg>
      <p:bgPr>
        <a:solidFill>
          <a:schemeClr val="dk1"/>
        </a:solidFill>
        <a:effectLst/>
      </p:bgPr>
    </p:bg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40"/>
          <p:cNvSpPr/>
          <p:nvPr/>
        </p:nvSpPr>
        <p:spPr>
          <a:xfrm>
            <a:off x="1242689" y="1654664"/>
            <a:ext cx="2426656" cy="24266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97" name="Google Shape;197;p40"/>
          <p:cNvSpPr txBox="1">
            <a:spLocks noGrp="1"/>
          </p:cNvSpPr>
          <p:nvPr>
            <p:ph type="body" idx="1"/>
          </p:nvPr>
        </p:nvSpPr>
        <p:spPr>
          <a:xfrm>
            <a:off x="1905001" y="2103967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40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CA8A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p40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Roboto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" name="Google Shape;200;p40"/>
          <p:cNvSpPr/>
          <p:nvPr/>
        </p:nvSpPr>
        <p:spPr>
          <a:xfrm>
            <a:off x="3666171" y="4083103"/>
            <a:ext cx="2428243" cy="24250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1" name="Google Shape;201;p40"/>
          <p:cNvSpPr/>
          <p:nvPr/>
        </p:nvSpPr>
        <p:spPr>
          <a:xfrm>
            <a:off x="6099175" y="1653077"/>
            <a:ext cx="2426656" cy="24282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2" name="Google Shape;202;p40"/>
          <p:cNvSpPr/>
          <p:nvPr/>
        </p:nvSpPr>
        <p:spPr>
          <a:xfrm>
            <a:off x="8517895" y="4081515"/>
            <a:ext cx="2431416" cy="24282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03" name="Google Shape;203;p40"/>
          <p:cNvSpPr txBox="1">
            <a:spLocks noGrp="1"/>
          </p:cNvSpPr>
          <p:nvPr>
            <p:ph type="body" idx="2"/>
          </p:nvPr>
        </p:nvSpPr>
        <p:spPr>
          <a:xfrm>
            <a:off x="4331809" y="4541415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40"/>
          <p:cNvSpPr txBox="1">
            <a:spLocks noGrp="1"/>
          </p:cNvSpPr>
          <p:nvPr>
            <p:ph type="body" idx="3"/>
          </p:nvPr>
        </p:nvSpPr>
        <p:spPr>
          <a:xfrm>
            <a:off x="6771696" y="2104140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40"/>
          <p:cNvSpPr txBox="1">
            <a:spLocks noGrp="1"/>
          </p:cNvSpPr>
          <p:nvPr>
            <p:ph type="body" idx="4"/>
          </p:nvPr>
        </p:nvSpPr>
        <p:spPr>
          <a:xfrm>
            <a:off x="9190001" y="4541415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40"/>
          <p:cNvSpPr txBox="1">
            <a:spLocks noGrp="1"/>
          </p:cNvSpPr>
          <p:nvPr>
            <p:ph type="body" idx="5"/>
          </p:nvPr>
        </p:nvSpPr>
        <p:spPr>
          <a:xfrm>
            <a:off x="3803651" y="1799167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40"/>
          <p:cNvSpPr txBox="1">
            <a:spLocks noGrp="1"/>
          </p:cNvSpPr>
          <p:nvPr>
            <p:ph type="body" idx="6"/>
          </p:nvPr>
        </p:nvSpPr>
        <p:spPr>
          <a:xfrm>
            <a:off x="3803651" y="228847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08" name="Google Shape;208;p40"/>
          <p:cNvSpPr txBox="1">
            <a:spLocks noGrp="1"/>
          </p:cNvSpPr>
          <p:nvPr>
            <p:ph type="body" idx="7"/>
          </p:nvPr>
        </p:nvSpPr>
        <p:spPr>
          <a:xfrm>
            <a:off x="8648813" y="1799167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09" name="Google Shape;209;p40"/>
          <p:cNvSpPr txBox="1">
            <a:spLocks noGrp="1"/>
          </p:cNvSpPr>
          <p:nvPr>
            <p:ph type="body" idx="8"/>
          </p:nvPr>
        </p:nvSpPr>
        <p:spPr>
          <a:xfrm>
            <a:off x="8648813" y="228847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40"/>
          <p:cNvSpPr txBox="1">
            <a:spLocks noGrp="1"/>
          </p:cNvSpPr>
          <p:nvPr>
            <p:ph type="body" idx="9"/>
          </p:nvPr>
        </p:nvSpPr>
        <p:spPr>
          <a:xfrm>
            <a:off x="1355586" y="4195818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40"/>
          <p:cNvSpPr txBox="1">
            <a:spLocks noGrp="1"/>
          </p:cNvSpPr>
          <p:nvPr>
            <p:ph type="body" idx="13"/>
          </p:nvPr>
        </p:nvSpPr>
        <p:spPr>
          <a:xfrm>
            <a:off x="1355586" y="468512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40"/>
          <p:cNvSpPr txBox="1">
            <a:spLocks noGrp="1"/>
          </p:cNvSpPr>
          <p:nvPr>
            <p:ph type="body" idx="14"/>
          </p:nvPr>
        </p:nvSpPr>
        <p:spPr>
          <a:xfrm>
            <a:off x="6204135" y="4195818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40"/>
          <p:cNvSpPr txBox="1">
            <a:spLocks noGrp="1"/>
          </p:cNvSpPr>
          <p:nvPr>
            <p:ph type="body" idx="15"/>
          </p:nvPr>
        </p:nvSpPr>
        <p:spPr>
          <a:xfrm>
            <a:off x="6204135" y="468512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697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Factors 02">
  <p:cSld name="Four Factors 02">
    <p:bg>
      <p:bgPr>
        <a:solidFill>
          <a:schemeClr val="lt1"/>
        </a:solidFill>
        <a:effectLst/>
      </p:bgPr>
    </p:bg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41"/>
          <p:cNvSpPr/>
          <p:nvPr/>
        </p:nvSpPr>
        <p:spPr>
          <a:xfrm>
            <a:off x="1242689" y="1654664"/>
            <a:ext cx="2426656" cy="24266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16" name="Google Shape;216;p41"/>
          <p:cNvSpPr txBox="1">
            <a:spLocks noGrp="1"/>
          </p:cNvSpPr>
          <p:nvPr>
            <p:ph type="body" idx="1"/>
          </p:nvPr>
        </p:nvSpPr>
        <p:spPr>
          <a:xfrm>
            <a:off x="1905001" y="2103967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41"/>
          <p:cNvSpPr/>
          <p:nvPr/>
        </p:nvSpPr>
        <p:spPr>
          <a:xfrm>
            <a:off x="3666171" y="4083103"/>
            <a:ext cx="2428243" cy="24250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18" name="Google Shape;218;p41"/>
          <p:cNvSpPr/>
          <p:nvPr/>
        </p:nvSpPr>
        <p:spPr>
          <a:xfrm>
            <a:off x="6099175" y="1653077"/>
            <a:ext cx="2426656" cy="24282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19" name="Google Shape;219;p41"/>
          <p:cNvSpPr/>
          <p:nvPr/>
        </p:nvSpPr>
        <p:spPr>
          <a:xfrm>
            <a:off x="8517895" y="4081515"/>
            <a:ext cx="2431416" cy="24282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20" name="Google Shape;220;p41"/>
          <p:cNvSpPr txBox="1">
            <a:spLocks noGrp="1"/>
          </p:cNvSpPr>
          <p:nvPr>
            <p:ph type="body" idx="2"/>
          </p:nvPr>
        </p:nvSpPr>
        <p:spPr>
          <a:xfrm>
            <a:off x="4331809" y="4541415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41"/>
          <p:cNvSpPr txBox="1">
            <a:spLocks noGrp="1"/>
          </p:cNvSpPr>
          <p:nvPr>
            <p:ph type="body" idx="3"/>
          </p:nvPr>
        </p:nvSpPr>
        <p:spPr>
          <a:xfrm>
            <a:off x="6771696" y="2104140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41"/>
          <p:cNvSpPr txBox="1">
            <a:spLocks noGrp="1"/>
          </p:cNvSpPr>
          <p:nvPr>
            <p:ph type="body" idx="4"/>
          </p:nvPr>
        </p:nvSpPr>
        <p:spPr>
          <a:xfrm>
            <a:off x="9190001" y="4541415"/>
            <a:ext cx="1081617" cy="1526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ctr">
              <a:spcBef>
                <a:spcPts val="800"/>
              </a:spcBef>
              <a:spcAft>
                <a:spcPts val="0"/>
              </a:spcAft>
              <a:buSzPts val="11500"/>
              <a:buNone/>
              <a:defRPr sz="15333"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3" name="Google Shape;223;p41"/>
          <p:cNvSpPr txBox="1">
            <a:spLocks noGrp="1"/>
          </p:cNvSpPr>
          <p:nvPr>
            <p:ph type="body" idx="5"/>
          </p:nvPr>
        </p:nvSpPr>
        <p:spPr>
          <a:xfrm>
            <a:off x="3803651" y="1799167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4" name="Google Shape;224;p41"/>
          <p:cNvSpPr txBox="1">
            <a:spLocks noGrp="1"/>
          </p:cNvSpPr>
          <p:nvPr>
            <p:ph type="body" idx="6"/>
          </p:nvPr>
        </p:nvSpPr>
        <p:spPr>
          <a:xfrm>
            <a:off x="3803651" y="228847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5" name="Google Shape;225;p41"/>
          <p:cNvSpPr txBox="1">
            <a:spLocks noGrp="1"/>
          </p:cNvSpPr>
          <p:nvPr>
            <p:ph type="body" idx="7"/>
          </p:nvPr>
        </p:nvSpPr>
        <p:spPr>
          <a:xfrm>
            <a:off x="8648813" y="1799167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6" name="Google Shape;226;p41"/>
          <p:cNvSpPr txBox="1">
            <a:spLocks noGrp="1"/>
          </p:cNvSpPr>
          <p:nvPr>
            <p:ph type="body" idx="8"/>
          </p:nvPr>
        </p:nvSpPr>
        <p:spPr>
          <a:xfrm>
            <a:off x="8648813" y="228847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7" name="Google Shape;227;p41"/>
          <p:cNvSpPr txBox="1">
            <a:spLocks noGrp="1"/>
          </p:cNvSpPr>
          <p:nvPr>
            <p:ph type="body" idx="9"/>
          </p:nvPr>
        </p:nvSpPr>
        <p:spPr>
          <a:xfrm>
            <a:off x="1355586" y="4195818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41"/>
          <p:cNvSpPr txBox="1">
            <a:spLocks noGrp="1"/>
          </p:cNvSpPr>
          <p:nvPr>
            <p:ph type="body" idx="13"/>
          </p:nvPr>
        </p:nvSpPr>
        <p:spPr>
          <a:xfrm>
            <a:off x="1355586" y="468512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29" name="Google Shape;229;p41"/>
          <p:cNvSpPr txBox="1">
            <a:spLocks noGrp="1"/>
          </p:cNvSpPr>
          <p:nvPr>
            <p:ph type="body" idx="14"/>
          </p:nvPr>
        </p:nvSpPr>
        <p:spPr>
          <a:xfrm>
            <a:off x="6204135" y="4195818"/>
            <a:ext cx="2169583" cy="4339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30" name="Google Shape;230;p41"/>
          <p:cNvSpPr txBox="1">
            <a:spLocks noGrp="1"/>
          </p:cNvSpPr>
          <p:nvPr>
            <p:ph type="body" idx="15"/>
          </p:nvPr>
        </p:nvSpPr>
        <p:spPr>
          <a:xfrm>
            <a:off x="6204135" y="4685126"/>
            <a:ext cx="2169583" cy="16659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lnSpc>
                <a:spcPct val="115666"/>
              </a:lnSpc>
              <a:spcBef>
                <a:spcPts val="800"/>
              </a:spcBef>
              <a:spcAft>
                <a:spcPts val="0"/>
              </a:spcAft>
              <a:buSzPts val="1200"/>
              <a:buNone/>
              <a:defRPr sz="1600"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31" name="Google Shape;231;p41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41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296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Factors 03">
  <p:cSld name="Four Factors 03">
    <p:bg>
      <p:bgPr>
        <a:solidFill>
          <a:schemeClr val="accent4"/>
        </a:solidFill>
        <a:effectLst/>
      </p:bgPr>
    </p:bg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42"/>
          <p:cNvSpPr/>
          <p:nvPr/>
        </p:nvSpPr>
        <p:spPr>
          <a:xfrm>
            <a:off x="3053557" y="1786"/>
            <a:ext cx="3047207" cy="68562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5" name="Google Shape;235;p42"/>
          <p:cNvSpPr/>
          <p:nvPr/>
        </p:nvSpPr>
        <p:spPr>
          <a:xfrm>
            <a:off x="6094414" y="893"/>
            <a:ext cx="3047207" cy="685710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6" name="Google Shape;236;p42"/>
          <p:cNvSpPr/>
          <p:nvPr/>
        </p:nvSpPr>
        <p:spPr>
          <a:xfrm>
            <a:off x="9143207" y="893"/>
            <a:ext cx="3047207" cy="6857107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599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37" name="Google Shape;237;p42"/>
          <p:cNvSpPr txBox="1">
            <a:spLocks noGrp="1"/>
          </p:cNvSpPr>
          <p:nvPr>
            <p:ph type="body" idx="1"/>
          </p:nvPr>
        </p:nvSpPr>
        <p:spPr>
          <a:xfrm>
            <a:off x="431801" y="2972648"/>
            <a:ext cx="2281767" cy="1691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38" name="Google Shape;238;p42"/>
          <p:cNvSpPr txBox="1">
            <a:spLocks noGrp="1"/>
          </p:cNvSpPr>
          <p:nvPr>
            <p:ph type="body" idx="2"/>
          </p:nvPr>
        </p:nvSpPr>
        <p:spPr>
          <a:xfrm>
            <a:off x="431801" y="2437978"/>
            <a:ext cx="2281767" cy="467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39" name="Google Shape;239;p42"/>
          <p:cNvSpPr txBox="1">
            <a:spLocks noGrp="1"/>
          </p:cNvSpPr>
          <p:nvPr>
            <p:ph type="body" idx="3"/>
          </p:nvPr>
        </p:nvSpPr>
        <p:spPr>
          <a:xfrm>
            <a:off x="3444517" y="2972648"/>
            <a:ext cx="2281767" cy="1691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40" name="Google Shape;240;p42"/>
          <p:cNvSpPr txBox="1">
            <a:spLocks noGrp="1"/>
          </p:cNvSpPr>
          <p:nvPr>
            <p:ph type="body" idx="4"/>
          </p:nvPr>
        </p:nvSpPr>
        <p:spPr>
          <a:xfrm>
            <a:off x="3444517" y="2437978"/>
            <a:ext cx="2281767" cy="467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41" name="Google Shape;241;p42"/>
          <p:cNvSpPr txBox="1">
            <a:spLocks noGrp="1"/>
          </p:cNvSpPr>
          <p:nvPr>
            <p:ph type="body" idx="5"/>
          </p:nvPr>
        </p:nvSpPr>
        <p:spPr>
          <a:xfrm>
            <a:off x="6491723" y="2972648"/>
            <a:ext cx="2281767" cy="1691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42" name="Google Shape;242;p42"/>
          <p:cNvSpPr txBox="1">
            <a:spLocks noGrp="1"/>
          </p:cNvSpPr>
          <p:nvPr>
            <p:ph type="body" idx="6"/>
          </p:nvPr>
        </p:nvSpPr>
        <p:spPr>
          <a:xfrm>
            <a:off x="6491723" y="2437978"/>
            <a:ext cx="2281767" cy="467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43" name="Google Shape;243;p42"/>
          <p:cNvSpPr txBox="1">
            <a:spLocks noGrp="1"/>
          </p:cNvSpPr>
          <p:nvPr>
            <p:ph type="body" idx="7"/>
          </p:nvPr>
        </p:nvSpPr>
        <p:spPr>
          <a:xfrm>
            <a:off x="9476261" y="2972648"/>
            <a:ext cx="2281767" cy="1691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2133" b="0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44" name="Google Shape;244;p42"/>
          <p:cNvSpPr txBox="1">
            <a:spLocks noGrp="1"/>
          </p:cNvSpPr>
          <p:nvPr>
            <p:ph type="body" idx="8"/>
          </p:nvPr>
        </p:nvSpPr>
        <p:spPr>
          <a:xfrm>
            <a:off x="9476261" y="2437978"/>
            <a:ext cx="2281767" cy="467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42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oboto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42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ADA9A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0558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Factors 04">
  <p:cSld name="Four Factors 04">
    <p:bg>
      <p:bgPr>
        <a:solidFill>
          <a:schemeClr val="accent1"/>
        </a:solidFill>
        <a:effectLst/>
      </p:bgPr>
    </p:bg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43"/>
          <p:cNvSpPr>
            <a:spLocks noGrp="1"/>
          </p:cNvSpPr>
          <p:nvPr>
            <p:ph type="pic" idx="2"/>
          </p:nvPr>
        </p:nvSpPr>
        <p:spPr>
          <a:xfrm>
            <a:off x="0" y="0"/>
            <a:ext cx="7486651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249" name="Google Shape;249;p43"/>
          <p:cNvSpPr txBox="1">
            <a:spLocks noGrp="1"/>
          </p:cNvSpPr>
          <p:nvPr>
            <p:ph type="body" idx="1"/>
          </p:nvPr>
        </p:nvSpPr>
        <p:spPr>
          <a:xfrm>
            <a:off x="7862221" y="1082633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43"/>
          <p:cNvSpPr txBox="1">
            <a:spLocks noGrp="1"/>
          </p:cNvSpPr>
          <p:nvPr>
            <p:ph type="body" idx="3"/>
          </p:nvPr>
        </p:nvSpPr>
        <p:spPr>
          <a:xfrm>
            <a:off x="7862221" y="5432406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1" name="Google Shape;251;p43"/>
          <p:cNvSpPr txBox="1">
            <a:spLocks noGrp="1"/>
          </p:cNvSpPr>
          <p:nvPr>
            <p:ph type="body" idx="4"/>
          </p:nvPr>
        </p:nvSpPr>
        <p:spPr>
          <a:xfrm>
            <a:off x="7862221" y="3982481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2" name="Google Shape;252;p43"/>
          <p:cNvSpPr txBox="1">
            <a:spLocks noGrp="1"/>
          </p:cNvSpPr>
          <p:nvPr>
            <p:ph type="body" idx="5"/>
          </p:nvPr>
        </p:nvSpPr>
        <p:spPr>
          <a:xfrm>
            <a:off x="7862221" y="2532557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1038181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Factors 05">
  <p:cSld name="Four Factors 05">
    <p:bg>
      <p:bgPr>
        <a:solidFill>
          <a:schemeClr val="dk1"/>
        </a:solidFill>
        <a:effectLst/>
      </p:bgPr>
    </p:bg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44"/>
          <p:cNvSpPr>
            <a:spLocks noGrp="1"/>
          </p:cNvSpPr>
          <p:nvPr>
            <p:ph type="pic" idx="2"/>
          </p:nvPr>
        </p:nvSpPr>
        <p:spPr>
          <a:xfrm>
            <a:off x="0" y="0"/>
            <a:ext cx="7486651" cy="6858000"/>
          </a:xfrm>
          <a:prstGeom prst="rect">
            <a:avLst/>
          </a:prstGeom>
          <a:noFill/>
          <a:ln>
            <a:noFill/>
          </a:ln>
        </p:spPr>
      </p:sp>
      <p:sp>
        <p:nvSpPr>
          <p:cNvPr id="255" name="Google Shape;255;p44"/>
          <p:cNvSpPr txBox="1">
            <a:spLocks noGrp="1"/>
          </p:cNvSpPr>
          <p:nvPr>
            <p:ph type="body" idx="1"/>
          </p:nvPr>
        </p:nvSpPr>
        <p:spPr>
          <a:xfrm>
            <a:off x="7862221" y="1082633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>
                <a:solidFill>
                  <a:srgbClr val="3FCC88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p44"/>
          <p:cNvSpPr txBox="1">
            <a:spLocks noGrp="1"/>
          </p:cNvSpPr>
          <p:nvPr>
            <p:ph type="body" idx="3"/>
          </p:nvPr>
        </p:nvSpPr>
        <p:spPr>
          <a:xfrm>
            <a:off x="7862221" y="5432406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>
                <a:solidFill>
                  <a:srgbClr val="3FCC88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7" name="Google Shape;257;p44"/>
          <p:cNvSpPr txBox="1">
            <a:spLocks noGrp="1"/>
          </p:cNvSpPr>
          <p:nvPr>
            <p:ph type="body" idx="4"/>
          </p:nvPr>
        </p:nvSpPr>
        <p:spPr>
          <a:xfrm>
            <a:off x="7862221" y="3982481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>
                <a:solidFill>
                  <a:srgbClr val="3FCC88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58" name="Google Shape;258;p44"/>
          <p:cNvSpPr txBox="1">
            <a:spLocks noGrp="1"/>
          </p:cNvSpPr>
          <p:nvPr>
            <p:ph type="body" idx="5"/>
          </p:nvPr>
        </p:nvSpPr>
        <p:spPr>
          <a:xfrm>
            <a:off x="7862221" y="2532557"/>
            <a:ext cx="3625851" cy="480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>
                <a:solidFill>
                  <a:srgbClr val="3FCC88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 sz="2133"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18771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Factors 01">
  <p:cSld name="Five Factors 01"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45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" name="Google Shape;261;p45"/>
          <p:cNvSpPr/>
          <p:nvPr/>
        </p:nvSpPr>
        <p:spPr>
          <a:xfrm>
            <a:off x="2627488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62" name="Google Shape;262;p45"/>
          <p:cNvSpPr/>
          <p:nvPr/>
        </p:nvSpPr>
        <p:spPr>
          <a:xfrm>
            <a:off x="247695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63" name="Google Shape;263;p45"/>
          <p:cNvSpPr/>
          <p:nvPr/>
        </p:nvSpPr>
        <p:spPr>
          <a:xfrm>
            <a:off x="7387077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64" name="Google Shape;264;p45"/>
          <p:cNvSpPr/>
          <p:nvPr/>
        </p:nvSpPr>
        <p:spPr>
          <a:xfrm>
            <a:off x="5007283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rgbClr val="FFC7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65" name="Google Shape;265;p45"/>
          <p:cNvSpPr/>
          <p:nvPr/>
        </p:nvSpPr>
        <p:spPr>
          <a:xfrm>
            <a:off x="9766871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66" name="Google Shape;266;p45"/>
          <p:cNvSpPr txBox="1">
            <a:spLocks noGrp="1"/>
          </p:cNvSpPr>
          <p:nvPr>
            <p:ph type="body" idx="1"/>
          </p:nvPr>
        </p:nvSpPr>
        <p:spPr>
          <a:xfrm>
            <a:off x="335360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67" name="Google Shape;267;p45"/>
          <p:cNvSpPr txBox="1">
            <a:spLocks noGrp="1"/>
          </p:cNvSpPr>
          <p:nvPr>
            <p:ph type="body" idx="2"/>
          </p:nvPr>
        </p:nvSpPr>
        <p:spPr>
          <a:xfrm>
            <a:off x="2718933" y="2964733"/>
            <a:ext cx="201622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200"/>
              <a:buNone/>
              <a:defRPr sz="1600" b="0"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45"/>
          <p:cNvSpPr txBox="1">
            <a:spLocks noGrp="1"/>
          </p:cNvSpPr>
          <p:nvPr>
            <p:ph type="body" idx="3"/>
          </p:nvPr>
        </p:nvSpPr>
        <p:spPr>
          <a:xfrm>
            <a:off x="271893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69" name="Google Shape;269;p45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45"/>
          <p:cNvSpPr txBox="1">
            <a:spLocks noGrp="1"/>
          </p:cNvSpPr>
          <p:nvPr>
            <p:ph type="body" idx="4"/>
          </p:nvPr>
        </p:nvSpPr>
        <p:spPr>
          <a:xfrm>
            <a:off x="5098728" y="2964733"/>
            <a:ext cx="201622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200"/>
              <a:buNone/>
              <a:defRPr sz="1600" b="0"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71" name="Google Shape;271;p45"/>
          <p:cNvSpPr txBox="1">
            <a:spLocks noGrp="1"/>
          </p:cNvSpPr>
          <p:nvPr>
            <p:ph type="body" idx="5"/>
          </p:nvPr>
        </p:nvSpPr>
        <p:spPr>
          <a:xfrm>
            <a:off x="5098728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72" name="Google Shape;272;p45"/>
          <p:cNvSpPr txBox="1">
            <a:spLocks noGrp="1"/>
          </p:cNvSpPr>
          <p:nvPr>
            <p:ph type="body" idx="6"/>
          </p:nvPr>
        </p:nvSpPr>
        <p:spPr>
          <a:xfrm>
            <a:off x="7478523" y="2964733"/>
            <a:ext cx="201622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200"/>
              <a:buNone/>
              <a:defRPr sz="1600" b="0"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73" name="Google Shape;273;p45"/>
          <p:cNvSpPr txBox="1">
            <a:spLocks noGrp="1"/>
          </p:cNvSpPr>
          <p:nvPr>
            <p:ph type="body" idx="7"/>
          </p:nvPr>
        </p:nvSpPr>
        <p:spPr>
          <a:xfrm>
            <a:off x="747852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45"/>
          <p:cNvSpPr txBox="1">
            <a:spLocks noGrp="1"/>
          </p:cNvSpPr>
          <p:nvPr>
            <p:ph type="body" idx="8"/>
          </p:nvPr>
        </p:nvSpPr>
        <p:spPr>
          <a:xfrm>
            <a:off x="9858316" y="2964733"/>
            <a:ext cx="201622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spcBef>
                <a:spcPts val="0"/>
              </a:spcBef>
              <a:spcAft>
                <a:spcPts val="0"/>
              </a:spcAft>
              <a:buSzPts val="1200"/>
              <a:buNone/>
              <a:defRPr sz="1600" b="0"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4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75" name="Google Shape;275;p45"/>
          <p:cNvSpPr txBox="1">
            <a:spLocks noGrp="1"/>
          </p:cNvSpPr>
          <p:nvPr>
            <p:ph type="body" idx="9"/>
          </p:nvPr>
        </p:nvSpPr>
        <p:spPr>
          <a:xfrm>
            <a:off x="9858316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rgbClr val="000000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45"/>
          <p:cNvSpPr txBox="1">
            <a:spLocks noGrp="1"/>
          </p:cNvSpPr>
          <p:nvPr>
            <p:ph type="body" idx="13"/>
          </p:nvPr>
        </p:nvSpPr>
        <p:spPr>
          <a:xfrm>
            <a:off x="335360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78886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Factors 02">
  <p:cSld name="Five Factors 02">
    <p:bg>
      <p:bgPr>
        <a:solidFill>
          <a:schemeClr val="accent1"/>
        </a:solidFill>
        <a:effectLst/>
      </p:bgPr>
    </p:bg>
    <p:spTree>
      <p:nvGrpSpPr>
        <p:cNvPr id="1" name="Shape 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Google Shape;278;p46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9" name="Google Shape;279;p46"/>
          <p:cNvSpPr/>
          <p:nvPr/>
        </p:nvSpPr>
        <p:spPr>
          <a:xfrm>
            <a:off x="2627488" y="1263781"/>
            <a:ext cx="2199115" cy="470452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80" name="Google Shape;280;p46"/>
          <p:cNvSpPr/>
          <p:nvPr/>
        </p:nvSpPr>
        <p:spPr>
          <a:xfrm>
            <a:off x="247695" y="1263781"/>
            <a:ext cx="2199115" cy="470452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81" name="Google Shape;281;p46"/>
          <p:cNvSpPr/>
          <p:nvPr/>
        </p:nvSpPr>
        <p:spPr>
          <a:xfrm>
            <a:off x="7387077" y="1263781"/>
            <a:ext cx="2199115" cy="470452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82" name="Google Shape;282;p46"/>
          <p:cNvSpPr/>
          <p:nvPr/>
        </p:nvSpPr>
        <p:spPr>
          <a:xfrm>
            <a:off x="5007283" y="1263781"/>
            <a:ext cx="2199115" cy="470452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rgbClr val="FFC7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83" name="Google Shape;283;p46"/>
          <p:cNvSpPr/>
          <p:nvPr/>
        </p:nvSpPr>
        <p:spPr>
          <a:xfrm>
            <a:off x="9766871" y="1263781"/>
            <a:ext cx="2199115" cy="470452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84" name="Google Shape;284;p46"/>
          <p:cNvSpPr txBox="1">
            <a:spLocks noGrp="1"/>
          </p:cNvSpPr>
          <p:nvPr>
            <p:ph type="body" idx="1"/>
          </p:nvPr>
        </p:nvSpPr>
        <p:spPr>
          <a:xfrm>
            <a:off x="335360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46"/>
          <p:cNvSpPr txBox="1">
            <a:spLocks noGrp="1"/>
          </p:cNvSpPr>
          <p:nvPr>
            <p:ph type="body" idx="2"/>
          </p:nvPr>
        </p:nvSpPr>
        <p:spPr>
          <a:xfrm>
            <a:off x="271893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46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46"/>
          <p:cNvSpPr txBox="1">
            <a:spLocks noGrp="1"/>
          </p:cNvSpPr>
          <p:nvPr>
            <p:ph type="body" idx="3"/>
          </p:nvPr>
        </p:nvSpPr>
        <p:spPr>
          <a:xfrm>
            <a:off x="5098728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88" name="Google Shape;288;p46"/>
          <p:cNvSpPr txBox="1">
            <a:spLocks noGrp="1"/>
          </p:cNvSpPr>
          <p:nvPr>
            <p:ph type="body" idx="4"/>
          </p:nvPr>
        </p:nvSpPr>
        <p:spPr>
          <a:xfrm>
            <a:off x="747852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46"/>
          <p:cNvSpPr txBox="1">
            <a:spLocks noGrp="1"/>
          </p:cNvSpPr>
          <p:nvPr>
            <p:ph type="body" idx="5"/>
          </p:nvPr>
        </p:nvSpPr>
        <p:spPr>
          <a:xfrm>
            <a:off x="9858316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0" name="Google Shape;290;p46"/>
          <p:cNvSpPr txBox="1">
            <a:spLocks noGrp="1"/>
          </p:cNvSpPr>
          <p:nvPr>
            <p:ph type="body" idx="6"/>
          </p:nvPr>
        </p:nvSpPr>
        <p:spPr>
          <a:xfrm>
            <a:off x="335360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1" name="Google Shape;291;p46"/>
          <p:cNvSpPr txBox="1">
            <a:spLocks noGrp="1"/>
          </p:cNvSpPr>
          <p:nvPr>
            <p:ph type="body" idx="7"/>
          </p:nvPr>
        </p:nvSpPr>
        <p:spPr>
          <a:xfrm>
            <a:off x="9857356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46"/>
          <p:cNvSpPr txBox="1">
            <a:spLocks noGrp="1"/>
          </p:cNvSpPr>
          <p:nvPr>
            <p:ph type="body" idx="8"/>
          </p:nvPr>
        </p:nvSpPr>
        <p:spPr>
          <a:xfrm>
            <a:off x="2717973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3" name="Google Shape;293;p46"/>
          <p:cNvSpPr txBox="1">
            <a:spLocks noGrp="1"/>
          </p:cNvSpPr>
          <p:nvPr>
            <p:ph type="body" idx="9"/>
          </p:nvPr>
        </p:nvSpPr>
        <p:spPr>
          <a:xfrm>
            <a:off x="5097768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p46"/>
          <p:cNvSpPr txBox="1">
            <a:spLocks noGrp="1"/>
          </p:cNvSpPr>
          <p:nvPr>
            <p:ph type="body" idx="13"/>
          </p:nvPr>
        </p:nvSpPr>
        <p:spPr>
          <a:xfrm>
            <a:off x="7477563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lt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966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Factors 03">
  <p:cSld name="Five Factors 03">
    <p:bg>
      <p:bgPr>
        <a:solidFill>
          <a:schemeClr val="dk2"/>
        </a:solidFill>
        <a:effectLst/>
      </p:bgPr>
    </p:bg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47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Roboto"/>
              <a:buNone/>
              <a:defRPr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47"/>
          <p:cNvSpPr/>
          <p:nvPr/>
        </p:nvSpPr>
        <p:spPr>
          <a:xfrm>
            <a:off x="2627488" y="1263781"/>
            <a:ext cx="2199115" cy="47045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98" name="Google Shape;298;p47"/>
          <p:cNvSpPr/>
          <p:nvPr/>
        </p:nvSpPr>
        <p:spPr>
          <a:xfrm>
            <a:off x="247695" y="1263781"/>
            <a:ext cx="2199115" cy="47045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299" name="Google Shape;299;p47"/>
          <p:cNvSpPr/>
          <p:nvPr/>
        </p:nvSpPr>
        <p:spPr>
          <a:xfrm>
            <a:off x="7387077" y="1263781"/>
            <a:ext cx="2199115" cy="47045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00" name="Google Shape;300;p47"/>
          <p:cNvSpPr/>
          <p:nvPr/>
        </p:nvSpPr>
        <p:spPr>
          <a:xfrm>
            <a:off x="5007283" y="1263781"/>
            <a:ext cx="2199115" cy="47045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rgbClr val="FFC7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01" name="Google Shape;301;p47"/>
          <p:cNvSpPr/>
          <p:nvPr/>
        </p:nvSpPr>
        <p:spPr>
          <a:xfrm>
            <a:off x="9766871" y="1263781"/>
            <a:ext cx="2199115" cy="470452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02" name="Google Shape;302;p47"/>
          <p:cNvSpPr txBox="1">
            <a:spLocks noGrp="1"/>
          </p:cNvSpPr>
          <p:nvPr>
            <p:ph type="body" idx="1"/>
          </p:nvPr>
        </p:nvSpPr>
        <p:spPr>
          <a:xfrm>
            <a:off x="335360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3" name="Google Shape;303;p47"/>
          <p:cNvSpPr txBox="1">
            <a:spLocks noGrp="1"/>
          </p:cNvSpPr>
          <p:nvPr>
            <p:ph type="body" idx="2"/>
          </p:nvPr>
        </p:nvSpPr>
        <p:spPr>
          <a:xfrm>
            <a:off x="271893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47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" name="Google Shape;305;p47"/>
          <p:cNvSpPr txBox="1">
            <a:spLocks noGrp="1"/>
          </p:cNvSpPr>
          <p:nvPr>
            <p:ph type="body" idx="3"/>
          </p:nvPr>
        </p:nvSpPr>
        <p:spPr>
          <a:xfrm>
            <a:off x="5098728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47"/>
          <p:cNvSpPr txBox="1">
            <a:spLocks noGrp="1"/>
          </p:cNvSpPr>
          <p:nvPr>
            <p:ph type="body" idx="4"/>
          </p:nvPr>
        </p:nvSpPr>
        <p:spPr>
          <a:xfrm>
            <a:off x="747852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47"/>
          <p:cNvSpPr txBox="1">
            <a:spLocks noGrp="1"/>
          </p:cNvSpPr>
          <p:nvPr>
            <p:ph type="body" idx="5"/>
          </p:nvPr>
        </p:nvSpPr>
        <p:spPr>
          <a:xfrm>
            <a:off x="9858316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8" name="Google Shape;308;p47"/>
          <p:cNvSpPr txBox="1">
            <a:spLocks noGrp="1"/>
          </p:cNvSpPr>
          <p:nvPr>
            <p:ph type="body" idx="6"/>
          </p:nvPr>
        </p:nvSpPr>
        <p:spPr>
          <a:xfrm>
            <a:off x="335360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47"/>
          <p:cNvSpPr txBox="1">
            <a:spLocks noGrp="1"/>
          </p:cNvSpPr>
          <p:nvPr>
            <p:ph type="body" idx="7"/>
          </p:nvPr>
        </p:nvSpPr>
        <p:spPr>
          <a:xfrm>
            <a:off x="9857356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47"/>
          <p:cNvSpPr txBox="1">
            <a:spLocks noGrp="1"/>
          </p:cNvSpPr>
          <p:nvPr>
            <p:ph type="body" idx="8"/>
          </p:nvPr>
        </p:nvSpPr>
        <p:spPr>
          <a:xfrm>
            <a:off x="2717973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47"/>
          <p:cNvSpPr txBox="1">
            <a:spLocks noGrp="1"/>
          </p:cNvSpPr>
          <p:nvPr>
            <p:ph type="body" idx="9"/>
          </p:nvPr>
        </p:nvSpPr>
        <p:spPr>
          <a:xfrm>
            <a:off x="5097768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47"/>
          <p:cNvSpPr txBox="1">
            <a:spLocks noGrp="1"/>
          </p:cNvSpPr>
          <p:nvPr>
            <p:ph type="body" idx="13"/>
          </p:nvPr>
        </p:nvSpPr>
        <p:spPr>
          <a:xfrm>
            <a:off x="7477563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127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Factors 04">
  <p:cSld name="Five Factors 04">
    <p:bg>
      <p:bgPr>
        <a:solidFill>
          <a:schemeClr val="dk2"/>
        </a:solidFill>
        <a:effectLst/>
      </p:bgPr>
    </p:bg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p48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Roboto"/>
              <a:buNone/>
              <a:defRPr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" name="Google Shape;315;p48"/>
          <p:cNvSpPr/>
          <p:nvPr/>
        </p:nvSpPr>
        <p:spPr>
          <a:xfrm>
            <a:off x="2627488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16" name="Google Shape;316;p48"/>
          <p:cNvSpPr/>
          <p:nvPr/>
        </p:nvSpPr>
        <p:spPr>
          <a:xfrm>
            <a:off x="247695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accen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17" name="Google Shape;317;p48"/>
          <p:cNvSpPr/>
          <p:nvPr/>
        </p:nvSpPr>
        <p:spPr>
          <a:xfrm>
            <a:off x="7387077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18" name="Google Shape;318;p48"/>
          <p:cNvSpPr/>
          <p:nvPr/>
        </p:nvSpPr>
        <p:spPr>
          <a:xfrm>
            <a:off x="5007283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rgbClr val="FFC7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19" name="Google Shape;319;p48"/>
          <p:cNvSpPr/>
          <p:nvPr/>
        </p:nvSpPr>
        <p:spPr>
          <a:xfrm>
            <a:off x="9766871" y="1263781"/>
            <a:ext cx="2199115" cy="47045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marR="0" lvl="0" indent="-121464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None/>
            </a:pPr>
            <a:endParaRPr sz="1867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20" name="Google Shape;320;p48"/>
          <p:cNvSpPr txBox="1">
            <a:spLocks noGrp="1"/>
          </p:cNvSpPr>
          <p:nvPr>
            <p:ph type="body" idx="1"/>
          </p:nvPr>
        </p:nvSpPr>
        <p:spPr>
          <a:xfrm>
            <a:off x="335360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1" name="Google Shape;321;p48"/>
          <p:cNvSpPr txBox="1">
            <a:spLocks noGrp="1"/>
          </p:cNvSpPr>
          <p:nvPr>
            <p:ph type="body" idx="2"/>
          </p:nvPr>
        </p:nvSpPr>
        <p:spPr>
          <a:xfrm>
            <a:off x="271893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2" name="Google Shape;322;p48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48"/>
          <p:cNvSpPr txBox="1">
            <a:spLocks noGrp="1"/>
          </p:cNvSpPr>
          <p:nvPr>
            <p:ph type="body" idx="3"/>
          </p:nvPr>
        </p:nvSpPr>
        <p:spPr>
          <a:xfrm>
            <a:off x="5098728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48"/>
          <p:cNvSpPr txBox="1">
            <a:spLocks noGrp="1"/>
          </p:cNvSpPr>
          <p:nvPr>
            <p:ph type="body" idx="4"/>
          </p:nvPr>
        </p:nvSpPr>
        <p:spPr>
          <a:xfrm>
            <a:off x="7478523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5" name="Google Shape;325;p48"/>
          <p:cNvSpPr txBox="1">
            <a:spLocks noGrp="1"/>
          </p:cNvSpPr>
          <p:nvPr>
            <p:ph type="body" idx="5"/>
          </p:nvPr>
        </p:nvSpPr>
        <p:spPr>
          <a:xfrm>
            <a:off x="9858316" y="1496137"/>
            <a:ext cx="2016224" cy="5764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600"/>
              <a:buNone/>
              <a:defRPr>
                <a:solidFill>
                  <a:schemeClr val="dk1"/>
                </a:solidFill>
              </a:defRPr>
            </a:lvl1pPr>
            <a:lvl2pPr marL="1219170" lvl="1" indent="-434329" algn="l">
              <a:spcBef>
                <a:spcPts val="800"/>
              </a:spcBef>
              <a:spcAft>
                <a:spcPts val="0"/>
              </a:spcAft>
              <a:buSzPts val="1530"/>
              <a:buChar char="•"/>
              <a:defRPr/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530"/>
              <a:buNone/>
              <a:defRPr/>
            </a:lvl3pPr>
            <a:lvl4pPr marL="2438339" lvl="3" indent="-457189" algn="l">
              <a:spcBef>
                <a:spcPts val="400"/>
              </a:spcBef>
              <a:spcAft>
                <a:spcPts val="0"/>
              </a:spcAft>
              <a:buSzPts val="1800"/>
              <a:buChar char="−"/>
              <a:defRPr/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6" name="Google Shape;326;p48"/>
          <p:cNvSpPr txBox="1">
            <a:spLocks noGrp="1"/>
          </p:cNvSpPr>
          <p:nvPr>
            <p:ph type="body" idx="6"/>
          </p:nvPr>
        </p:nvSpPr>
        <p:spPr>
          <a:xfrm>
            <a:off x="335360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48"/>
          <p:cNvSpPr txBox="1">
            <a:spLocks noGrp="1"/>
          </p:cNvSpPr>
          <p:nvPr>
            <p:ph type="body" idx="7"/>
          </p:nvPr>
        </p:nvSpPr>
        <p:spPr>
          <a:xfrm>
            <a:off x="9857356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8" name="Google Shape;328;p48"/>
          <p:cNvSpPr txBox="1">
            <a:spLocks noGrp="1"/>
          </p:cNvSpPr>
          <p:nvPr>
            <p:ph type="body" idx="8"/>
          </p:nvPr>
        </p:nvSpPr>
        <p:spPr>
          <a:xfrm>
            <a:off x="2717973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29" name="Google Shape;329;p48"/>
          <p:cNvSpPr txBox="1">
            <a:spLocks noGrp="1"/>
          </p:cNvSpPr>
          <p:nvPr>
            <p:ph type="body" idx="9"/>
          </p:nvPr>
        </p:nvSpPr>
        <p:spPr>
          <a:xfrm>
            <a:off x="5097768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330" name="Google Shape;330;p48"/>
          <p:cNvSpPr txBox="1">
            <a:spLocks noGrp="1"/>
          </p:cNvSpPr>
          <p:nvPr>
            <p:ph type="body" idx="13"/>
          </p:nvPr>
        </p:nvSpPr>
        <p:spPr>
          <a:xfrm>
            <a:off x="7477563" y="2964733"/>
            <a:ext cx="2017184" cy="27685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dk1"/>
                </a:solidFill>
              </a:defRPr>
            </a:lvl1pPr>
            <a:lvl2pPr marL="1219170" lvl="1" indent="-391149" algn="l">
              <a:spcBef>
                <a:spcPts val="800"/>
              </a:spcBef>
              <a:spcAft>
                <a:spcPts val="0"/>
              </a:spcAft>
              <a:buSzPts val="1020"/>
              <a:buChar char="•"/>
              <a:defRPr sz="1600" b="0">
                <a:solidFill>
                  <a:schemeClr val="accent1"/>
                </a:solidFill>
              </a:defRPr>
            </a:lvl2pPr>
            <a:lvl3pPr marL="1828754" lvl="2" indent="-304792" algn="l">
              <a:spcBef>
                <a:spcPts val="400"/>
              </a:spcBef>
              <a:spcAft>
                <a:spcPts val="0"/>
              </a:spcAft>
              <a:buSzPts val="1020"/>
              <a:buNone/>
              <a:defRPr sz="1600" b="0">
                <a:solidFill>
                  <a:schemeClr val="accent1"/>
                </a:solidFill>
              </a:defRPr>
            </a:lvl3pPr>
            <a:lvl4pPr marL="2438339" lvl="3" indent="-406390" algn="l">
              <a:spcBef>
                <a:spcPts val="400"/>
              </a:spcBef>
              <a:spcAft>
                <a:spcPts val="0"/>
              </a:spcAft>
              <a:buSzPts val="1200"/>
              <a:buChar char="−"/>
              <a:defRPr sz="1600" b="0">
                <a:solidFill>
                  <a:schemeClr val="accent1"/>
                </a:solidFill>
              </a:defRPr>
            </a:lvl4pPr>
            <a:lvl5pPr marL="3047924" lvl="4" indent="-304792" algn="l">
              <a:spcBef>
                <a:spcPts val="800"/>
              </a:spcBef>
              <a:spcAft>
                <a:spcPts val="0"/>
              </a:spcAft>
              <a:buSzPts val="1200"/>
              <a:buNone/>
              <a:defRPr sz="1600" b="0">
                <a:solidFill>
                  <a:schemeClr val="accent1"/>
                </a:solidFill>
              </a:defRPr>
            </a:lvl5pPr>
            <a:lvl6pPr marL="3657509" lvl="5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6pPr>
            <a:lvl7pPr marL="4267093" lvl="6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7pPr>
            <a:lvl8pPr marL="4876678" lvl="7" indent="-304792" algn="l">
              <a:spcBef>
                <a:spcPts val="800"/>
              </a:spcBef>
              <a:spcAft>
                <a:spcPts val="0"/>
              </a:spcAft>
              <a:buSzPts val="1800"/>
              <a:buNone/>
              <a:defRPr/>
            </a:lvl8pPr>
            <a:lvl9pPr marL="5486263" lvl="8" indent="-304792" algn="l">
              <a:spcBef>
                <a:spcPts val="800"/>
              </a:spcBef>
              <a:spcAft>
                <a:spcPts val="400"/>
              </a:spcAft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826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jpeg"/><Relationship Id="rId40" Type="http://schemas.openxmlformats.org/officeDocument/2006/relationships/image" Target="../media/image4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42" Type="http://schemas.openxmlformats.org/officeDocument/2006/relationships/image" Target="../media/image1.jpeg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theme" Target="../theme/theme2.xml"/><Relationship Id="rId45" Type="http://schemas.openxmlformats.org/officeDocument/2006/relationships/image" Target="../media/image4.sv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4" Type="http://schemas.openxmlformats.org/officeDocument/2006/relationships/image" Target="../media/image3.png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54.xml"/><Relationship Id="rId41" Type="http://schemas.openxmlformats.org/officeDocument/2006/relationships/tags" Target="../tags/tag3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42" Type="http://schemas.openxmlformats.org/officeDocument/2006/relationships/slideLayout" Target="../slideLayouts/slideLayout115.xml"/><Relationship Id="rId47" Type="http://schemas.openxmlformats.org/officeDocument/2006/relationships/slideLayout" Target="../slideLayouts/slideLayout120.xml"/><Relationship Id="rId50" Type="http://schemas.openxmlformats.org/officeDocument/2006/relationships/slideLayout" Target="../slideLayouts/slideLayout123.xml"/><Relationship Id="rId55" Type="http://schemas.openxmlformats.org/officeDocument/2006/relationships/slideLayout" Target="../slideLayouts/slideLayout128.xml"/><Relationship Id="rId6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40" Type="http://schemas.openxmlformats.org/officeDocument/2006/relationships/slideLayout" Target="../slideLayouts/slideLayout113.xml"/><Relationship Id="rId45" Type="http://schemas.openxmlformats.org/officeDocument/2006/relationships/slideLayout" Target="../slideLayouts/slideLayout118.xml"/><Relationship Id="rId53" Type="http://schemas.openxmlformats.org/officeDocument/2006/relationships/slideLayout" Target="../slideLayouts/slideLayout126.xml"/><Relationship Id="rId58" Type="http://schemas.openxmlformats.org/officeDocument/2006/relationships/slideLayout" Target="../slideLayouts/slideLayout131.xml"/><Relationship Id="rId66" Type="http://schemas.openxmlformats.org/officeDocument/2006/relationships/theme" Target="../theme/theme3.xml"/><Relationship Id="rId5" Type="http://schemas.openxmlformats.org/officeDocument/2006/relationships/slideLayout" Target="../slideLayouts/slideLayout78.xml"/><Relationship Id="rId61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Relationship Id="rId43" Type="http://schemas.openxmlformats.org/officeDocument/2006/relationships/slideLayout" Target="../slideLayouts/slideLayout116.xml"/><Relationship Id="rId48" Type="http://schemas.openxmlformats.org/officeDocument/2006/relationships/slideLayout" Target="../slideLayouts/slideLayout121.xml"/><Relationship Id="rId56" Type="http://schemas.openxmlformats.org/officeDocument/2006/relationships/slideLayout" Target="../slideLayouts/slideLayout129.xml"/><Relationship Id="rId64" Type="http://schemas.openxmlformats.org/officeDocument/2006/relationships/slideLayout" Target="../slideLayouts/slideLayout137.xml"/><Relationship Id="rId8" Type="http://schemas.openxmlformats.org/officeDocument/2006/relationships/slideLayout" Target="../slideLayouts/slideLayout81.xml"/><Relationship Id="rId51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slideLayout" Target="../slideLayouts/slideLayout111.xml"/><Relationship Id="rId46" Type="http://schemas.openxmlformats.org/officeDocument/2006/relationships/slideLayout" Target="../slideLayouts/slideLayout119.xml"/><Relationship Id="rId59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93.xml"/><Relationship Id="rId41" Type="http://schemas.openxmlformats.org/officeDocument/2006/relationships/slideLayout" Target="../slideLayouts/slideLayout114.xml"/><Relationship Id="rId54" Type="http://schemas.openxmlformats.org/officeDocument/2006/relationships/slideLayout" Target="../slideLayouts/slideLayout127.xml"/><Relationship Id="rId6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49" Type="http://schemas.openxmlformats.org/officeDocument/2006/relationships/slideLayout" Target="../slideLayouts/slideLayout122.xml"/><Relationship Id="rId57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104.xml"/><Relationship Id="rId44" Type="http://schemas.openxmlformats.org/officeDocument/2006/relationships/slideLayout" Target="../slideLayouts/slideLayout117.xml"/><Relationship Id="rId52" Type="http://schemas.openxmlformats.org/officeDocument/2006/relationships/slideLayout" Target="../slideLayouts/slideLayout125.xml"/><Relationship Id="rId60" Type="http://schemas.openxmlformats.org/officeDocument/2006/relationships/slideLayout" Target="../slideLayouts/slideLayout133.xml"/><Relationship Id="rId65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1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slideLayout" Target="../slideLayouts/slideLayout177.xml"/><Relationship Id="rId39" Type="http://schemas.openxmlformats.org/officeDocument/2006/relationships/theme" Target="../theme/theme5.xml"/><Relationship Id="rId21" Type="http://schemas.openxmlformats.org/officeDocument/2006/relationships/slideLayout" Target="../slideLayouts/slideLayout172.xml"/><Relationship Id="rId34" Type="http://schemas.openxmlformats.org/officeDocument/2006/relationships/slideLayout" Target="../slideLayouts/slideLayout185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75.xml"/><Relationship Id="rId32" Type="http://schemas.openxmlformats.org/officeDocument/2006/relationships/slideLayout" Target="../slideLayouts/slideLayout183.xml"/><Relationship Id="rId37" Type="http://schemas.openxmlformats.org/officeDocument/2006/relationships/slideLayout" Target="../slideLayouts/slideLayout188.xml"/><Relationship Id="rId40" Type="http://schemas.openxmlformats.org/officeDocument/2006/relationships/tags" Target="../tags/tag62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slideLayout" Target="../slideLayouts/slideLayout179.xml"/><Relationship Id="rId36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31" Type="http://schemas.openxmlformats.org/officeDocument/2006/relationships/slideLayout" Target="../slideLayouts/slideLayout182.xml"/><Relationship Id="rId44" Type="http://schemas.openxmlformats.org/officeDocument/2006/relationships/image" Target="../media/image1.jpeg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slideLayout" Target="../slideLayouts/slideLayout181.xml"/><Relationship Id="rId35" Type="http://schemas.openxmlformats.org/officeDocument/2006/relationships/slideLayout" Target="../slideLayouts/slideLayout186.xml"/><Relationship Id="rId43" Type="http://schemas.openxmlformats.org/officeDocument/2006/relationships/image" Target="../media/image21.emf"/><Relationship Id="rId8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33" Type="http://schemas.openxmlformats.org/officeDocument/2006/relationships/slideLayout" Target="../slideLayouts/slideLayout184.xml"/><Relationship Id="rId38" Type="http://schemas.openxmlformats.org/officeDocument/2006/relationships/slideLayout" Target="../slideLayouts/slideLayout189.xml"/><Relationship Id="rId46" Type="http://schemas.openxmlformats.org/officeDocument/2006/relationships/image" Target="../media/image22.png"/><Relationship Id="rId20" Type="http://schemas.openxmlformats.org/officeDocument/2006/relationships/slideLayout" Target="../slideLayouts/slideLayout171.xml"/><Relationship Id="rId41" Type="http://schemas.openxmlformats.org/officeDocument/2006/relationships/tags" Target="../tags/tag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99.xml"/><Relationship Id="rId19" Type="http://schemas.openxmlformats.org/officeDocument/2006/relationships/image" Target="../media/image28.png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08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2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slideLayout" Target="../slideLayouts/slideLayout246.xml"/><Relationship Id="rId39" Type="http://schemas.openxmlformats.org/officeDocument/2006/relationships/slideLayout" Target="../slideLayouts/slideLayout259.xml"/><Relationship Id="rId21" Type="http://schemas.openxmlformats.org/officeDocument/2006/relationships/slideLayout" Target="../slideLayouts/slideLayout241.xml"/><Relationship Id="rId34" Type="http://schemas.openxmlformats.org/officeDocument/2006/relationships/slideLayout" Target="../slideLayouts/slideLayout254.xml"/><Relationship Id="rId42" Type="http://schemas.openxmlformats.org/officeDocument/2006/relationships/tags" Target="../tags/tag85.xml"/><Relationship Id="rId7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9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slideLayout" Target="../slideLayouts/slideLayout252.xml"/><Relationship Id="rId37" Type="http://schemas.openxmlformats.org/officeDocument/2006/relationships/slideLayout" Target="../slideLayouts/slideLayout257.xml"/><Relationship Id="rId40" Type="http://schemas.openxmlformats.org/officeDocument/2006/relationships/slideLayout" Target="../slideLayouts/slideLayout260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36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9.xml"/><Relationship Id="rId31" Type="http://schemas.openxmlformats.org/officeDocument/2006/relationships/slideLayout" Target="../slideLayouts/slideLayout25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Relationship Id="rId35" Type="http://schemas.openxmlformats.org/officeDocument/2006/relationships/slideLayout" Target="../slideLayouts/slideLayout255.xml"/><Relationship Id="rId43" Type="http://schemas.openxmlformats.org/officeDocument/2006/relationships/image" Target="../media/image1.jpeg"/><Relationship Id="rId8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33" Type="http://schemas.openxmlformats.org/officeDocument/2006/relationships/slideLayout" Target="../slideLayouts/slideLayout253.xml"/><Relationship Id="rId38" Type="http://schemas.openxmlformats.org/officeDocument/2006/relationships/slideLayout" Target="../slideLayouts/slideLayout258.xml"/><Relationship Id="rId46" Type="http://schemas.openxmlformats.org/officeDocument/2006/relationships/image" Target="../media/image30.svg"/><Relationship Id="rId20" Type="http://schemas.openxmlformats.org/officeDocument/2006/relationships/slideLayout" Target="../slideLayouts/slideLayout240.xml"/><Relationship Id="rId41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B87AD54-AA53-4425-8684-DA14E094C255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05804E-186A-451D-8C75-52A73F7DF0F8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D96217E-D1F3-4897-85B6-A82002FCE05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>
                <a:solidFill>
                  <a:srgbClr val="FFFFFF"/>
                </a:solidFill>
              </a:rPr>
              <a:t>Digital High-voltage Vehicles Training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40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D48A2C7-6A84-4B90-BF6A-DA6EDCE4D0BB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36"/>
    </p:custDataLst>
    <p:extLst>
      <p:ext uri="{BB962C8B-B14F-4D97-AF65-F5344CB8AC3E}">
        <p14:creationId xmlns:p14="http://schemas.microsoft.com/office/powerpoint/2010/main" val="1602535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18" r:id="rId20"/>
    <p:sldLayoutId id="2147483919" r:id="rId21"/>
    <p:sldLayoutId id="2147483920" r:id="rId22"/>
    <p:sldLayoutId id="2147483921" r:id="rId23"/>
    <p:sldLayoutId id="2147483922" r:id="rId24"/>
    <p:sldLayoutId id="2147483923" r:id="rId25"/>
    <p:sldLayoutId id="2147483695" r:id="rId26"/>
    <p:sldLayoutId id="2147483696" r:id="rId27"/>
    <p:sldLayoutId id="2147483697" r:id="rId28"/>
    <p:sldLayoutId id="2147483698" r:id="rId29"/>
    <p:sldLayoutId id="2147483699" r:id="rId30"/>
    <p:sldLayoutId id="2147483700" r:id="rId31"/>
    <p:sldLayoutId id="2147483701" r:id="rId32"/>
    <p:sldLayoutId id="2147483705" r:id="rId33"/>
    <p:sldLayoutId id="2147483925" r:id="rId34"/>
  </p:sldLayoutIdLst>
  <p:transition spd="slow">
    <p:wipe/>
  </p:transition>
  <p:hf hdr="0" dt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B87AD54-AA53-4425-8684-DA14E094C255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05804E-186A-451D-8C75-52A73F7DF0F8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D96217E-D1F3-4897-85B6-A82002FCE05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40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D48A2C7-6A84-4B90-BF6A-DA6EDCE4D0BB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41"/>
    </p:custDataLst>
    <p:extLst>
      <p:ext uri="{BB962C8B-B14F-4D97-AF65-F5344CB8AC3E}">
        <p14:creationId xmlns:p14="http://schemas.microsoft.com/office/powerpoint/2010/main" val="1221229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847" r:id="rId35"/>
    <p:sldLayoutId id="2147483848" r:id="rId36"/>
    <p:sldLayoutId id="2147483895" r:id="rId37"/>
    <p:sldLayoutId id="2147483896" r:id="rId38"/>
    <p:sldLayoutId id="2147483897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8"/>
          <p:cNvSpPr txBox="1">
            <a:spLocks noGrp="1"/>
          </p:cNvSpPr>
          <p:nvPr>
            <p:ph type="body" idx="1"/>
          </p:nvPr>
        </p:nvSpPr>
        <p:spPr>
          <a:xfrm>
            <a:off x="431371" y="1826684"/>
            <a:ext cx="10515600" cy="4349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1600" b="1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31496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360"/>
              <a:buFont typeface="Arial"/>
              <a:buChar char="•"/>
              <a:defRPr sz="1600" b="1" i="0" u="none" strike="noStrike" cap="none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22860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360"/>
              <a:buFont typeface="Roboto"/>
              <a:buNone/>
              <a:defRPr sz="16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330200" algn="l" rtl="0"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Char char="−"/>
              <a:defRPr sz="1600" b="1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oto Sans Symbols"/>
              <a:buNone/>
              <a:defRPr sz="1600" b="1" i="0" u="none" strike="noStrike" cap="none">
                <a:solidFill>
                  <a:schemeClr val="accen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200" b="1" i="0" u="none" strike="noStrike" cap="none">
                <a:solidFill>
                  <a:schemeClr val="accent4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marR="0" lvl="6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200" b="1" i="0" u="none" strike="noStrike" cap="none">
                <a:solidFill>
                  <a:schemeClr val="accent5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marR="0" lvl="7" indent="-228600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00"/>
              <a:buFont typeface="Noto Sans Symbols"/>
              <a:buNone/>
              <a:defRPr sz="1200" b="1" i="0" u="none" strike="noStrike" cap="none">
                <a:solidFill>
                  <a:schemeClr val="accent6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marR="0" lvl="8" indent="-228600" algn="l" rtl="0"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SzPts val="700"/>
              <a:buFont typeface="Noto Sans Symbols"/>
              <a:buNone/>
              <a:defRPr sz="7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0" name="Google Shape;30;p18"/>
          <p:cNvSpPr txBox="1"/>
          <p:nvPr/>
        </p:nvSpPr>
        <p:spPr>
          <a:xfrm>
            <a:off x="0" y="6548755"/>
            <a:ext cx="623392" cy="228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700"/>
              <a:buFont typeface="Noto Sans Symbols"/>
              <a:buNone/>
            </a:pPr>
            <a:fld id="{00000000-1234-1234-1234-123412341234}" type="slidenum">
              <a:rPr lang="de-DE" sz="933" b="0" i="0" u="none" strike="noStrike" cap="none">
                <a:solidFill>
                  <a:srgbClr val="ACA8A8"/>
                </a:solidFill>
                <a:latin typeface="Roboto"/>
                <a:ea typeface="Roboto"/>
                <a:cs typeface="Roboto"/>
                <a:sym typeface="Roboto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700"/>
                <a:buFont typeface="Noto Sans Symbols"/>
                <a:buNone/>
              </a:pPr>
              <a:t>‹#›</a:t>
            </a:fld>
            <a:endParaRPr sz="933" b="0" i="0" u="none" strike="noStrike" cap="none">
              <a:solidFill>
                <a:srgbClr val="ACA8A8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1" name="Google Shape;31;p18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33" b="0" i="0" u="none" strike="noStrike" cap="none">
                <a:solidFill>
                  <a:srgbClr val="ACA8A8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32" name="Google Shape;32;p18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0515600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Roboto"/>
              <a:buNone/>
              <a:defRPr sz="2000" b="1" i="0" u="none" strike="noStrike" cap="none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32448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1" r:id="rId13"/>
    <p:sldLayoutId id="2147483942" r:id="rId14"/>
    <p:sldLayoutId id="2147483943" r:id="rId15"/>
    <p:sldLayoutId id="2147483944" r:id="rId16"/>
    <p:sldLayoutId id="2147483945" r:id="rId17"/>
    <p:sldLayoutId id="2147483946" r:id="rId18"/>
    <p:sldLayoutId id="2147483947" r:id="rId19"/>
    <p:sldLayoutId id="2147483948" r:id="rId20"/>
    <p:sldLayoutId id="2147483949" r:id="rId21"/>
    <p:sldLayoutId id="2147483950" r:id="rId22"/>
    <p:sldLayoutId id="2147483951" r:id="rId23"/>
    <p:sldLayoutId id="2147483952" r:id="rId24"/>
    <p:sldLayoutId id="2147483953" r:id="rId25"/>
    <p:sldLayoutId id="2147483954" r:id="rId26"/>
    <p:sldLayoutId id="2147483955" r:id="rId27"/>
    <p:sldLayoutId id="2147483956" r:id="rId28"/>
    <p:sldLayoutId id="2147483957" r:id="rId29"/>
    <p:sldLayoutId id="2147483958" r:id="rId30"/>
    <p:sldLayoutId id="2147483959" r:id="rId31"/>
    <p:sldLayoutId id="2147483960" r:id="rId32"/>
    <p:sldLayoutId id="2147483961" r:id="rId33"/>
    <p:sldLayoutId id="2147483962" r:id="rId34"/>
    <p:sldLayoutId id="2147483963" r:id="rId35"/>
    <p:sldLayoutId id="2147483964" r:id="rId36"/>
    <p:sldLayoutId id="2147483965" r:id="rId37"/>
    <p:sldLayoutId id="2147483966" r:id="rId38"/>
    <p:sldLayoutId id="2147483967" r:id="rId39"/>
    <p:sldLayoutId id="2147483968" r:id="rId40"/>
    <p:sldLayoutId id="2147483969" r:id="rId41"/>
    <p:sldLayoutId id="2147483970" r:id="rId42"/>
    <p:sldLayoutId id="2147483971" r:id="rId43"/>
    <p:sldLayoutId id="2147483972" r:id="rId44"/>
    <p:sldLayoutId id="2147483973" r:id="rId45"/>
    <p:sldLayoutId id="2147483974" r:id="rId46"/>
    <p:sldLayoutId id="2147483975" r:id="rId47"/>
    <p:sldLayoutId id="2147483976" r:id="rId48"/>
    <p:sldLayoutId id="2147483977" r:id="rId49"/>
    <p:sldLayoutId id="2147483978" r:id="rId50"/>
    <p:sldLayoutId id="2147483979" r:id="rId51"/>
    <p:sldLayoutId id="2147483980" r:id="rId52"/>
    <p:sldLayoutId id="2147483981" r:id="rId53"/>
    <p:sldLayoutId id="2147483982" r:id="rId54"/>
    <p:sldLayoutId id="2147483983" r:id="rId55"/>
    <p:sldLayoutId id="2147483984" r:id="rId56"/>
    <p:sldLayoutId id="2147483985" r:id="rId57"/>
    <p:sldLayoutId id="2147483986" r:id="rId58"/>
    <p:sldLayoutId id="2147483987" r:id="rId59"/>
    <p:sldLayoutId id="2147483988" r:id="rId60"/>
    <p:sldLayoutId id="2147483989" r:id="rId61"/>
    <p:sldLayoutId id="2147483990" r:id="rId62"/>
    <p:sldLayoutId id="2147483991" r:id="rId63"/>
    <p:sldLayoutId id="2147483992" r:id="rId64"/>
    <p:sldLayoutId id="2147483993" r:id="rId6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3026">
          <p15:clr>
            <a:srgbClr val="F26B43"/>
          </p15:clr>
        </p15:guide>
        <p15:guide id="5" orient="horz" pos="418">
          <p15:clr>
            <a:srgbClr val="F26B43"/>
          </p15:clr>
        </p15:guide>
        <p15:guide id="6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Google Shape;669;g121bba83c51_0_109"/>
          <p:cNvSpPr txBox="1">
            <a:spLocks noGrp="1"/>
          </p:cNvSpPr>
          <p:nvPr>
            <p:ph type="title"/>
          </p:nvPr>
        </p:nvSpPr>
        <p:spPr>
          <a:xfrm>
            <a:off x="415600" y="3247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0D9AA"/>
              </a:buClr>
              <a:buSzPts val="2800"/>
              <a:buFont typeface="Inter"/>
              <a:buNone/>
              <a:defRPr sz="2800" b="1">
                <a:solidFill>
                  <a:srgbClr val="00D9AA"/>
                </a:solidFill>
                <a:latin typeface="Inter"/>
                <a:ea typeface="Inter"/>
                <a:cs typeface="Inter"/>
                <a:sym typeface="Inter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Inter Medium"/>
              <a:buNone/>
              <a:defRPr sz="2800">
                <a:solidFill>
                  <a:schemeClr val="dk1"/>
                </a:solidFill>
                <a:latin typeface="Inter Medium"/>
                <a:ea typeface="Inter Medium"/>
                <a:cs typeface="Inter Medium"/>
                <a:sym typeface="Inter Medium"/>
              </a:defRPr>
            </a:lvl9pPr>
          </a:lstStyle>
          <a:p>
            <a:endParaRPr/>
          </a:p>
        </p:txBody>
      </p:sp>
      <p:sp>
        <p:nvSpPr>
          <p:cNvPr id="670" name="Google Shape;670;g121bba83c51_0_109"/>
          <p:cNvSpPr txBox="1">
            <a:spLocks noGrp="1"/>
          </p:cNvSpPr>
          <p:nvPr>
            <p:ph type="body" idx="1"/>
          </p:nvPr>
        </p:nvSpPr>
        <p:spPr>
          <a:xfrm>
            <a:off x="415600" y="1088400"/>
            <a:ext cx="11360800" cy="522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900FF"/>
              </a:buClr>
              <a:buSzPts val="1800"/>
              <a:buFont typeface="Inter"/>
              <a:buChar char="●"/>
              <a:defRPr sz="2400" b="1">
                <a:solidFill>
                  <a:srgbClr val="9900FF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800"/>
              <a:buFont typeface="Inter Medium"/>
              <a:buChar char="⁕"/>
              <a:defRPr sz="1800">
                <a:solidFill>
                  <a:schemeClr val="accent5"/>
                </a:solidFill>
                <a:latin typeface="Inter Medium"/>
                <a:ea typeface="Inter Medium"/>
                <a:cs typeface="Inter Medium"/>
                <a:sym typeface="Inter Medium"/>
              </a:defRPr>
            </a:lvl2pPr>
            <a:lvl3pPr marL="1371600" lvl="2" indent="-3302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8909C"/>
              </a:buClr>
              <a:buSzPts val="1600"/>
              <a:buFont typeface="Inter"/>
              <a:buChar char="𑇑"/>
              <a:defRPr sz="1600" b="1">
                <a:solidFill>
                  <a:srgbClr val="78909C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1828800" lvl="3" indent="-3238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500"/>
              <a:buFont typeface="Inter Medium"/>
              <a:buChar char="↦"/>
              <a:defRPr sz="1500">
                <a:solidFill>
                  <a:schemeClr val="accent3"/>
                </a:solidFill>
                <a:latin typeface="Inter Medium"/>
                <a:ea typeface="Inter Medium"/>
                <a:cs typeface="Inter Medium"/>
                <a:sym typeface="Inter Medium"/>
              </a:defRPr>
            </a:lvl4pPr>
            <a:lvl5pPr marL="2286000" lvl="4" indent="-3111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D9AA"/>
              </a:buClr>
              <a:buSzPts val="1300"/>
              <a:buFont typeface="Inter Medium"/>
              <a:buChar char="●"/>
              <a:defRPr sz="1300">
                <a:solidFill>
                  <a:srgbClr val="00D9AA"/>
                </a:solidFill>
                <a:latin typeface="Inter Medium"/>
                <a:ea typeface="Inter Medium"/>
                <a:cs typeface="Inter Medium"/>
                <a:sym typeface="Inter Medium"/>
              </a:defRPr>
            </a:lvl5pPr>
            <a:lvl6pPr marL="2743200" lvl="5" indent="-3111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9900FF"/>
              </a:buClr>
              <a:buSzPts val="1300"/>
              <a:buFont typeface="Inter Medium"/>
              <a:buChar char="✓"/>
              <a:defRPr sz="1300">
                <a:solidFill>
                  <a:srgbClr val="9900FF"/>
                </a:solidFill>
                <a:latin typeface="Inter Medium"/>
                <a:ea typeface="Inter Medium"/>
                <a:cs typeface="Inter Medium"/>
                <a:sym typeface="Inter Medium"/>
              </a:defRPr>
            </a:lvl6pPr>
            <a:lvl7pPr marL="3200400" lvl="6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78909C"/>
              </a:buClr>
              <a:buSzPts val="1200"/>
              <a:buFont typeface="Inter Medium"/>
              <a:buChar char="·"/>
              <a:defRPr sz="1200">
                <a:solidFill>
                  <a:srgbClr val="78909C"/>
                </a:solidFill>
                <a:latin typeface="Inter Medium"/>
                <a:ea typeface="Inter Medium"/>
                <a:cs typeface="Inter Medium"/>
                <a:sym typeface="Inter Medium"/>
              </a:defRPr>
            </a:lvl7pPr>
            <a:lvl8pPr marL="3657600" lvl="7" indent="-32385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84B"/>
              </a:buClr>
              <a:buSzPts val="1500"/>
              <a:buFont typeface="Inter Medium"/>
              <a:buChar char="￫"/>
              <a:defRPr sz="1200">
                <a:solidFill>
                  <a:srgbClr val="24384B"/>
                </a:solidFill>
                <a:latin typeface="Inter Medium"/>
                <a:ea typeface="Inter Medium"/>
                <a:cs typeface="Inter Medium"/>
                <a:sym typeface="Inter Medium"/>
              </a:defRPr>
            </a:lvl8pPr>
            <a:lvl9pPr marL="4114800" lvl="8" indent="-2921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000"/>
              <a:buFont typeface="Inter Medium"/>
              <a:buChar char="𑁦"/>
              <a:defRPr sz="1000">
                <a:solidFill>
                  <a:schemeClr val="accent5"/>
                </a:solidFill>
                <a:latin typeface="Inter Medium"/>
                <a:ea typeface="Inter Medium"/>
                <a:cs typeface="Inter Medium"/>
                <a:sym typeface="Inter Medium"/>
              </a:defRPr>
            </a:lvl9pPr>
          </a:lstStyle>
          <a:p>
            <a:endParaRPr/>
          </a:p>
        </p:txBody>
      </p:sp>
      <p:sp>
        <p:nvSpPr>
          <p:cNvPr id="671" name="Google Shape;671;g121bba83c51_0_109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1pPr>
            <a:lvl2pPr lvl="1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2pPr>
            <a:lvl3pPr lvl="2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3pPr>
            <a:lvl4pPr lvl="3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4pPr>
            <a:lvl5pPr lvl="4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5pPr>
            <a:lvl6pPr lvl="5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6pPr>
            <a:lvl7pPr lvl="6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7pPr>
            <a:lvl8pPr lvl="7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8pPr>
            <a:lvl9pPr lvl="8" algn="r" rtl="0">
              <a:buNone/>
              <a:defRPr sz="1333">
                <a:solidFill>
                  <a:schemeClr val="dk2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fld id="{00000000-1234-1234-1234-123412341234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672" name="Google Shape;672;g121bba83c51_0_109"/>
          <p:cNvPicPr preferRelativeResize="0"/>
          <p:nvPr/>
        </p:nvPicPr>
        <p:blipFill rotWithShape="1">
          <a:blip r:embed="rId15">
            <a:alphaModFix/>
          </a:blip>
          <a:srcRect l="16125" t="19860" r="16516" b="19884"/>
          <a:stretch/>
        </p:blipFill>
        <p:spPr>
          <a:xfrm>
            <a:off x="11192801" y="311901"/>
            <a:ext cx="668865" cy="5983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867949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4" hidden="1">
            <a:extLst>
              <a:ext uri="{FF2B5EF4-FFF2-40B4-BE49-F238E27FC236}">
                <a16:creationId xmlns:a16="http://schemas.microsoft.com/office/drawing/2014/main" id="{88604101-4BD3-40AE-9994-1CD82C2FF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78" imgH="377" progId="">
                  <p:embed/>
                </p:oleObj>
              </mc:Choice>
              <mc:Fallback>
                <p:oleObj name="think-cell Slide" r:id="rId42" imgW="378" imgH="377" progId="">
                  <p:embed/>
                  <p:pic>
                    <p:nvPicPr>
                      <p:cNvPr id="4098" name="Object 4" hidden="1">
                        <a:extLst>
                          <a:ext uri="{FF2B5EF4-FFF2-40B4-BE49-F238E27FC236}">
                            <a16:creationId xmlns:a16="http://schemas.microsoft.com/office/drawing/2014/main" id="{88604101-4BD3-40AE-9994-1CD82C2FF3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59088FF-4AEA-40BF-B7AE-795EAC6D5B98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Grafik 10">
            <a:extLst>
              <a:ext uri="{FF2B5EF4-FFF2-40B4-BE49-F238E27FC236}">
                <a16:creationId xmlns:a16="http://schemas.microsoft.com/office/drawing/2014/main" id="{2A680048-BC30-4DC7-AA5F-9E9B424F9698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11AF19C-EE0F-4307-A23D-67CCC8697C3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F8630C-D4D3-4C9A-918E-8B972E75143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15938" y="338138"/>
            <a:ext cx="7307262" cy="538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9C2BC4-17FC-415E-863B-04A8977C3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38" y="6492875"/>
            <a:ext cx="41830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0EB800-7746-49BF-A782-8D75DAC5E8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888" y="6492875"/>
            <a:ext cx="603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CA2F3C03-1081-4155-A277-14FC17ADBD0C}" type="slidenum">
              <a:rPr lang="de-DE" altLang="fr-FR"/>
              <a:pPr/>
              <a:t>‹#›</a:t>
            </a:fld>
            <a:endParaRPr lang="de-DE" altLang="fr-FR"/>
          </a:p>
        </p:txBody>
      </p:sp>
      <p:pic>
        <p:nvPicPr>
          <p:cNvPr id="4107" name="Grafik 9">
            <a:extLst>
              <a:ext uri="{FF2B5EF4-FFF2-40B4-BE49-F238E27FC236}">
                <a16:creationId xmlns:a16="http://schemas.microsoft.com/office/drawing/2014/main" id="{8FD97545-F8D4-4D84-A3C8-A33CCFCA9D5A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40"/>
    </p:custDataLst>
    <p:extLst>
      <p:ext uri="{BB962C8B-B14F-4D97-AF65-F5344CB8AC3E}">
        <p14:creationId xmlns:p14="http://schemas.microsoft.com/office/powerpoint/2010/main" val="4250898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20" r:id="rId12"/>
    <p:sldLayoutId id="2147484021" r:id="rId13"/>
    <p:sldLayoutId id="2147484022" r:id="rId14"/>
    <p:sldLayoutId id="2147484023" r:id="rId15"/>
    <p:sldLayoutId id="2147484024" r:id="rId16"/>
    <p:sldLayoutId id="2147484025" r:id="rId17"/>
    <p:sldLayoutId id="2147484026" r:id="rId18"/>
    <p:sldLayoutId id="2147484027" r:id="rId19"/>
    <p:sldLayoutId id="2147484028" r:id="rId20"/>
    <p:sldLayoutId id="2147484029" r:id="rId21"/>
    <p:sldLayoutId id="2147484030" r:id="rId22"/>
    <p:sldLayoutId id="2147484031" r:id="rId23"/>
    <p:sldLayoutId id="2147484032" r:id="rId24"/>
    <p:sldLayoutId id="2147484033" r:id="rId25"/>
    <p:sldLayoutId id="2147484034" r:id="rId26"/>
    <p:sldLayoutId id="2147484035" r:id="rId27"/>
    <p:sldLayoutId id="2147484036" r:id="rId28"/>
    <p:sldLayoutId id="2147484037" r:id="rId29"/>
    <p:sldLayoutId id="2147484038" r:id="rId30"/>
    <p:sldLayoutId id="2147484039" r:id="rId31"/>
    <p:sldLayoutId id="2147484040" r:id="rId32"/>
    <p:sldLayoutId id="2147484041" r:id="rId33"/>
    <p:sldLayoutId id="2147484042" r:id="rId34"/>
    <p:sldLayoutId id="2147484043" r:id="rId35"/>
    <p:sldLayoutId id="2147484044" r:id="rId36"/>
    <p:sldLayoutId id="2147484045" r:id="rId37"/>
    <p:sldLayoutId id="2147484046" r:id="rId38"/>
  </p:sldLayoutIdLst>
  <p:transition spd="med">
    <p:fade/>
  </p:transition>
  <p:hf hdr="0" ftr="0" dt="0"/>
  <p:txStyles>
    <p:titleStyle>
      <a:lvl1pPr marL="85725" algn="l" defTabSz="1217613" rtl="0" eaLnBrk="0" fontAlgn="base" hangingPunct="0">
        <a:spcBef>
          <a:spcPct val="0"/>
        </a:spcBef>
        <a:spcAft>
          <a:spcPct val="0"/>
        </a:spcAft>
        <a:defRPr sz="2800" b="1" kern="1200" spc="20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  <a:lvl2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2pPr>
      <a:lvl3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3pPr>
      <a:lvl4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4pPr>
      <a:lvl5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5pPr>
      <a:lvl6pPr marL="5429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6pPr>
      <a:lvl7pPr marL="10001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7pPr>
      <a:lvl8pPr marL="14573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8pPr>
      <a:lvl9pPr marL="19145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9pPr>
    </p:titleStyle>
    <p:bodyStyle>
      <a:lvl1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9201" y="450001"/>
            <a:ext cx="5842900" cy="4569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noProof="0"/>
              <a:t>Titl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5E44C7-B733-4C94-8ACB-6CB4D0AB2C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4622" y="6402233"/>
            <a:ext cx="407247" cy="182563"/>
          </a:xfrm>
          <a:prstGeom prst="rect">
            <a:avLst/>
          </a:prstGeom>
        </p:spPr>
        <p:txBody>
          <a:bodyPr anchor="ctr"/>
          <a:lstStyle>
            <a:lvl1pPr algn="ctr">
              <a:defRPr lang="de-DE" sz="80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n-US" noProof="0"/>
              <a:t>e</a:t>
            </a:r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FDC77516-F218-409A-8E21-9C9C19B13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2770" y="6402520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EKRA Corporate Presentation 2022/01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E672F80-0943-46D0-8585-1DA2BB8E38D1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E6A93A2C-F960-4D49-8612-0D4EEAC004B2}"/>
              </a:ext>
            </a:extLst>
          </p:cNvPr>
          <p:cNvSpPr txBox="1">
            <a:spLocks/>
          </p:cNvSpPr>
          <p:nvPr userDrawn="1"/>
        </p:nvSpPr>
        <p:spPr>
          <a:xfrm>
            <a:off x="784139" y="2334351"/>
            <a:ext cx="10492932" cy="421791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8C4F"/>
              </a:buClr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8C4F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8C4F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8C4F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B0C97B2-DC52-4C3B-8DFC-1446D3042532}"/>
              </a:ext>
            </a:extLst>
          </p:cNvPr>
          <p:cNvSpPr txBox="1">
            <a:spLocks/>
          </p:cNvSpPr>
          <p:nvPr userDrawn="1"/>
        </p:nvSpPr>
        <p:spPr>
          <a:xfrm>
            <a:off x="799200" y="811333"/>
            <a:ext cx="10515600" cy="4569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5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25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1CAB64D-29C4-47C3-AE6F-9D4A099E51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9201" y="830901"/>
            <a:ext cx="5842900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Sub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3C244F6-C965-40C0-82E0-0F20CCA9EE68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5761" y="6134101"/>
            <a:ext cx="476251" cy="47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599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5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501">
          <p15:clr>
            <a:srgbClr val="F26B43"/>
          </p15:clr>
        </p15:guide>
        <p15:guide id="3" pos="7184">
          <p15:clr>
            <a:srgbClr val="F26B43"/>
          </p15:clr>
        </p15:guide>
        <p15:guide id="4" pos="438">
          <p15:clr>
            <a:srgbClr val="F26B43"/>
          </p15:clr>
        </p15:guide>
        <p15:guide id="5" orient="horz" pos="731">
          <p15:clr>
            <a:srgbClr val="F26B43"/>
          </p15:clr>
        </p15:guide>
        <p15:guide id="6" orient="horz" pos="416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99200" y="450001"/>
            <a:ext cx="3793120" cy="4569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endParaRPr lang="en-US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FDC77516-F218-409A-8E21-9C9C19B13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1871" y="6414425"/>
            <a:ext cx="2092049" cy="182563"/>
          </a:xfrm>
          <a:prstGeom prst="rect">
            <a:avLst/>
          </a:prstGeom>
        </p:spPr>
        <p:txBody>
          <a:bodyPr/>
          <a:lstStyle>
            <a:lvl1pPr algn="l">
              <a:defRPr lang="de-DE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06048F43-F8A2-4FFE-95C5-3E8981B387FC}"/>
              </a:ext>
            </a:extLst>
          </p:cNvPr>
          <p:cNvSpPr txBox="1"/>
          <p:nvPr userDrawn="1"/>
        </p:nvSpPr>
        <p:spPr>
          <a:xfrm>
            <a:off x="412972" y="6394923"/>
            <a:ext cx="309662" cy="215425"/>
          </a:xfrm>
          <a:prstGeom prst="rect">
            <a:avLst/>
          </a:prstGeom>
          <a:noFill/>
        </p:spPr>
        <p:txBody>
          <a:bodyPr wrap="none" lIns="91421" tIns="45711" rIns="91421" bIns="45711" rtlCol="0">
            <a:spAutoFit/>
          </a:bodyPr>
          <a:lstStyle/>
          <a:p>
            <a:pPr algn="ctr"/>
            <a:fld id="{260E2A6B-A809-4840-BF14-8648BC0BDF87}" type="slidenum">
              <a:rPr lang="id-ID" sz="8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ctr"/>
              <a:t>‹#›</a:t>
            </a:fld>
            <a:endParaRPr lang="id-ID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0386401-674B-45BB-A768-2A86109384B5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6"/>
          <a:srcRect t="1377" r="2016"/>
          <a:stretch/>
        </p:blipFill>
        <p:spPr>
          <a:xfrm>
            <a:off x="11404800" y="6134400"/>
            <a:ext cx="475200" cy="4752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2E672F80-0943-46D0-8585-1DA2BB8E38D1}"/>
              </a:ext>
            </a:extLst>
          </p:cNvPr>
          <p:cNvSpPr/>
          <p:nvPr userDrawn="1"/>
        </p:nvSpPr>
        <p:spPr>
          <a:xfrm>
            <a:off x="3" y="6552262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37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E6A93A2C-F960-4D49-8612-0D4EEAC004B2}"/>
              </a:ext>
            </a:extLst>
          </p:cNvPr>
          <p:cNvSpPr txBox="1">
            <a:spLocks/>
          </p:cNvSpPr>
          <p:nvPr userDrawn="1"/>
        </p:nvSpPr>
        <p:spPr>
          <a:xfrm>
            <a:off x="821869" y="1520186"/>
            <a:ext cx="10492932" cy="421791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8C4F"/>
              </a:buClr>
              <a:buFont typeface="Wingdings" panose="05000000000000000000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8C4F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8C4F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8C4F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20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9B0C97B2-DC52-4C3B-8DFC-1446D3042532}"/>
              </a:ext>
            </a:extLst>
          </p:cNvPr>
          <p:cNvSpPr txBox="1">
            <a:spLocks/>
          </p:cNvSpPr>
          <p:nvPr userDrawn="1"/>
        </p:nvSpPr>
        <p:spPr>
          <a:xfrm>
            <a:off x="799200" y="811333"/>
            <a:ext cx="10515600" cy="4569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5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250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71CAB64D-29C4-47C3-AE6F-9D4A099E51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9200" y="830901"/>
            <a:ext cx="3793120" cy="307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err="1"/>
              <a:t>Subtitel</a:t>
            </a:r>
            <a:r>
              <a:rPr lang="de-DE"/>
              <a:t> bearbeiten</a:t>
            </a:r>
          </a:p>
        </p:txBody>
      </p:sp>
    </p:spTree>
    <p:extLst>
      <p:ext uri="{BB962C8B-B14F-4D97-AF65-F5344CB8AC3E}">
        <p14:creationId xmlns:p14="http://schemas.microsoft.com/office/powerpoint/2010/main" val="3113374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7" r:id="rId2"/>
    <p:sldLayoutId id="2147484068" r:id="rId3"/>
    <p:sldLayoutId id="2147484069" r:id="rId4"/>
    <p:sldLayoutId id="2147484070" r:id="rId5"/>
    <p:sldLayoutId id="2147484071" r:id="rId6"/>
    <p:sldLayoutId id="2147484072" r:id="rId7"/>
    <p:sldLayoutId id="2147484073" r:id="rId8"/>
    <p:sldLayoutId id="2147484074" r:id="rId9"/>
    <p:sldLayoutId id="2147484075" r:id="rId10"/>
    <p:sldLayoutId id="2147484076" r:id="rId11"/>
    <p:sldLayoutId id="2147484077" r:id="rId12"/>
    <p:sldLayoutId id="2147484078" r:id="rId13"/>
    <p:sldLayoutId id="2147484079" r:id="rId14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500" b="1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B87AD54-AA53-4425-8684-DA14E094C255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05804E-186A-451D-8C75-52A73F7DF0F8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D96217E-D1F3-4897-85B6-A82002FCE05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fr-FR"/>
              <a:t>RFQ Groupe PSA Service Excellent Program – DEKRA response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40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D48A2C7-6A84-4B90-BF6A-DA6EDCE4D0BB}"/>
              </a:ext>
            </a:extLst>
          </p:cNvPr>
          <p:cNvPicPr>
            <a:picLocks noChangeAspect="1"/>
          </p:cNvPicPr>
          <p:nvPr userDrawn="1"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0080000" y="360000"/>
            <a:ext cx="1461617" cy="417600"/>
          </a:xfrm>
          <a:prstGeom prst="rect">
            <a:avLst/>
          </a:prstGeom>
        </p:spPr>
      </p:pic>
    </p:spTree>
    <p:custDataLst>
      <p:tags r:id="rId42"/>
    </p:custDataLst>
    <p:extLst>
      <p:ext uri="{BB962C8B-B14F-4D97-AF65-F5344CB8AC3E}">
        <p14:creationId xmlns:p14="http://schemas.microsoft.com/office/powerpoint/2010/main" val="3846302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  <p:sldLayoutId id="2147484093" r:id="rId12"/>
    <p:sldLayoutId id="2147484094" r:id="rId13"/>
    <p:sldLayoutId id="2147484095" r:id="rId14"/>
    <p:sldLayoutId id="2147484096" r:id="rId15"/>
    <p:sldLayoutId id="2147484097" r:id="rId16"/>
    <p:sldLayoutId id="2147484098" r:id="rId17"/>
    <p:sldLayoutId id="2147484099" r:id="rId18"/>
    <p:sldLayoutId id="2147484100" r:id="rId19"/>
    <p:sldLayoutId id="2147484101" r:id="rId20"/>
    <p:sldLayoutId id="2147484102" r:id="rId21"/>
    <p:sldLayoutId id="2147484103" r:id="rId22"/>
    <p:sldLayoutId id="2147484104" r:id="rId23"/>
    <p:sldLayoutId id="2147484105" r:id="rId24"/>
    <p:sldLayoutId id="2147484106" r:id="rId25"/>
    <p:sldLayoutId id="2147484107" r:id="rId26"/>
    <p:sldLayoutId id="2147484108" r:id="rId27"/>
    <p:sldLayoutId id="2147484109" r:id="rId28"/>
    <p:sldLayoutId id="2147484110" r:id="rId29"/>
    <p:sldLayoutId id="2147484111" r:id="rId30"/>
    <p:sldLayoutId id="2147484112" r:id="rId31"/>
    <p:sldLayoutId id="2147484113" r:id="rId32"/>
    <p:sldLayoutId id="2147484114" r:id="rId33"/>
    <p:sldLayoutId id="2147484115" r:id="rId34"/>
    <p:sldLayoutId id="2147484116" r:id="rId35"/>
    <p:sldLayoutId id="2147484117" r:id="rId36"/>
    <p:sldLayoutId id="2147484118" r:id="rId37"/>
    <p:sldLayoutId id="2147484119" r:id="rId38"/>
    <p:sldLayoutId id="2147484120" r:id="rId39"/>
    <p:sldLayoutId id="2147484121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18.xml"/><Relationship Id="rId4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2.xml"/><Relationship Id="rId6" Type="http://schemas.openxmlformats.org/officeDocument/2006/relationships/image" Target="../media/image70.png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1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svg"/><Relationship Id="rId18" Type="http://schemas.openxmlformats.org/officeDocument/2006/relationships/image" Target="../media/image87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76.svg"/><Relationship Id="rId12" Type="http://schemas.openxmlformats.org/officeDocument/2006/relationships/image" Target="../media/image81.png"/><Relationship Id="rId17" Type="http://schemas.openxmlformats.org/officeDocument/2006/relationships/image" Target="../media/image86.svg"/><Relationship Id="rId2" Type="http://schemas.openxmlformats.org/officeDocument/2006/relationships/slideLayout" Target="../slideLayouts/slideLayout217.xml"/><Relationship Id="rId16" Type="http://schemas.openxmlformats.org/officeDocument/2006/relationships/image" Target="../media/image85.png"/><Relationship Id="rId1" Type="http://schemas.openxmlformats.org/officeDocument/2006/relationships/tags" Target="../tags/tag120.xml"/><Relationship Id="rId6" Type="http://schemas.openxmlformats.org/officeDocument/2006/relationships/image" Target="../media/image75.png"/><Relationship Id="rId11" Type="http://schemas.openxmlformats.org/officeDocument/2006/relationships/image" Target="../media/image80.jpeg"/><Relationship Id="rId5" Type="http://schemas.openxmlformats.org/officeDocument/2006/relationships/image" Target="../media/image74.svg"/><Relationship Id="rId15" Type="http://schemas.openxmlformats.org/officeDocument/2006/relationships/image" Target="../media/image84.sv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svg"/><Relationship Id="rId14" Type="http://schemas.openxmlformats.org/officeDocument/2006/relationships/image" Target="../media/image8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jpeg"/><Relationship Id="rId13" Type="http://schemas.openxmlformats.org/officeDocument/2006/relationships/image" Target="../media/image97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21.xml"/><Relationship Id="rId6" Type="http://schemas.openxmlformats.org/officeDocument/2006/relationships/image" Target="../media/image90.png"/><Relationship Id="rId11" Type="http://schemas.openxmlformats.org/officeDocument/2006/relationships/image" Target="../media/image95.png"/><Relationship Id="rId5" Type="http://schemas.openxmlformats.org/officeDocument/2006/relationships/image" Target="../media/image89.jpeg"/><Relationship Id="rId10" Type="http://schemas.openxmlformats.org/officeDocument/2006/relationships/image" Target="../media/image94.png"/><Relationship Id="rId4" Type="http://schemas.openxmlformats.org/officeDocument/2006/relationships/image" Target="../media/image88.png"/><Relationship Id="rId9" Type="http://schemas.openxmlformats.org/officeDocument/2006/relationships/image" Target="../media/image9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13" Type="http://schemas.openxmlformats.org/officeDocument/2006/relationships/image" Target="../media/image108.svg"/><Relationship Id="rId18" Type="http://schemas.openxmlformats.org/officeDocument/2006/relationships/image" Target="../media/image73.png"/><Relationship Id="rId26" Type="http://schemas.openxmlformats.org/officeDocument/2006/relationships/image" Target="../media/image83.png"/><Relationship Id="rId3" Type="http://schemas.openxmlformats.org/officeDocument/2006/relationships/image" Target="../media/image98.png"/><Relationship Id="rId21" Type="http://schemas.openxmlformats.org/officeDocument/2006/relationships/image" Target="../media/image76.svg"/><Relationship Id="rId7" Type="http://schemas.openxmlformats.org/officeDocument/2006/relationships/image" Target="../media/image102.png"/><Relationship Id="rId12" Type="http://schemas.openxmlformats.org/officeDocument/2006/relationships/image" Target="../media/image107.svg"/><Relationship Id="rId17" Type="http://schemas.openxmlformats.org/officeDocument/2006/relationships/image" Target="../media/image112.svg"/><Relationship Id="rId25" Type="http://schemas.openxmlformats.org/officeDocument/2006/relationships/image" Target="../media/image82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11.svg"/><Relationship Id="rId20" Type="http://schemas.openxmlformats.org/officeDocument/2006/relationships/image" Target="../media/image75.png"/><Relationship Id="rId29" Type="http://schemas.openxmlformats.org/officeDocument/2006/relationships/image" Target="../media/image86.sv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01.svg"/><Relationship Id="rId11" Type="http://schemas.openxmlformats.org/officeDocument/2006/relationships/image" Target="../media/image106.png"/><Relationship Id="rId24" Type="http://schemas.openxmlformats.org/officeDocument/2006/relationships/image" Target="../media/image81.png"/><Relationship Id="rId5" Type="http://schemas.openxmlformats.org/officeDocument/2006/relationships/image" Target="../media/image100.png"/><Relationship Id="rId15" Type="http://schemas.openxmlformats.org/officeDocument/2006/relationships/image" Target="../media/image110.svg"/><Relationship Id="rId23" Type="http://schemas.openxmlformats.org/officeDocument/2006/relationships/image" Target="../media/image78.svg"/><Relationship Id="rId28" Type="http://schemas.openxmlformats.org/officeDocument/2006/relationships/image" Target="../media/image85.png"/><Relationship Id="rId10" Type="http://schemas.openxmlformats.org/officeDocument/2006/relationships/image" Target="../media/image105.svg"/><Relationship Id="rId19" Type="http://schemas.openxmlformats.org/officeDocument/2006/relationships/image" Target="../media/image74.svg"/><Relationship Id="rId4" Type="http://schemas.openxmlformats.org/officeDocument/2006/relationships/image" Target="../media/image99.svg"/><Relationship Id="rId9" Type="http://schemas.openxmlformats.org/officeDocument/2006/relationships/image" Target="../media/image104.png"/><Relationship Id="rId14" Type="http://schemas.openxmlformats.org/officeDocument/2006/relationships/image" Target="../media/image109.svg"/><Relationship Id="rId22" Type="http://schemas.openxmlformats.org/officeDocument/2006/relationships/image" Target="../media/image77.png"/><Relationship Id="rId27" Type="http://schemas.openxmlformats.org/officeDocument/2006/relationships/image" Target="../media/image84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svg"/><Relationship Id="rId7" Type="http://schemas.openxmlformats.org/officeDocument/2006/relationships/image" Target="../media/image103.sv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102.png"/><Relationship Id="rId11" Type="http://schemas.openxmlformats.org/officeDocument/2006/relationships/image" Target="../media/image107.svg"/><Relationship Id="rId5" Type="http://schemas.openxmlformats.org/officeDocument/2006/relationships/image" Target="../media/image101.svg"/><Relationship Id="rId10" Type="http://schemas.openxmlformats.org/officeDocument/2006/relationships/image" Target="../media/image106.png"/><Relationship Id="rId4" Type="http://schemas.openxmlformats.org/officeDocument/2006/relationships/image" Target="../media/image100.png"/><Relationship Id="rId9" Type="http://schemas.openxmlformats.org/officeDocument/2006/relationships/image" Target="../media/image105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5.xml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1.xml"/><Relationship Id="rId4" Type="http://schemas.openxmlformats.org/officeDocument/2006/relationships/image" Target="../media/image11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wmf"/><Relationship Id="rId3" Type="http://schemas.openxmlformats.org/officeDocument/2006/relationships/image" Target="../media/image119.jpg"/><Relationship Id="rId7" Type="http://schemas.openxmlformats.org/officeDocument/2006/relationships/image" Target="../media/image123.w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22.wmf"/><Relationship Id="rId5" Type="http://schemas.openxmlformats.org/officeDocument/2006/relationships/image" Target="../media/image121.wmf"/><Relationship Id="rId4" Type="http://schemas.openxmlformats.org/officeDocument/2006/relationships/image" Target="../media/image120.wmf"/><Relationship Id="rId9" Type="http://schemas.openxmlformats.org/officeDocument/2006/relationships/image" Target="../media/image125.w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jpg"/><Relationship Id="rId9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4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svg"/><Relationship Id="rId3" Type="http://schemas.openxmlformats.org/officeDocument/2006/relationships/image" Target="../media/image49.png"/><Relationship Id="rId7" Type="http://schemas.openxmlformats.org/officeDocument/2006/relationships/image" Target="../media/image53.svg"/><Relationship Id="rId12" Type="http://schemas.openxmlformats.org/officeDocument/2006/relationships/image" Target="../media/image5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6.xml"/><Relationship Id="rId6" Type="http://schemas.openxmlformats.org/officeDocument/2006/relationships/image" Target="../media/image52.png"/><Relationship Id="rId11" Type="http://schemas.openxmlformats.org/officeDocument/2006/relationships/image" Target="../media/image57.svg"/><Relationship Id="rId5" Type="http://schemas.openxmlformats.org/officeDocument/2006/relationships/image" Target="../media/image51.sv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9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98.xml"/><Relationship Id="rId6" Type="http://schemas.openxmlformats.org/officeDocument/2006/relationships/image" Target="../media/image65.jpg"/><Relationship Id="rId5" Type="http://schemas.openxmlformats.org/officeDocument/2006/relationships/image" Target="../media/image64.jpg"/><Relationship Id="rId4" Type="http://schemas.openxmlformats.org/officeDocument/2006/relationships/image" Target="../media/image6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01FE7F7-7C1F-4D4B-8097-B9A342FAF1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9229" y="386443"/>
            <a:ext cx="7179128" cy="1758043"/>
          </a:xfrm>
        </p:spPr>
        <p:txBody>
          <a:bodyPr/>
          <a:lstStyle/>
          <a:p>
            <a:r>
              <a:rPr lang="sr-Latn-RS" sz="2800" b="1" dirty="0">
                <a:solidFill>
                  <a:srgbClr val="007D40"/>
                </a:solidFill>
                <a:latin typeface="+mj-lt"/>
              </a:rPr>
              <a:t>Neophodnost standardizacije i kontrole sredstava e-mobilnosti tokom životnog ciklusa i obuka korisnika</a:t>
            </a:r>
            <a:endParaRPr lang="de-DE" sz="2800" dirty="0">
              <a:solidFill>
                <a:srgbClr val="007D40"/>
              </a:solidFill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47C429-7BBC-61EB-C540-61903CBF66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229" y="4392386"/>
            <a:ext cx="2041071" cy="207917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4396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BAFDDD4-BC2F-49DE-AB83-6156C421EDEA}"/>
              </a:ext>
            </a:extLst>
          </p:cNvPr>
          <p:cNvSpPr/>
          <p:nvPr/>
        </p:nvSpPr>
        <p:spPr>
          <a:xfrm>
            <a:off x="4280711" y="5540230"/>
            <a:ext cx="3362964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srgbClr val="F2F2F2"/>
              </a:solidFill>
              <a:latin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E059DC-8323-4591-8F2F-337CBAE7449C}"/>
              </a:ext>
            </a:extLst>
          </p:cNvPr>
          <p:cNvSpPr/>
          <p:nvPr/>
        </p:nvSpPr>
        <p:spPr>
          <a:xfrm>
            <a:off x="0" y="1377909"/>
            <a:ext cx="12192000" cy="84337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srgbClr val="F2F2F2"/>
              </a:solidFill>
              <a:latin typeface="Arial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1249655" y="1627642"/>
            <a:ext cx="2873344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de-DE" sz="1400" dirty="0">
                <a:solidFill>
                  <a:srgbClr val="F2F2F2"/>
                </a:solidFill>
                <a:latin typeface="Arial"/>
              </a:rPr>
              <a:t>Smart App + </a:t>
            </a:r>
            <a:r>
              <a:rPr lang="sr-Latn-RS" sz="1400" dirty="0">
                <a:solidFill>
                  <a:srgbClr val="F2F2F2"/>
                </a:solidFill>
                <a:latin typeface="Arial"/>
              </a:rPr>
              <a:t>Uređaj</a:t>
            </a:r>
            <a:endParaRPr lang="de-DE" sz="1400" b="1" dirty="0">
              <a:solidFill>
                <a:srgbClr val="F2F2F2"/>
              </a:solidFill>
              <a:latin typeface="Arial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056611" y="1629863"/>
            <a:ext cx="3981796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pl-PL" sz="1400">
                <a:solidFill>
                  <a:srgbClr val="F2F2F2"/>
                </a:solidFill>
                <a:latin typeface="Arial"/>
              </a:rPr>
              <a:t>Statički i dinamički test / Zapisivanje podataka</a:t>
            </a:r>
            <a:endParaRPr lang="en-GB" sz="1400" dirty="0">
              <a:solidFill>
                <a:srgbClr val="F2F2F2"/>
              </a:solidFill>
              <a:latin typeface="Arial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8598906" y="1624588"/>
            <a:ext cx="2871695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defTabSz="457189">
              <a:defRPr/>
            </a:pPr>
            <a:r>
              <a:rPr lang="de-DE" sz="1400" dirty="0">
                <a:solidFill>
                  <a:srgbClr val="F2F2F2"/>
                </a:solidFill>
                <a:latin typeface="Arial"/>
              </a:rPr>
              <a:t>DEKRA </a:t>
            </a:r>
            <a:r>
              <a:rPr lang="sr-Latn-RS" sz="1400" dirty="0">
                <a:solidFill>
                  <a:srgbClr val="F2F2F2"/>
                </a:solidFill>
                <a:latin typeface="Arial"/>
              </a:rPr>
              <a:t>Izveštaj</a:t>
            </a:r>
            <a:endParaRPr lang="de-DE" sz="1400" b="1" dirty="0">
              <a:solidFill>
                <a:srgbClr val="F2F2F2"/>
              </a:solidFill>
              <a:latin typeface="Arial"/>
            </a:endParaRPr>
          </a:p>
        </p:txBody>
      </p:sp>
      <p:sp>
        <p:nvSpPr>
          <p:cNvPr id="45" name="Textfeld 6">
            <a:extLst>
              <a:ext uri="{FF2B5EF4-FFF2-40B4-BE49-F238E27FC236}">
                <a16:creationId xmlns:a16="http://schemas.microsoft.com/office/drawing/2014/main" id="{AE8108DF-0B3E-4965-A565-3AEC09745776}"/>
              </a:ext>
            </a:extLst>
          </p:cNvPr>
          <p:cNvSpPr txBox="1"/>
          <p:nvPr/>
        </p:nvSpPr>
        <p:spPr bwMode="gray">
          <a:xfrm>
            <a:off x="4459774" y="2615412"/>
            <a:ext cx="2860175" cy="383951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85744" indent="-285744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r>
              <a:rPr lang="sr-Latn-RS" sz="1200" dirty="0">
                <a:solidFill>
                  <a:srgbClr val="3C3C3C"/>
                </a:solidFill>
                <a:latin typeface="Arial"/>
              </a:rPr>
              <a:t>Snimanje relevantnih podataka o bateriji preko</a:t>
            </a:r>
            <a:r>
              <a:rPr lang="en-US" sz="1200" dirty="0">
                <a:solidFill>
                  <a:srgbClr val="3C3C3C"/>
                </a:solidFill>
                <a:latin typeface="Arial"/>
              </a:rPr>
              <a:t> interface</a:t>
            </a:r>
            <a:r>
              <a:rPr lang="sr-Latn-RS" sz="1200" dirty="0">
                <a:solidFill>
                  <a:srgbClr val="3C3C3C"/>
                </a:solidFill>
                <a:latin typeface="Arial"/>
              </a:rPr>
              <a:t>-a u vozilu</a:t>
            </a:r>
            <a:r>
              <a:rPr lang="en-US" sz="1200" dirty="0">
                <a:solidFill>
                  <a:srgbClr val="3C3C3C"/>
                </a:solidFill>
                <a:latin typeface="Arial"/>
              </a:rPr>
              <a:t> (</a:t>
            </a:r>
            <a:r>
              <a:rPr lang="en-US" sz="1200" dirty="0" err="1">
                <a:solidFill>
                  <a:srgbClr val="3C3C3C"/>
                </a:solidFill>
                <a:latin typeface="Arial"/>
              </a:rPr>
              <a:t>OBD</a:t>
            </a:r>
            <a:r>
              <a:rPr lang="sr-Latn-RS" sz="1200" dirty="0">
                <a:solidFill>
                  <a:srgbClr val="3C3C3C"/>
                </a:solidFill>
                <a:latin typeface="Arial"/>
              </a:rPr>
              <a:t> priključka</a:t>
            </a:r>
            <a:r>
              <a:rPr lang="en-US" sz="1200" dirty="0">
                <a:solidFill>
                  <a:srgbClr val="3C3C3C"/>
                </a:solidFill>
                <a:latin typeface="Arial"/>
              </a:rPr>
              <a:t>)</a:t>
            </a:r>
          </a:p>
          <a:p>
            <a:pPr marL="285744" indent="-285744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rgbClr val="3C3C3C"/>
                </a:solidFill>
                <a:latin typeface="Arial"/>
              </a:rPr>
              <a:t>Stati</a:t>
            </a:r>
            <a:r>
              <a:rPr lang="sr-Latn-RS" sz="1200" dirty="0">
                <a:solidFill>
                  <a:srgbClr val="3C3C3C"/>
                </a:solidFill>
                <a:latin typeface="Arial"/>
              </a:rPr>
              <a:t>čki</a:t>
            </a:r>
            <a:r>
              <a:rPr lang="en-US" sz="1200" dirty="0">
                <a:solidFill>
                  <a:srgbClr val="3C3C3C"/>
                </a:solidFill>
                <a:latin typeface="Arial"/>
              </a:rPr>
              <a:t> Test</a:t>
            </a:r>
          </a:p>
          <a:p>
            <a:pPr marL="285744" lvl="1" indent="-285744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r>
              <a:rPr lang="sr-Latn-RS" sz="1200" dirty="0">
                <a:solidFill>
                  <a:srgbClr val="3C3C3C"/>
                </a:solidFill>
                <a:latin typeface="Arial"/>
              </a:rPr>
              <a:t>Kratki test ubrzanja</a:t>
            </a:r>
            <a:r>
              <a:rPr lang="en-US" sz="1200" dirty="0">
                <a:solidFill>
                  <a:srgbClr val="3C3C3C"/>
                </a:solidFill>
                <a:latin typeface="Arial"/>
              </a:rPr>
              <a:t> (d</a:t>
            </a:r>
            <a:r>
              <a:rPr lang="sr-Latn-RS" sz="1200" dirty="0">
                <a:solidFill>
                  <a:srgbClr val="3C3C3C"/>
                </a:solidFill>
                <a:latin typeface="Arial"/>
              </a:rPr>
              <a:t>inamički </a:t>
            </a:r>
            <a:r>
              <a:rPr lang="en-US" sz="1200" dirty="0">
                <a:solidFill>
                  <a:srgbClr val="3C3C3C"/>
                </a:solidFill>
                <a:latin typeface="Arial"/>
              </a:rPr>
              <a:t>Test</a:t>
            </a:r>
            <a:r>
              <a:rPr lang="sr-Latn-RS" sz="1200" dirty="0">
                <a:solidFill>
                  <a:srgbClr val="3C3C3C"/>
                </a:solidFill>
                <a:latin typeface="Arial"/>
              </a:rPr>
              <a:t>)</a:t>
            </a:r>
            <a:endParaRPr lang="en-GB" sz="1200" dirty="0">
              <a:solidFill>
                <a:srgbClr val="3C3C3C"/>
              </a:solidFill>
              <a:latin typeface="Arial"/>
            </a:endParaRPr>
          </a:p>
          <a:p>
            <a:pPr marL="622284" lvl="2" indent="-261932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3C3C3C"/>
                </a:solidFill>
                <a:latin typeface="Arial"/>
              </a:rPr>
              <a:t>„</a:t>
            </a:r>
            <a:r>
              <a:rPr lang="sr-Latn-RS" sz="1200" dirty="0">
                <a:solidFill>
                  <a:srgbClr val="3C3C3C"/>
                </a:solidFill>
                <a:latin typeface="Arial"/>
              </a:rPr>
              <a:t>Opterećenje</a:t>
            </a:r>
            <a:r>
              <a:rPr lang="en-US" sz="1200" dirty="0">
                <a:solidFill>
                  <a:srgbClr val="3C3C3C"/>
                </a:solidFill>
                <a:latin typeface="Arial"/>
              </a:rPr>
              <a:t>" </a:t>
            </a:r>
            <a:r>
              <a:rPr lang="sr-Latn-RS" sz="1200" dirty="0">
                <a:solidFill>
                  <a:srgbClr val="3C3C3C"/>
                </a:solidFill>
                <a:latin typeface="Arial"/>
              </a:rPr>
              <a:t>baterije u vozilu velikim zahtevom za naglim ubrzanjem</a:t>
            </a:r>
            <a:endParaRPr lang="en-GB" sz="1200" dirty="0">
              <a:solidFill>
                <a:srgbClr val="3C3C3C"/>
              </a:solidFill>
              <a:latin typeface="Arial"/>
            </a:endParaRPr>
          </a:p>
          <a:p>
            <a:pPr marL="285744" lvl="1" indent="-285744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r>
              <a:rPr lang="sr-Latn-RS" sz="1200" dirty="0">
                <a:solidFill>
                  <a:srgbClr val="3C3C3C"/>
                </a:solidFill>
                <a:latin typeface="Arial"/>
              </a:rPr>
              <a:t>Kalkulacija unutrašnjeg otpora baterije</a:t>
            </a:r>
            <a:endParaRPr lang="en-GB" sz="1200" dirty="0">
              <a:solidFill>
                <a:srgbClr val="3C3C3C"/>
              </a:solidFill>
              <a:latin typeface="Arial"/>
            </a:endParaRPr>
          </a:p>
          <a:p>
            <a:pPr marL="285744" lvl="1" indent="-285744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r>
              <a:rPr lang="sr-Latn-RS" sz="1200" dirty="0">
                <a:solidFill>
                  <a:srgbClr val="3C3C3C"/>
                </a:solidFill>
                <a:latin typeface="Arial"/>
              </a:rPr>
              <a:t>Klasifikacija merenja pomoću referentnih podataka</a:t>
            </a:r>
            <a:endParaRPr lang="en-GB" sz="1200" dirty="0">
              <a:solidFill>
                <a:srgbClr val="3C3C3C"/>
              </a:solidFill>
              <a:latin typeface="Arial"/>
            </a:endParaRPr>
          </a:p>
          <a:p>
            <a:pPr marL="114297" lvl="1" indent="-114297" defTabSz="622284">
              <a:spcBef>
                <a:spcPct val="0"/>
              </a:spcBef>
              <a:spcAft>
                <a:spcPts val="852"/>
              </a:spcAft>
              <a:buFont typeface="Arial" panose="020B0604020202020204" pitchFamily="34" charset="0"/>
              <a:buChar char="•"/>
              <a:defRPr/>
            </a:pPr>
            <a:endParaRPr lang="en-GB" sz="1200" dirty="0">
              <a:solidFill>
                <a:srgbClr val="3C3C3C"/>
              </a:solidFill>
              <a:latin typeface="Arial"/>
            </a:endParaRPr>
          </a:p>
          <a:p>
            <a:pPr marL="285744" indent="-285744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endParaRPr lang="en-GB" sz="1400" dirty="0">
              <a:solidFill>
                <a:srgbClr val="3C3C3C"/>
              </a:solidFill>
              <a:latin typeface="Arial"/>
            </a:endParaRPr>
          </a:p>
          <a:p>
            <a:pPr marL="285744" indent="-285744" defTabSz="914377">
              <a:spcBef>
                <a:spcPts val="600"/>
              </a:spcBef>
              <a:spcAft>
                <a:spcPts val="600"/>
              </a:spcAft>
              <a:buClr>
                <a:srgbClr val="57AB27"/>
              </a:buClr>
              <a:buFont typeface="Arial" panose="020B0604020202020204" pitchFamily="34" charset="0"/>
              <a:buChar char="•"/>
              <a:defRPr/>
            </a:pPr>
            <a:endParaRPr lang="de-DE" sz="1400" dirty="0">
              <a:solidFill>
                <a:srgbClr val="3C3C3C"/>
              </a:solidFill>
              <a:latin typeface="Arial"/>
            </a:endParaRPr>
          </a:p>
        </p:txBody>
      </p:sp>
      <p:sp>
        <p:nvSpPr>
          <p:cNvPr id="49" name="Titel 5">
            <a:extLst>
              <a:ext uri="{FF2B5EF4-FFF2-40B4-BE49-F238E27FC236}">
                <a16:creationId xmlns:a16="http://schemas.microsoft.com/office/drawing/2014/main" id="{0DD88CF5-4A43-4D31-89C1-F10041F0B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8670"/>
            <a:ext cx="9651971" cy="537633"/>
          </a:xfrm>
        </p:spPr>
        <p:txBody>
          <a:bodyPr/>
          <a:lstStyle/>
          <a:p>
            <a:r>
              <a:rPr lang="sr-Latn-RS" sz="2800" dirty="0">
                <a:solidFill>
                  <a:srgbClr val="007D40"/>
                </a:solidFill>
              </a:rPr>
              <a:t>Brzo testiranje i provera statusa baterije u vozilima</a:t>
            </a:r>
            <a:endParaRPr lang="en-GB" sz="2800" dirty="0">
              <a:solidFill>
                <a:srgbClr val="007D40"/>
              </a:solidFill>
            </a:endParaRPr>
          </a:p>
        </p:txBody>
      </p:sp>
      <p:pic>
        <p:nvPicPr>
          <p:cNvPr id="16" name="Espace réservé pour une image  6" descr="202106_Trainingsunterlagen_DO_V8.1_final.pdf - Travail – Microsoft​ Edge">
            <a:extLst>
              <a:ext uri="{FF2B5EF4-FFF2-40B4-BE49-F238E27FC236}">
                <a16:creationId xmlns:a16="http://schemas.microsoft.com/office/drawing/2014/main" id="{BE8BBEF9-E507-48A0-B427-8CECE8564A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83365" y="2387711"/>
            <a:ext cx="1630555" cy="2596268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3464C376-E62D-45E6-BC29-1311538E1812}"/>
              </a:ext>
            </a:extLst>
          </p:cNvPr>
          <p:cNvSpPr txBox="1"/>
          <p:nvPr/>
        </p:nvSpPr>
        <p:spPr>
          <a:xfrm>
            <a:off x="4907309" y="5540229"/>
            <a:ext cx="20995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fr-FR" sz="1400" dirty="0">
                <a:solidFill>
                  <a:srgbClr val="FFFFFF"/>
                </a:solidFill>
                <a:latin typeface="Arial"/>
              </a:rPr>
              <a:t>T</a:t>
            </a:r>
            <a:r>
              <a:rPr lang="sr-Latn-RS" sz="1400" dirty="0">
                <a:solidFill>
                  <a:srgbClr val="FFFFFF"/>
                </a:solidFill>
                <a:latin typeface="Arial"/>
              </a:rPr>
              <a:t>rajanje testa</a:t>
            </a:r>
            <a:r>
              <a:rPr lang="fr-FR" sz="1400" dirty="0">
                <a:solidFill>
                  <a:srgbClr val="FFFFFF"/>
                </a:solidFill>
                <a:latin typeface="Arial"/>
              </a:rPr>
              <a:t>: </a:t>
            </a:r>
          </a:p>
          <a:p>
            <a:pPr defTabSz="914377">
              <a:defRPr/>
            </a:pPr>
            <a:r>
              <a:rPr lang="fr-FR" sz="1400" dirty="0" err="1">
                <a:solidFill>
                  <a:srgbClr val="FFFFFF"/>
                </a:solidFill>
                <a:latin typeface="Arial"/>
              </a:rPr>
              <a:t>Ap</a:t>
            </a:r>
            <a:r>
              <a:rPr lang="sr-Latn-RS" sz="1400" dirty="0">
                <a:solidFill>
                  <a:srgbClr val="FFFFFF"/>
                </a:solidFill>
                <a:latin typeface="Arial"/>
              </a:rPr>
              <a:t>rox</a:t>
            </a:r>
            <a:r>
              <a:rPr lang="fr-FR" sz="1400" dirty="0">
                <a:solidFill>
                  <a:srgbClr val="FFFFFF"/>
                </a:solidFill>
                <a:latin typeface="Arial"/>
              </a:rPr>
              <a:t>. 15 min</a:t>
            </a:r>
            <a:endParaRPr lang="en-US" sz="14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6" name="Graphique 5" descr="Sablier 60% avec un remplissage uni">
            <a:extLst>
              <a:ext uri="{FF2B5EF4-FFF2-40B4-BE49-F238E27FC236}">
                <a16:creationId xmlns:a16="http://schemas.microsoft.com/office/drawing/2014/main" id="{9D632232-A3DE-458B-BDF8-7D0AE35855A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39754" y="5595894"/>
            <a:ext cx="467556" cy="467556"/>
          </a:xfrm>
          <a:prstGeom prst="rect">
            <a:avLst/>
          </a:prstGeom>
        </p:spPr>
      </p:pic>
      <p:pic>
        <p:nvPicPr>
          <p:cNvPr id="22" name="Grafik 45">
            <a:extLst>
              <a:ext uri="{FF2B5EF4-FFF2-40B4-BE49-F238E27FC236}">
                <a16:creationId xmlns:a16="http://schemas.microsoft.com/office/drawing/2014/main" id="{F95B8D3D-815B-4C91-BB8E-DA1610B07A8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8617" r="47562" b="33949"/>
          <a:stretch/>
        </p:blipFill>
        <p:spPr>
          <a:xfrm rot="1276974">
            <a:off x="549281" y="3469350"/>
            <a:ext cx="1289107" cy="1568007"/>
          </a:xfrm>
          <a:prstGeom prst="flowChartInputOutpu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524157" y="5454243"/>
            <a:ext cx="31919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sr-Latn-RS" sz="1100" dirty="0">
                <a:solidFill>
                  <a:srgbClr val="3C3C3C"/>
                </a:solidFill>
                <a:latin typeface="Arial"/>
              </a:rPr>
              <a:t>Kabl sa priključkom za</a:t>
            </a:r>
            <a:r>
              <a:rPr lang="fr-FR" sz="1100" dirty="0">
                <a:solidFill>
                  <a:srgbClr val="3C3C3C"/>
                </a:solidFill>
                <a:latin typeface="Arial"/>
              </a:rPr>
              <a:t> OBD: </a:t>
            </a:r>
            <a:r>
              <a:rPr lang="sr-Latn-RS" sz="1100" dirty="0">
                <a:solidFill>
                  <a:srgbClr val="3C3C3C"/>
                </a:solidFill>
                <a:latin typeface="Arial"/>
              </a:rPr>
              <a:t>kako bi se osigurao siguran rad i usklađenost sa CE</a:t>
            </a:r>
            <a:endParaRPr lang="fr-FR" sz="1100" dirty="0">
              <a:solidFill>
                <a:srgbClr val="3C3C3C"/>
              </a:solidFill>
              <a:latin typeface="Arial"/>
            </a:endParaRPr>
          </a:p>
        </p:txBody>
      </p:sp>
      <p:sp>
        <p:nvSpPr>
          <p:cNvPr id="11" name="Plus 10"/>
          <p:cNvSpPr/>
          <p:nvPr/>
        </p:nvSpPr>
        <p:spPr>
          <a:xfrm>
            <a:off x="1884635" y="5150405"/>
            <a:ext cx="211107" cy="25052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srgbClr val="F2F2F2"/>
              </a:solidFill>
              <a:latin typeface="Arial"/>
            </a:endParaRP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38444442-38F0-DE6A-324F-3C820A7BFC91}"/>
              </a:ext>
            </a:extLst>
          </p:cNvPr>
          <p:cNvSpPr txBox="1"/>
          <p:nvPr/>
        </p:nvSpPr>
        <p:spPr>
          <a:xfrm>
            <a:off x="8598906" y="5475165"/>
            <a:ext cx="448783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sr-Latn-RS" sz="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Zavisno o procentualnoj vrednosti menja se boja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.</a:t>
            </a:r>
            <a:endParaRPr lang="en-US" sz="8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008143"/>
                </a:solidFill>
                <a:latin typeface="+mj-lt"/>
              </a:rPr>
              <a:t>Green:</a:t>
            </a:r>
            <a:r>
              <a:rPr lang="en-US" sz="800" dirty="0">
                <a:solidFill>
                  <a:srgbClr val="313537"/>
                </a:solidFill>
                <a:latin typeface="+mj-lt"/>
              </a:rPr>
              <a:t>     &gt; 80%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FFCC00"/>
                </a:solidFill>
                <a:latin typeface="+mj-lt"/>
              </a:rPr>
              <a:t>Yellow:     </a:t>
            </a:r>
            <a:r>
              <a:rPr lang="en-US" sz="800" dirty="0">
                <a:solidFill>
                  <a:srgbClr val="313537"/>
                </a:solidFill>
                <a:latin typeface="+mj-lt"/>
              </a:rPr>
              <a:t>80%-60%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BA302A"/>
                </a:solidFill>
                <a:latin typeface="+mj-lt"/>
              </a:rPr>
              <a:t>Red:         </a:t>
            </a:r>
            <a:r>
              <a:rPr lang="en-US" sz="800" dirty="0">
                <a:solidFill>
                  <a:srgbClr val="313537"/>
                </a:solidFill>
                <a:latin typeface="+mj-lt"/>
              </a:rPr>
              <a:t>&lt; 60%</a:t>
            </a:r>
            <a:endParaRPr lang="en-US" sz="800" dirty="0">
              <a:latin typeface="+mj-lt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1C5B5AC9-658A-734E-C800-937E51B897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5425" y="2615413"/>
            <a:ext cx="1858655" cy="2596268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3427263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>
                <a:solidFill>
                  <a:srgbClr val="555555"/>
                </a:solidFill>
              </a:rPr>
              <a:pPr/>
              <a:t>11</a:t>
            </a:fld>
            <a:endParaRPr lang="de-DE">
              <a:solidFill>
                <a:srgbClr val="555555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Zašto su neophodne obuke za HiVo?</a:t>
            </a:r>
            <a:endParaRPr lang="de-DE" dirty="0"/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E0C3F5DA-AD64-45E0-9A0A-D7E716F559C6}"/>
              </a:ext>
            </a:extLst>
          </p:cNvPr>
          <p:cNvSpPr txBox="1"/>
          <p:nvPr/>
        </p:nvSpPr>
        <p:spPr bwMode="gray">
          <a:xfrm>
            <a:off x="4819421" y="2844723"/>
            <a:ext cx="6623641" cy="203132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sr-Latn-RS" sz="1800" dirty="0"/>
              <a:t>Zbog </a:t>
            </a:r>
            <a:r>
              <a:rPr lang="en-US" sz="1800" dirty="0" err="1"/>
              <a:t>povećanj</a:t>
            </a:r>
            <a:r>
              <a:rPr lang="sr-Latn-RS" sz="1800" dirty="0"/>
              <a:t>a</a:t>
            </a:r>
            <a:r>
              <a:rPr lang="en-US" sz="1800" dirty="0"/>
              <a:t> </a:t>
            </a:r>
            <a:r>
              <a:rPr lang="en-US" sz="1800" dirty="0" err="1"/>
              <a:t>tržišnog</a:t>
            </a:r>
            <a:r>
              <a:rPr lang="en-US" sz="1800" dirty="0"/>
              <a:t> </a:t>
            </a:r>
            <a:r>
              <a:rPr lang="en-US" sz="1800" dirty="0" err="1"/>
              <a:t>udela</a:t>
            </a:r>
            <a:r>
              <a:rPr lang="en-US" sz="1800" dirty="0"/>
              <a:t> </a:t>
            </a:r>
            <a:r>
              <a:rPr lang="en-US" sz="1800" dirty="0" err="1"/>
              <a:t>visokonaponskih</a:t>
            </a:r>
            <a:r>
              <a:rPr lang="en-US" sz="1800" dirty="0"/>
              <a:t> </a:t>
            </a:r>
            <a:r>
              <a:rPr lang="en-US" sz="1800" dirty="0" err="1"/>
              <a:t>vozila</a:t>
            </a:r>
            <a:r>
              <a:rPr lang="en-US" sz="1800" dirty="0"/>
              <a:t> </a:t>
            </a:r>
            <a:r>
              <a:rPr lang="sr-Latn-RS" sz="1800" dirty="0"/>
              <a:t>u sabraćaju l</a:t>
            </a:r>
            <a:r>
              <a:rPr lang="sr-Latn-RS" dirty="0"/>
              <a:t>ica koja dolaze u kontakt s njima</a:t>
            </a:r>
            <a:r>
              <a:rPr lang="en-US" sz="1800" dirty="0"/>
              <a:t> je </a:t>
            </a:r>
            <a:r>
              <a:rPr lang="sr-Latn-RS" sz="1800" dirty="0"/>
              <a:t>neophodno</a:t>
            </a:r>
            <a:r>
              <a:rPr lang="en-US" sz="1800" dirty="0"/>
              <a:t> </a:t>
            </a:r>
            <a:r>
              <a:rPr lang="en-US" sz="1800" dirty="0" err="1"/>
              <a:t>obučiti</a:t>
            </a:r>
            <a:r>
              <a:rPr lang="en-US" sz="1800" dirty="0"/>
              <a:t> </a:t>
            </a:r>
            <a:r>
              <a:rPr lang="sr-Latn-RS" dirty="0"/>
              <a:t> o </a:t>
            </a:r>
            <a:r>
              <a:rPr lang="sr-Latn-RS" sz="1800" dirty="0"/>
              <a:t>postupanju sa</a:t>
            </a:r>
            <a:r>
              <a:rPr lang="en-US" sz="1800" dirty="0"/>
              <a:t> novo</a:t>
            </a:r>
            <a:r>
              <a:rPr lang="sr-Latn-RS" dirty="0"/>
              <a:t>m</a:t>
            </a:r>
            <a:r>
              <a:rPr lang="en-US" sz="1800" dirty="0"/>
              <a:t> </a:t>
            </a:r>
            <a:r>
              <a:rPr lang="en-US" sz="1800" dirty="0" err="1"/>
              <a:t>tehnologij</a:t>
            </a:r>
            <a:r>
              <a:rPr lang="sr-Latn-RS" sz="1800" dirty="0"/>
              <a:t>om, ukloniti im strah i predrasude</a:t>
            </a:r>
            <a:r>
              <a:rPr lang="en-US" sz="1800" dirty="0"/>
              <a:t> </a:t>
            </a:r>
            <a:r>
              <a:rPr lang="en-US" sz="1800" dirty="0" err="1"/>
              <a:t>kako</a:t>
            </a:r>
            <a:r>
              <a:rPr lang="en-US" sz="1800" dirty="0"/>
              <a:t> </a:t>
            </a:r>
            <a:r>
              <a:rPr lang="sr-Latn-RS" sz="1800" dirty="0"/>
              <a:t>bi </a:t>
            </a:r>
            <a:r>
              <a:rPr lang="en-US" sz="1800" dirty="0" err="1"/>
              <a:t>sigurno</a:t>
            </a:r>
            <a:r>
              <a:rPr lang="en-US" sz="1800" dirty="0"/>
              <a:t> </a:t>
            </a:r>
            <a:r>
              <a:rPr lang="en-US" sz="1800" dirty="0" err="1"/>
              <a:t>upravlja</a:t>
            </a:r>
            <a:r>
              <a:rPr lang="sr-Latn-RS" sz="1800" dirty="0"/>
              <a:t>li</a:t>
            </a:r>
            <a:r>
              <a:rPr lang="en-US" sz="1800" dirty="0"/>
              <a:t> </a:t>
            </a:r>
            <a:r>
              <a:rPr lang="en-US" sz="1800" dirty="0" err="1"/>
              <a:t>tim</a:t>
            </a:r>
            <a:r>
              <a:rPr lang="en-US" sz="1800" dirty="0"/>
              <a:t> </a:t>
            </a:r>
            <a:r>
              <a:rPr lang="en-US" sz="1800" dirty="0" err="1"/>
              <a:t>vozilima</a:t>
            </a:r>
            <a:r>
              <a:rPr lang="sr-Latn-RS" sz="1800" dirty="0"/>
              <a:t>, kako ih održavati, servisirali na pravi nači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r-Latn-RS" sz="1800" dirty="0"/>
              <a:t>Kako </a:t>
            </a:r>
            <a:r>
              <a:rPr lang="sr-Latn-RS" dirty="0"/>
              <a:t>na bezbedan način postupati u izvanrednim situacijama poput saobraćajnih nezgoda, požara itd.</a:t>
            </a:r>
            <a:endParaRPr lang="en-US" sz="1800" dirty="0"/>
          </a:p>
        </p:txBody>
      </p:sp>
      <p:pic>
        <p:nvPicPr>
          <p:cNvPr id="13" name="Obraz 12" descr="Obraz zawierający zewnętrzne, trawa, droga, samochód&#10;&#10;Opis wygenerowany automatycznie">
            <a:extLst>
              <a:ext uri="{FF2B5EF4-FFF2-40B4-BE49-F238E27FC236}">
                <a16:creationId xmlns:a16="http://schemas.microsoft.com/office/drawing/2014/main" id="{3CA64422-6C36-43FD-8D7F-15331C2599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12181"/>
            <a:ext cx="4298732" cy="316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02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oliennummernplatzhalter 4">
            <a:extLst>
              <a:ext uri="{FF2B5EF4-FFF2-40B4-BE49-F238E27FC236}">
                <a16:creationId xmlns:a16="http://schemas.microsoft.com/office/drawing/2014/main" id="{90C56FA0-6C10-4B08-9DE2-B288BE5AA407}"/>
              </a:ext>
            </a:extLst>
          </p:cNvPr>
          <p:cNvSpPr txBox="1">
            <a:spLocks/>
          </p:cNvSpPr>
          <p:nvPr/>
        </p:nvSpPr>
        <p:spPr>
          <a:xfrm>
            <a:off x="624000" y="6553835"/>
            <a:ext cx="603191" cy="3651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673082-F094-41F5-A539-FC5A0CDD8B22}" type="slidenum">
              <a:rPr lang="de-DE" sz="900" dirty="0" smtClean="0">
                <a:solidFill>
                  <a:srgbClr val="FFFFFF"/>
                </a:solidFill>
              </a:rPr>
              <a:pPr/>
              <a:t>12</a:t>
            </a:fld>
            <a:endParaRPr lang="de-DE" sz="900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673082-F094-41F5-A539-FC5A0CDD8B22}" type="slidenum">
              <a:rPr lang="de-DE" dirty="0" smtClean="0"/>
              <a:pPr/>
              <a:t>12</a:t>
            </a:fld>
            <a:endParaRPr lang="de-DE" dirty="0"/>
          </a:p>
        </p:txBody>
      </p:sp>
      <p:sp>
        <p:nvSpPr>
          <p:cNvPr id="26" name="Title 3"/>
          <p:cNvSpPr txBox="1">
            <a:spLocks/>
          </p:cNvSpPr>
          <p:nvPr/>
        </p:nvSpPr>
        <p:spPr>
          <a:xfrm>
            <a:off x="515938" y="338669"/>
            <a:ext cx="7307262" cy="537633"/>
          </a:xfrm>
          <a:prstGeom prst="rect">
            <a:avLst/>
          </a:prstGeom>
        </p:spPr>
        <p:txBody>
          <a:bodyPr/>
          <a:lstStyle>
            <a:lvl1pPr marL="85725" indent="0" algn="l" defTabSz="1219170" rtl="0" eaLnBrk="1" latinLnBrk="0" hangingPunct="1">
              <a:spcBef>
                <a:spcPct val="0"/>
              </a:spcBef>
              <a:buNone/>
              <a:defRPr sz="2800" b="1" kern="1200" spc="200" baseline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sr-Latn-RS" dirty="0"/>
              <a:t>Ko mora biti obučen i zašto?</a:t>
            </a:r>
            <a:endParaRPr lang="de-DE" dirty="0"/>
          </a:p>
        </p:txBody>
      </p:sp>
      <p:sp>
        <p:nvSpPr>
          <p:cNvPr id="6" name="Gleichschenkliges Dreieck 5">
            <a:extLst>
              <a:ext uri="{FF2B5EF4-FFF2-40B4-BE49-F238E27FC236}">
                <a16:creationId xmlns:a16="http://schemas.microsoft.com/office/drawing/2014/main" id="{CAEFB368-95F1-4D9C-B581-25DD6BA595AB}"/>
              </a:ext>
            </a:extLst>
          </p:cNvPr>
          <p:cNvSpPr/>
          <p:nvPr/>
        </p:nvSpPr>
        <p:spPr bwMode="gray">
          <a:xfrm flipH="1" flipV="1">
            <a:off x="746899" y="1002068"/>
            <a:ext cx="5681277" cy="5156787"/>
          </a:xfrm>
          <a:prstGeom prst="triangle">
            <a:avLst>
              <a:gd name="adj" fmla="val 10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err="1">
              <a:solidFill>
                <a:srgbClr val="FFFFFF"/>
              </a:solidFill>
            </a:endParaRP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7ED058EF-7D2F-4940-95D1-42C72B884FDC}"/>
              </a:ext>
            </a:extLst>
          </p:cNvPr>
          <p:cNvGrpSpPr/>
          <p:nvPr/>
        </p:nvGrpSpPr>
        <p:grpSpPr>
          <a:xfrm>
            <a:off x="5625100" y="1002070"/>
            <a:ext cx="7315842" cy="905828"/>
            <a:chOff x="3250921" y="2181518"/>
            <a:chExt cx="12968395" cy="961297"/>
          </a:xfrm>
        </p:grpSpPr>
        <p:sp>
          <p:nvSpPr>
            <p:cNvPr id="8" name="Trapezoid 7">
              <a:extLst>
                <a:ext uri="{FF2B5EF4-FFF2-40B4-BE49-F238E27FC236}">
                  <a16:creationId xmlns:a16="http://schemas.microsoft.com/office/drawing/2014/main" id="{9E2C087B-9B09-4074-97C3-54650F6EE203}"/>
                </a:ext>
              </a:extLst>
            </p:cNvPr>
            <p:cNvSpPr/>
            <p:nvPr/>
          </p:nvSpPr>
          <p:spPr bwMode="gray">
            <a:xfrm>
              <a:off x="3250921" y="2181518"/>
              <a:ext cx="12968395" cy="744716"/>
            </a:xfrm>
            <a:prstGeom prst="trapezoid">
              <a:avLst>
                <a:gd name="adj" fmla="val 102581"/>
              </a:avLst>
            </a:prstGeom>
            <a:solidFill>
              <a:srgbClr val="55B758">
                <a:alpha val="8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79996" indent="-179996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>
                <a:solidFill>
                  <a:srgbClr val="FFFFFF"/>
                </a:solidFill>
              </a:endParaRP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82BDCD4A-31AE-4CA8-9344-11051B2E079C}"/>
                </a:ext>
              </a:extLst>
            </p:cNvPr>
            <p:cNvSpPr txBox="1"/>
            <p:nvPr/>
          </p:nvSpPr>
          <p:spPr bwMode="gray">
            <a:xfrm>
              <a:off x="4820460" y="2374730"/>
              <a:ext cx="8499565" cy="76808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r>
                <a:rPr lang="pl-PL" sz="2400" b="1" dirty="0">
                  <a:solidFill>
                    <a:srgbClr val="FFFFFF"/>
                  </a:solidFill>
                </a:rPr>
                <a:t>Prodavci, Teh.Pregledi i serviseri HiVo</a:t>
              </a:r>
              <a:endParaRPr lang="de-DE" sz="2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upa 3">
            <a:extLst>
              <a:ext uri="{FF2B5EF4-FFF2-40B4-BE49-F238E27FC236}">
                <a16:creationId xmlns:a16="http://schemas.microsoft.com/office/drawing/2014/main" id="{3ADE875F-9D79-4E0A-A997-8339F7F0CC09}"/>
              </a:ext>
            </a:extLst>
          </p:cNvPr>
          <p:cNvGrpSpPr/>
          <p:nvPr/>
        </p:nvGrpSpPr>
        <p:grpSpPr>
          <a:xfrm>
            <a:off x="2818737" y="3687112"/>
            <a:ext cx="10324557" cy="705101"/>
            <a:chOff x="2787500" y="3644716"/>
            <a:chExt cx="12968399" cy="748279"/>
          </a:xfrm>
        </p:grpSpPr>
        <p:sp>
          <p:nvSpPr>
            <p:cNvPr id="19" name="Trapezoid 18">
              <a:extLst>
                <a:ext uri="{FF2B5EF4-FFF2-40B4-BE49-F238E27FC236}">
                  <a16:creationId xmlns:a16="http://schemas.microsoft.com/office/drawing/2014/main" id="{642C49D1-A2B1-401B-8DE8-0FCB1CEF5EBA}"/>
                </a:ext>
              </a:extLst>
            </p:cNvPr>
            <p:cNvSpPr/>
            <p:nvPr/>
          </p:nvSpPr>
          <p:spPr bwMode="gray">
            <a:xfrm>
              <a:off x="2787500" y="3644716"/>
              <a:ext cx="12968399" cy="748279"/>
            </a:xfrm>
            <a:prstGeom prst="trapezoid">
              <a:avLst>
                <a:gd name="adj" fmla="val 100882"/>
              </a:avLst>
            </a:prstGeom>
            <a:solidFill>
              <a:srgbClr val="47A57B">
                <a:alpha val="80000"/>
              </a:srgb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79996" indent="-179996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>
                <a:solidFill>
                  <a:srgbClr val="FFFFFF"/>
                </a:solidFill>
              </a:endParaRP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58BBE3AF-53C5-4A0E-961D-5FAFE41BC67D}"/>
                </a:ext>
              </a:extLst>
            </p:cNvPr>
            <p:cNvSpPr txBox="1"/>
            <p:nvPr/>
          </p:nvSpPr>
          <p:spPr bwMode="gray">
            <a:xfrm>
              <a:off x="4294777" y="3824213"/>
              <a:ext cx="5109722" cy="542253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r>
                <a:rPr lang="sr-Latn-RS" sz="2400" b="1" dirty="0">
                  <a:solidFill>
                    <a:srgbClr val="FFFFFF"/>
                  </a:solidFill>
                </a:rPr>
                <a:t>Rent a car, taksi službe</a:t>
              </a:r>
              <a:endParaRPr lang="pl-PL" sz="2400" b="1" dirty="0" err="1">
                <a:solidFill>
                  <a:srgbClr val="FFFFFF"/>
                </a:solidFill>
                <a:cs typeface="Arial"/>
              </a:endParaRPr>
            </a:p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endParaRPr lang="pl-PL" sz="2400" b="1" dirty="0">
                <a:solidFill>
                  <a:srgbClr val="FFFFFF"/>
                </a:solidFill>
                <a:cs typeface="Arial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B3B12993-300D-48FA-A10C-3C96E026D636}"/>
              </a:ext>
            </a:extLst>
          </p:cNvPr>
          <p:cNvGrpSpPr/>
          <p:nvPr/>
        </p:nvGrpSpPr>
        <p:grpSpPr>
          <a:xfrm>
            <a:off x="4690234" y="1907898"/>
            <a:ext cx="8415420" cy="909186"/>
            <a:chOff x="3587556" y="2986842"/>
            <a:chExt cx="12968396" cy="939216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4BB18E29-0C28-4498-BADE-6B9CCBA47103}"/>
                </a:ext>
              </a:extLst>
            </p:cNvPr>
            <p:cNvSpPr/>
            <p:nvPr/>
          </p:nvSpPr>
          <p:spPr bwMode="gray">
            <a:xfrm>
              <a:off x="3587556" y="2986842"/>
              <a:ext cx="12968396" cy="724923"/>
            </a:xfrm>
            <a:prstGeom prst="trapezoid">
              <a:avLst>
                <a:gd name="adj" fmla="val 107678"/>
              </a:avLst>
            </a:prstGeom>
            <a:solidFill>
              <a:srgbClr val="CC2E90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79996" indent="-179996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>
                <a:solidFill>
                  <a:srgbClr val="FFFFFF"/>
                </a:solidFill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0E2EF72E-F6C7-4110-BE51-4AE52259E569}"/>
                </a:ext>
              </a:extLst>
            </p:cNvPr>
            <p:cNvSpPr txBox="1"/>
            <p:nvPr/>
          </p:nvSpPr>
          <p:spPr bwMode="gray">
            <a:xfrm>
              <a:off x="5204848" y="3157973"/>
              <a:ext cx="8499565" cy="76808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r>
                <a:rPr lang="pl-PL" sz="2400" b="1" dirty="0">
                  <a:solidFill>
                    <a:srgbClr val="FFFFFF"/>
                  </a:solidFill>
                </a:rPr>
                <a:t>Vlasnici i korisnici HiVo</a:t>
              </a:r>
              <a:endParaRPr lang="de-DE" sz="2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D74FE43-4BA2-4759-9243-F81F03D70A08}"/>
              </a:ext>
            </a:extLst>
          </p:cNvPr>
          <p:cNvGrpSpPr/>
          <p:nvPr/>
        </p:nvGrpSpPr>
        <p:grpSpPr>
          <a:xfrm>
            <a:off x="3783166" y="2786142"/>
            <a:ext cx="9387888" cy="881353"/>
            <a:chOff x="3909371" y="3875741"/>
            <a:chExt cx="12968395" cy="948831"/>
          </a:xfrm>
        </p:grpSpPr>
        <p:sp>
          <p:nvSpPr>
            <p:cNvPr id="15" name="Trapezoid 14">
              <a:extLst>
                <a:ext uri="{FF2B5EF4-FFF2-40B4-BE49-F238E27FC236}">
                  <a16:creationId xmlns:a16="http://schemas.microsoft.com/office/drawing/2014/main" id="{730E7F90-D5FE-4364-8032-2850F59719D7}"/>
                </a:ext>
              </a:extLst>
            </p:cNvPr>
            <p:cNvSpPr/>
            <p:nvPr/>
          </p:nvSpPr>
          <p:spPr bwMode="gray">
            <a:xfrm>
              <a:off x="3909371" y="3875741"/>
              <a:ext cx="12968395" cy="768085"/>
            </a:xfrm>
            <a:prstGeom prst="trapezoid">
              <a:avLst>
                <a:gd name="adj" fmla="val 106828"/>
              </a:avLst>
            </a:prstGeom>
            <a:solidFill>
              <a:srgbClr val="EC942E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79996" indent="-179996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>
                <a:solidFill>
                  <a:srgbClr val="FFFFFF"/>
                </a:solidFill>
              </a:endParaRP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7202F08F-43E9-4949-8718-FC1B6932F608}"/>
                </a:ext>
              </a:extLst>
            </p:cNvPr>
            <p:cNvSpPr txBox="1"/>
            <p:nvPr/>
          </p:nvSpPr>
          <p:spPr bwMode="gray">
            <a:xfrm>
              <a:off x="5464029" y="4056487"/>
              <a:ext cx="8499565" cy="76808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r>
                <a:rPr lang="pl-PL" sz="2400" b="1" dirty="0">
                  <a:solidFill>
                    <a:srgbClr val="FFFFFF"/>
                  </a:solidFill>
                </a:rPr>
                <a:t>Auto škole, pomoć na drumu – vučna služba</a:t>
              </a:r>
              <a:endParaRPr lang="de-DE" sz="2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upa 6">
            <a:extLst>
              <a:ext uri="{FF2B5EF4-FFF2-40B4-BE49-F238E27FC236}">
                <a16:creationId xmlns:a16="http://schemas.microsoft.com/office/drawing/2014/main" id="{71D8C3C2-2293-428C-91E5-E20B07EA5242}"/>
              </a:ext>
            </a:extLst>
          </p:cNvPr>
          <p:cNvGrpSpPr/>
          <p:nvPr/>
        </p:nvGrpSpPr>
        <p:grpSpPr>
          <a:xfrm>
            <a:off x="1876887" y="4595079"/>
            <a:ext cx="11431620" cy="705101"/>
            <a:chOff x="1796088" y="4599411"/>
            <a:chExt cx="13618069" cy="748279"/>
          </a:xfrm>
        </p:grpSpPr>
        <p:sp>
          <p:nvSpPr>
            <p:cNvPr id="30" name="Trapezoid 29">
              <a:extLst>
                <a:ext uri="{FF2B5EF4-FFF2-40B4-BE49-F238E27FC236}">
                  <a16:creationId xmlns:a16="http://schemas.microsoft.com/office/drawing/2014/main" id="{E41877FE-1521-43CE-A48B-3E3BC95570BD}"/>
                </a:ext>
              </a:extLst>
            </p:cNvPr>
            <p:cNvSpPr/>
            <p:nvPr/>
          </p:nvSpPr>
          <p:spPr bwMode="gray">
            <a:xfrm>
              <a:off x="1796088" y="4599411"/>
              <a:ext cx="13618069" cy="748279"/>
            </a:xfrm>
            <a:prstGeom prst="trapezoid">
              <a:avLst>
                <a:gd name="adj" fmla="val 106828"/>
              </a:avLst>
            </a:prstGeom>
            <a:solidFill>
              <a:schemeClr val="accent3">
                <a:alpha val="8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79996" indent="-179996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>
                <a:solidFill>
                  <a:srgbClr val="FFFFFF"/>
                </a:solidFill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E24F5CBB-10F8-4AA4-8F89-1DF4BB8692C7}"/>
                </a:ext>
              </a:extLst>
            </p:cNvPr>
            <p:cNvSpPr txBox="1"/>
            <p:nvPr/>
          </p:nvSpPr>
          <p:spPr bwMode="gray">
            <a:xfrm>
              <a:off x="2471764" y="4762647"/>
              <a:ext cx="10722585" cy="487689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r>
                <a:rPr lang="pl-PL" sz="2400" b="1" dirty="0">
                  <a:solidFill>
                    <a:srgbClr val="FFFFFF"/>
                  </a:solidFill>
                </a:rPr>
                <a:t> Policija, Službe za spasavanje i evakuaciju, PP interne službe</a:t>
              </a:r>
              <a:endParaRPr lang="de-DE" sz="2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rupa 8">
            <a:extLst>
              <a:ext uri="{FF2B5EF4-FFF2-40B4-BE49-F238E27FC236}">
                <a16:creationId xmlns:a16="http://schemas.microsoft.com/office/drawing/2014/main" id="{4B9E1218-F203-4ED3-9739-B99F581156A8}"/>
              </a:ext>
            </a:extLst>
          </p:cNvPr>
          <p:cNvGrpSpPr/>
          <p:nvPr/>
        </p:nvGrpSpPr>
        <p:grpSpPr>
          <a:xfrm>
            <a:off x="863963" y="5445394"/>
            <a:ext cx="12517580" cy="897388"/>
            <a:chOff x="729863" y="5501794"/>
            <a:chExt cx="13618064" cy="952340"/>
          </a:xfrm>
        </p:grpSpPr>
        <p:sp>
          <p:nvSpPr>
            <p:cNvPr id="35" name="Trapezoid 29">
              <a:extLst>
                <a:ext uri="{FF2B5EF4-FFF2-40B4-BE49-F238E27FC236}">
                  <a16:creationId xmlns:a16="http://schemas.microsoft.com/office/drawing/2014/main" id="{1053B70E-85DA-4D76-BB81-7B35E601AE73}"/>
                </a:ext>
              </a:extLst>
            </p:cNvPr>
            <p:cNvSpPr/>
            <p:nvPr/>
          </p:nvSpPr>
          <p:spPr bwMode="gray">
            <a:xfrm>
              <a:off x="729863" y="5501794"/>
              <a:ext cx="13618064" cy="757151"/>
            </a:xfrm>
            <a:prstGeom prst="trapezoid">
              <a:avLst>
                <a:gd name="adj" fmla="val 106828"/>
              </a:avLst>
            </a:prstGeom>
            <a:solidFill>
              <a:schemeClr val="tx1">
                <a:alpha val="6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79996" indent="-179996" algn="ctr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de-DE" sz="1400" err="1">
                <a:solidFill>
                  <a:srgbClr val="FFFFFF"/>
                </a:solidFill>
              </a:endParaRPr>
            </a:p>
          </p:txBody>
        </p:sp>
        <p:sp>
          <p:nvSpPr>
            <p:cNvPr id="47" name="Textfeld 19">
              <a:extLst>
                <a:ext uri="{FF2B5EF4-FFF2-40B4-BE49-F238E27FC236}">
                  <a16:creationId xmlns:a16="http://schemas.microsoft.com/office/drawing/2014/main" id="{946F5A6C-9577-40D4-AF5F-C9C86AF79886}"/>
                </a:ext>
              </a:extLst>
            </p:cNvPr>
            <p:cNvSpPr txBox="1"/>
            <p:nvPr/>
          </p:nvSpPr>
          <p:spPr bwMode="gray">
            <a:xfrm>
              <a:off x="2448896" y="5686049"/>
              <a:ext cx="8499566" cy="76808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007D40"/>
                </a:buClr>
              </a:pPr>
              <a:r>
                <a:rPr lang="pl-PL" sz="2400" b="1" dirty="0">
                  <a:solidFill>
                    <a:srgbClr val="FFFFFF"/>
                  </a:solidFill>
                </a:rPr>
                <a:t>Medicinsko osoblje i hitna medicinska pomoć</a:t>
              </a:r>
              <a:endParaRPr lang="de-DE" sz="2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3" name="Textfeld 6">
            <a:extLst>
              <a:ext uri="{FF2B5EF4-FFF2-40B4-BE49-F238E27FC236}">
                <a16:creationId xmlns:a16="http://schemas.microsoft.com/office/drawing/2014/main" id="{FE1FD0BA-7E2E-478B-BE17-91B00E35AEA1}"/>
              </a:ext>
            </a:extLst>
          </p:cNvPr>
          <p:cNvSpPr txBox="1"/>
          <p:nvPr/>
        </p:nvSpPr>
        <p:spPr bwMode="gray">
          <a:xfrm>
            <a:off x="928622" y="1134926"/>
            <a:ext cx="3946327" cy="14773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pl-PL" sz="2400" dirty="0">
                <a:solidFill>
                  <a:srgbClr val="FFFFFF"/>
                </a:solidFill>
              </a:rPr>
              <a:t>Prilagođeni programi obuke namenjeni različitim vrstama korisnika koji imaju kontakt sa HiV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336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40"/>
            <a:endParaRPr lang="de-DE" sz="2400" u="sng" dirty="0">
              <a:solidFill>
                <a:srgbClr val="555555"/>
              </a:solidFill>
              <a:latin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99200" y="450001"/>
            <a:ext cx="8922650" cy="456903"/>
          </a:xfrm>
        </p:spPr>
        <p:txBody>
          <a:bodyPr>
            <a:normAutofit/>
          </a:bodyPr>
          <a:lstStyle/>
          <a:p>
            <a:r>
              <a:rPr lang="sr-Latn-RS" dirty="0"/>
              <a:t>Obuke različitim grupama korisnika HiVo</a:t>
            </a:r>
            <a:endParaRPr lang="de-DE" dirty="0"/>
          </a:p>
        </p:txBody>
      </p:sp>
      <p:sp>
        <p:nvSpPr>
          <p:cNvPr id="8" name="Prostokąt 54">
            <a:extLst>
              <a:ext uri="{FF2B5EF4-FFF2-40B4-BE49-F238E27FC236}">
                <a16:creationId xmlns:a16="http://schemas.microsoft.com/office/drawing/2014/main" id="{CB31F79B-5E20-487A-84DA-54C0DBF99860}"/>
              </a:ext>
            </a:extLst>
          </p:cNvPr>
          <p:cNvSpPr/>
          <p:nvPr/>
        </p:nvSpPr>
        <p:spPr bwMode="gray">
          <a:xfrm>
            <a:off x="8831022" y="3554701"/>
            <a:ext cx="2717255" cy="162465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79996" indent="-179996" algn="ctr" defTabSz="121914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pl-PL" sz="1400" dirty="0" err="1">
              <a:solidFill>
                <a:srgbClr val="F2F2F2"/>
              </a:solidFill>
              <a:latin typeface="Arial"/>
            </a:endParaRPr>
          </a:p>
        </p:txBody>
      </p:sp>
      <p:sp>
        <p:nvSpPr>
          <p:cNvPr id="16" name="Prostokąt 24">
            <a:extLst>
              <a:ext uri="{FF2B5EF4-FFF2-40B4-BE49-F238E27FC236}">
                <a16:creationId xmlns:a16="http://schemas.microsoft.com/office/drawing/2014/main" id="{D32C6917-40A0-4897-9438-4ECCFC49DAEB}"/>
              </a:ext>
            </a:extLst>
          </p:cNvPr>
          <p:cNvSpPr/>
          <p:nvPr/>
        </p:nvSpPr>
        <p:spPr bwMode="gray">
          <a:xfrm>
            <a:off x="771045" y="3554701"/>
            <a:ext cx="2717255" cy="162465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79996" indent="-179996" algn="ctr" defTabSz="121914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pl-PL" sz="1400" dirty="0" err="1">
              <a:solidFill>
                <a:srgbClr val="F2F2F2"/>
              </a:solidFill>
              <a:latin typeface="Arial"/>
            </a:endParaRPr>
          </a:p>
        </p:txBody>
      </p:sp>
      <p:pic>
        <p:nvPicPr>
          <p:cNvPr id="17" name="Ábra 35" descr="Okostelefon">
            <a:extLst>
              <a:ext uri="{FF2B5EF4-FFF2-40B4-BE49-F238E27FC236}">
                <a16:creationId xmlns:a16="http://schemas.microsoft.com/office/drawing/2014/main" id="{687B266F-FAB8-4026-B89F-5E2E6A19666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98881" y="4605377"/>
            <a:ext cx="252267" cy="252267"/>
          </a:xfrm>
          <a:prstGeom prst="rect">
            <a:avLst/>
          </a:prstGeom>
        </p:spPr>
      </p:pic>
      <p:pic>
        <p:nvPicPr>
          <p:cNvPr id="18" name="Ábra 36" descr="Laptop">
            <a:extLst>
              <a:ext uri="{FF2B5EF4-FFF2-40B4-BE49-F238E27FC236}">
                <a16:creationId xmlns:a16="http://schemas.microsoft.com/office/drawing/2014/main" id="{1BBCA276-1611-4EEE-9DC9-0419D7C676D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2361135" y="4377720"/>
            <a:ext cx="591989" cy="591989"/>
          </a:xfrm>
          <a:prstGeom prst="rect">
            <a:avLst/>
          </a:prstGeom>
        </p:spPr>
      </p:pic>
      <p:pic>
        <p:nvPicPr>
          <p:cNvPr id="19" name="Grafika 10" descr="Táblagép">
            <a:extLst>
              <a:ext uri="{FF2B5EF4-FFF2-40B4-BE49-F238E27FC236}">
                <a16:creationId xmlns:a16="http://schemas.microsoft.com/office/drawing/2014/main" id="{05EF6A93-DE7E-402D-9BB5-516C336C3A7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 rot="10800000">
            <a:off x="1227191" y="4373910"/>
            <a:ext cx="591988" cy="591989"/>
          </a:xfrm>
          <a:prstGeom prst="rect">
            <a:avLst/>
          </a:prstGeom>
        </p:spPr>
      </p:pic>
      <p:sp>
        <p:nvSpPr>
          <p:cNvPr id="20" name="Rectangle 13">
            <a:extLst>
              <a:ext uri="{FF2B5EF4-FFF2-40B4-BE49-F238E27FC236}">
                <a16:creationId xmlns:a16="http://schemas.microsoft.com/office/drawing/2014/main" id="{287BBD10-405C-4CF2-87A5-2AF918B27B4F}"/>
              </a:ext>
            </a:extLst>
          </p:cNvPr>
          <p:cNvSpPr/>
          <p:nvPr/>
        </p:nvSpPr>
        <p:spPr>
          <a:xfrm>
            <a:off x="877052" y="3844051"/>
            <a:ext cx="2509725" cy="463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1219140">
              <a:lnSpc>
                <a:spcPct val="114000"/>
              </a:lnSpc>
            </a:pPr>
            <a:r>
              <a:rPr lang="pl-PL" sz="1200" b="1" dirty="0">
                <a:solidFill>
                  <a:srgbClr val="007D40"/>
                </a:solidFill>
                <a:latin typeface="Arial"/>
                <a:cs typeface="Arial" panose="020B0604020202020204" pitchFamily="34" charset="0"/>
              </a:rPr>
              <a:t>Početna faza treninga</a:t>
            </a:r>
          </a:p>
          <a:p>
            <a:pPr algn="ctr" defTabSz="1219140">
              <a:lnSpc>
                <a:spcPct val="114000"/>
              </a:lnSpc>
            </a:pPr>
            <a:r>
              <a:rPr lang="en-US" sz="1000" dirty="0">
                <a:solidFill>
                  <a:srgbClr val="007D40"/>
                </a:solidFill>
                <a:latin typeface="Arial"/>
                <a:cs typeface="Arial" panose="020B0604020202020204" pitchFamily="34" charset="0"/>
              </a:rPr>
              <a:t>(via App)</a:t>
            </a:r>
            <a:endParaRPr lang="pl-PL" sz="900" dirty="0">
              <a:solidFill>
                <a:srgbClr val="007D40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21" name="Obraz 5" descr="Obraz zawierający osoba, trzymający, ręka, małe&#10;&#10;Opis wygenerowany automatycznie">
            <a:extLst>
              <a:ext uri="{FF2B5EF4-FFF2-40B4-BE49-F238E27FC236}">
                <a16:creationId xmlns:a16="http://schemas.microsoft.com/office/drawing/2014/main" id="{52D83FAF-479B-4DD1-BE5F-3311A7ED161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76" y="2039636"/>
            <a:ext cx="2743200" cy="1543051"/>
          </a:xfrm>
          <a:prstGeom prst="rect">
            <a:avLst/>
          </a:prstGeom>
        </p:spPr>
      </p:pic>
      <p:sp>
        <p:nvSpPr>
          <p:cNvPr id="22" name="Owal 3">
            <a:extLst>
              <a:ext uri="{FF2B5EF4-FFF2-40B4-BE49-F238E27FC236}">
                <a16:creationId xmlns:a16="http://schemas.microsoft.com/office/drawing/2014/main" id="{DA57C855-EE6C-4A9B-9625-7BCFDF3F3DF8}"/>
              </a:ext>
            </a:extLst>
          </p:cNvPr>
          <p:cNvSpPr/>
          <p:nvPr/>
        </p:nvSpPr>
        <p:spPr bwMode="gray">
          <a:xfrm>
            <a:off x="519711" y="1798671"/>
            <a:ext cx="481931" cy="481931"/>
          </a:xfrm>
          <a:prstGeom prst="ellipse">
            <a:avLst/>
          </a:prstGeom>
          <a:solidFill>
            <a:srgbClr val="007D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219140">
              <a:spcBef>
                <a:spcPts val="600"/>
              </a:spcBef>
              <a:spcAft>
                <a:spcPts val="600"/>
              </a:spcAft>
            </a:pPr>
            <a:r>
              <a:rPr lang="de-DE" sz="1400">
                <a:solidFill>
                  <a:srgbClr val="FFFFFF"/>
                </a:solidFill>
                <a:latin typeface="Arial"/>
              </a:rPr>
              <a:t>1</a:t>
            </a:r>
            <a:endParaRPr lang="pl-PL" sz="140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3" name="Obraz 23" descr="Obraz zawierający osoba, samochód, niebieski, trzymający&#10;&#10;Opis wygenerowany automatycznie">
            <a:extLst>
              <a:ext uri="{FF2B5EF4-FFF2-40B4-BE49-F238E27FC236}">
                <a16:creationId xmlns:a16="http://schemas.microsoft.com/office/drawing/2014/main" id="{CB40020E-2134-4A66-BB04-A0BC066393B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5310" r="289" b="9311"/>
          <a:stretch/>
        </p:blipFill>
        <p:spPr>
          <a:xfrm>
            <a:off x="8820157" y="2039636"/>
            <a:ext cx="2743200" cy="1554480"/>
          </a:xfrm>
          <a:prstGeom prst="rect">
            <a:avLst/>
          </a:prstGeom>
        </p:spPr>
      </p:pic>
      <p:sp>
        <p:nvSpPr>
          <p:cNvPr id="24" name="Owal 3">
            <a:extLst>
              <a:ext uri="{FF2B5EF4-FFF2-40B4-BE49-F238E27FC236}">
                <a16:creationId xmlns:a16="http://schemas.microsoft.com/office/drawing/2014/main" id="{424F4E40-76C9-445D-8CD4-C04C1BFFC403}"/>
              </a:ext>
            </a:extLst>
          </p:cNvPr>
          <p:cNvSpPr/>
          <p:nvPr/>
        </p:nvSpPr>
        <p:spPr bwMode="gray">
          <a:xfrm>
            <a:off x="8565793" y="1798671"/>
            <a:ext cx="481931" cy="481931"/>
          </a:xfrm>
          <a:prstGeom prst="ellipse">
            <a:avLst/>
          </a:prstGeom>
          <a:solidFill>
            <a:srgbClr val="007D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219140">
              <a:spcBef>
                <a:spcPts val="600"/>
              </a:spcBef>
              <a:spcAft>
                <a:spcPts val="600"/>
              </a:spcAft>
            </a:pPr>
            <a:r>
              <a:rPr lang="de-DE" sz="1400">
                <a:solidFill>
                  <a:srgbClr val="FFFFFF"/>
                </a:solidFill>
                <a:latin typeface="Arial"/>
              </a:rPr>
              <a:t>3</a:t>
            </a:r>
            <a:endParaRPr lang="pl-PL" sz="140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6" name="Ábra 45" descr="Vásárlói vélemény">
            <a:extLst>
              <a:ext uri="{FF2B5EF4-FFF2-40B4-BE49-F238E27FC236}">
                <a16:creationId xmlns:a16="http://schemas.microsoft.com/office/drawing/2014/main" id="{A8FA61A0-11EB-4442-8788-12B99B91CA0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5080404" y="4549866"/>
            <a:ext cx="519433" cy="519433"/>
          </a:xfrm>
          <a:prstGeom prst="rect">
            <a:avLst/>
          </a:prstGeom>
        </p:spPr>
      </p:pic>
      <p:pic>
        <p:nvPicPr>
          <p:cNvPr id="27" name="Ábra 48" descr="Elektromos autó">
            <a:extLst>
              <a:ext uri="{FF2B5EF4-FFF2-40B4-BE49-F238E27FC236}">
                <a16:creationId xmlns:a16="http://schemas.microsoft.com/office/drawing/2014/main" id="{D92FDA10-196A-4DEA-802E-DF28B36DE2A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6662984" y="4412807"/>
            <a:ext cx="721360" cy="721360"/>
          </a:xfrm>
          <a:prstGeom prst="rect">
            <a:avLst/>
          </a:prstGeom>
        </p:spPr>
      </p:pic>
      <p:pic>
        <p:nvPicPr>
          <p:cNvPr id="28" name="Ábra 47" descr="Virtuális valóság headset">
            <a:extLst>
              <a:ext uri="{FF2B5EF4-FFF2-40B4-BE49-F238E27FC236}">
                <a16:creationId xmlns:a16="http://schemas.microsoft.com/office/drawing/2014/main" id="{E44CC316-B992-48B3-84E8-614F66BD6A0E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5872227" y="4496359"/>
            <a:ext cx="611407" cy="611407"/>
          </a:xfrm>
          <a:prstGeom prst="rect">
            <a:avLst/>
          </a:prstGeom>
        </p:spPr>
      </p:pic>
      <p:grpSp>
        <p:nvGrpSpPr>
          <p:cNvPr id="29" name="Grupa 28">
            <a:extLst>
              <a:ext uri="{FF2B5EF4-FFF2-40B4-BE49-F238E27FC236}">
                <a16:creationId xmlns:a16="http://schemas.microsoft.com/office/drawing/2014/main" id="{18A78A28-2F97-48E8-AA47-DEB4E9ED2DD7}"/>
              </a:ext>
            </a:extLst>
          </p:cNvPr>
          <p:cNvGrpSpPr/>
          <p:nvPr/>
        </p:nvGrpSpPr>
        <p:grpSpPr>
          <a:xfrm>
            <a:off x="4790067" y="3554702"/>
            <a:ext cx="2717255" cy="1624659"/>
            <a:chOff x="533231" y="3554701"/>
            <a:chExt cx="2717255" cy="1419536"/>
          </a:xfrm>
        </p:grpSpPr>
        <p:sp>
          <p:nvSpPr>
            <p:cNvPr id="30" name="Prostokąt 29">
              <a:extLst>
                <a:ext uri="{FF2B5EF4-FFF2-40B4-BE49-F238E27FC236}">
                  <a16:creationId xmlns:a16="http://schemas.microsoft.com/office/drawing/2014/main" id="{7E23AC33-E715-42F8-BCAD-77FA3F5B027E}"/>
                </a:ext>
              </a:extLst>
            </p:cNvPr>
            <p:cNvSpPr/>
            <p:nvPr/>
          </p:nvSpPr>
          <p:spPr bwMode="gray">
            <a:xfrm>
              <a:off x="533231" y="3554701"/>
              <a:ext cx="2717255" cy="141953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179996" indent="-179996" algn="ctr" defTabSz="1219140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endParaRPr lang="pl-PL" sz="1400" dirty="0" err="1">
                <a:solidFill>
                  <a:srgbClr val="F2F2F2"/>
                </a:solidFill>
                <a:latin typeface="Arial"/>
              </a:endParaRPr>
            </a:p>
          </p:txBody>
        </p:sp>
        <p:sp>
          <p:nvSpPr>
            <p:cNvPr id="31" name="Rectangle 13">
              <a:extLst>
                <a:ext uri="{FF2B5EF4-FFF2-40B4-BE49-F238E27FC236}">
                  <a16:creationId xmlns:a16="http://schemas.microsoft.com/office/drawing/2014/main" id="{0220EEF8-A8F1-4DB2-A416-345A40D10797}"/>
                </a:ext>
              </a:extLst>
            </p:cNvPr>
            <p:cNvSpPr/>
            <p:nvPr/>
          </p:nvSpPr>
          <p:spPr>
            <a:xfrm>
              <a:off x="623999" y="3692592"/>
              <a:ext cx="2509726" cy="8519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1219140">
                <a:lnSpc>
                  <a:spcPct val="114000"/>
                </a:lnSpc>
              </a:pPr>
              <a:r>
                <a:rPr lang="pl-PL" sz="1200" b="1" dirty="0">
                  <a:solidFill>
                    <a:srgbClr val="007D40"/>
                  </a:solidFill>
                  <a:latin typeface="Arial"/>
                  <a:cs typeface="Arial"/>
                </a:rPr>
                <a:t>Trening u učionici </a:t>
              </a:r>
              <a:r>
                <a:rPr lang="pl-PL" sz="1200" dirty="0">
                  <a:solidFill>
                    <a:srgbClr val="007D40"/>
                  </a:solidFill>
                  <a:latin typeface="Arial"/>
                  <a:cs typeface="Arial"/>
                </a:rPr>
                <a:t>(ako je potreban)</a:t>
              </a:r>
            </a:p>
            <a:p>
              <a:pPr algn="ctr" defTabSz="1219140"/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(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sa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stručnim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trenerom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i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posebnom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opremom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za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uvežbavanje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i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razgovor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o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pojedinim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radnim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 </a:t>
              </a:r>
              <a:r>
                <a:rPr lang="en-US" sz="1000" dirty="0" err="1">
                  <a:solidFill>
                    <a:srgbClr val="007D40"/>
                  </a:solidFill>
                  <a:latin typeface="Arial"/>
                  <a:cs typeface="Arial"/>
                </a:rPr>
                <a:t>zadacima</a:t>
              </a:r>
              <a:r>
                <a:rPr lang="en-US" sz="1000" dirty="0">
                  <a:solidFill>
                    <a:srgbClr val="007D40"/>
                  </a:solidFill>
                  <a:latin typeface="Arial"/>
                  <a:cs typeface="Arial"/>
                </a:rPr>
                <a:t>)</a:t>
              </a:r>
              <a:endParaRPr lang="pl-PL" sz="1000" dirty="0">
                <a:solidFill>
                  <a:srgbClr val="007D40"/>
                </a:solidFill>
                <a:latin typeface="Arial"/>
              </a:endParaRPr>
            </a:p>
          </p:txBody>
        </p:sp>
      </p:grpSp>
      <p:pic>
        <p:nvPicPr>
          <p:cNvPr id="32" name="Grafik 6" descr="Ein Bild, das Tisch, Person, sitzend, Mann enthält.&#10;&#10;Automatisch generierte Beschreibung">
            <a:extLst>
              <a:ext uri="{FF2B5EF4-FFF2-40B4-BE49-F238E27FC236}">
                <a16:creationId xmlns:a16="http://schemas.microsoft.com/office/drawing/2014/main" id="{3B90C633-BE1F-4010-A25D-2D8E54309812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b="15667"/>
          <a:stretch/>
        </p:blipFill>
        <p:spPr>
          <a:xfrm>
            <a:off x="4777367" y="2039636"/>
            <a:ext cx="2743200" cy="1554480"/>
          </a:xfrm>
          <a:prstGeom prst="rect">
            <a:avLst/>
          </a:prstGeom>
        </p:spPr>
      </p:pic>
      <p:sp>
        <p:nvSpPr>
          <p:cNvPr id="33" name="Owal 3">
            <a:extLst>
              <a:ext uri="{FF2B5EF4-FFF2-40B4-BE49-F238E27FC236}">
                <a16:creationId xmlns:a16="http://schemas.microsoft.com/office/drawing/2014/main" id="{14543698-C6C6-452C-8413-1C1D40444A2D}"/>
              </a:ext>
            </a:extLst>
          </p:cNvPr>
          <p:cNvSpPr/>
          <p:nvPr/>
        </p:nvSpPr>
        <p:spPr bwMode="gray">
          <a:xfrm>
            <a:off x="4549101" y="1798671"/>
            <a:ext cx="481931" cy="481931"/>
          </a:xfrm>
          <a:prstGeom prst="ellipse">
            <a:avLst/>
          </a:prstGeom>
          <a:solidFill>
            <a:srgbClr val="007D4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1219140">
              <a:spcBef>
                <a:spcPts val="600"/>
              </a:spcBef>
              <a:spcAft>
                <a:spcPts val="600"/>
              </a:spcAft>
            </a:pPr>
            <a:r>
              <a:rPr lang="de-DE" sz="1400" dirty="0">
                <a:solidFill>
                  <a:srgbClr val="FFFFFF"/>
                </a:solidFill>
                <a:latin typeface="Arial"/>
              </a:rPr>
              <a:t>2</a:t>
            </a:r>
            <a:endParaRPr lang="pl-PL" sz="140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4" name="Ábra 35" descr="Okostelefon">
            <a:extLst>
              <a:ext uri="{FF2B5EF4-FFF2-40B4-BE49-F238E27FC236}">
                <a16:creationId xmlns:a16="http://schemas.microsoft.com/office/drawing/2014/main" id="{EF728368-DF11-4D64-ADEB-6C0A4C415D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60371" y="4605377"/>
            <a:ext cx="252267" cy="252267"/>
          </a:xfrm>
          <a:prstGeom prst="rect">
            <a:avLst/>
          </a:prstGeom>
        </p:spPr>
      </p:pic>
      <p:pic>
        <p:nvPicPr>
          <p:cNvPr id="35" name="Ábra 36" descr="Laptop">
            <a:extLst>
              <a:ext uri="{FF2B5EF4-FFF2-40B4-BE49-F238E27FC236}">
                <a16:creationId xmlns:a16="http://schemas.microsoft.com/office/drawing/2014/main" id="{D36E6357-65E1-427E-A7E5-8583F719941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22624" y="4377720"/>
            <a:ext cx="591989" cy="591989"/>
          </a:xfrm>
          <a:prstGeom prst="rect">
            <a:avLst/>
          </a:prstGeom>
        </p:spPr>
      </p:pic>
      <p:pic>
        <p:nvPicPr>
          <p:cNvPr id="36" name="Grafika 10" descr="Táblagép">
            <a:extLst>
              <a:ext uri="{FF2B5EF4-FFF2-40B4-BE49-F238E27FC236}">
                <a16:creationId xmlns:a16="http://schemas.microsoft.com/office/drawing/2014/main" id="{687AF925-CC1C-4F01-B9F3-22B4CCD21F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 rot="10800000">
            <a:off x="9388681" y="4373910"/>
            <a:ext cx="591988" cy="591989"/>
          </a:xfrm>
          <a:prstGeom prst="rect">
            <a:avLst/>
          </a:prstGeom>
        </p:spPr>
      </p:pic>
      <p:sp>
        <p:nvSpPr>
          <p:cNvPr id="37" name="Rectangle 13">
            <a:extLst>
              <a:ext uri="{FF2B5EF4-FFF2-40B4-BE49-F238E27FC236}">
                <a16:creationId xmlns:a16="http://schemas.microsoft.com/office/drawing/2014/main" id="{5790AC0E-9565-4901-9A88-45EA84E1F658}"/>
              </a:ext>
            </a:extLst>
          </p:cNvPr>
          <p:cNvSpPr/>
          <p:nvPr/>
        </p:nvSpPr>
        <p:spPr>
          <a:xfrm>
            <a:off x="8879871" y="3844052"/>
            <a:ext cx="2619555" cy="463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 defTabSz="1219140">
              <a:lnSpc>
                <a:spcPct val="114000"/>
              </a:lnSpc>
            </a:pPr>
            <a:r>
              <a:rPr lang="en-US" sz="1200" b="1" dirty="0">
                <a:solidFill>
                  <a:srgbClr val="007D40"/>
                </a:solidFill>
                <a:latin typeface="Arial"/>
                <a:cs typeface="Arial" panose="020B0604020202020204" pitchFamily="34" charset="0"/>
              </a:rPr>
              <a:t>Digital</a:t>
            </a:r>
            <a:r>
              <a:rPr lang="sr-Latn-RS" sz="1200" b="1" dirty="0">
                <a:solidFill>
                  <a:srgbClr val="007D40"/>
                </a:solidFill>
                <a:latin typeface="Arial"/>
                <a:cs typeface="Arial" panose="020B0604020202020204" pitchFamily="34" charset="0"/>
              </a:rPr>
              <a:t>no ili uživo praktičan rad)</a:t>
            </a:r>
            <a:endParaRPr lang="en-US" sz="1200" b="1" dirty="0">
              <a:solidFill>
                <a:srgbClr val="007D40"/>
              </a:solidFill>
              <a:latin typeface="Arial"/>
              <a:cs typeface="Arial" panose="020B0604020202020204" pitchFamily="34" charset="0"/>
            </a:endParaRPr>
          </a:p>
          <a:p>
            <a:pPr algn="ctr" defTabSz="1219140">
              <a:lnSpc>
                <a:spcPct val="114000"/>
              </a:lnSpc>
            </a:pPr>
            <a:r>
              <a:rPr lang="en-US" sz="1000" dirty="0">
                <a:solidFill>
                  <a:srgbClr val="007D40"/>
                </a:solidFill>
                <a:latin typeface="Arial"/>
                <a:cs typeface="Arial" panose="020B0604020202020204" pitchFamily="34" charset="0"/>
              </a:rPr>
              <a:t>(via App</a:t>
            </a:r>
            <a:r>
              <a:rPr lang="sr-Latn-RS" sz="1000" dirty="0">
                <a:solidFill>
                  <a:srgbClr val="007D40"/>
                </a:solidFill>
                <a:latin typeface="Arial"/>
                <a:cs typeface="Arial" panose="020B0604020202020204" pitchFamily="34" charset="0"/>
              </a:rPr>
              <a:t> or in vivo</a:t>
            </a:r>
            <a:r>
              <a:rPr lang="en-US" sz="1000" dirty="0">
                <a:solidFill>
                  <a:srgbClr val="007D40"/>
                </a:solidFill>
                <a:latin typeface="Arial"/>
                <a:cs typeface="Arial" panose="020B0604020202020204" pitchFamily="34" charset="0"/>
              </a:rPr>
              <a:t>)</a:t>
            </a:r>
            <a:endParaRPr lang="pl-PL" sz="900" dirty="0">
              <a:solidFill>
                <a:srgbClr val="007D40"/>
              </a:solidFill>
              <a:latin typeface="Arial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355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E3BB99A7-009E-4F10-AE92-88A8B5BB2C0A}"/>
              </a:ext>
            </a:extLst>
          </p:cNvPr>
          <p:cNvSpPr txBox="1"/>
          <p:nvPr/>
        </p:nvSpPr>
        <p:spPr>
          <a:xfrm>
            <a:off x="363537" y="4925325"/>
            <a:ext cx="336584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de-DE" sz="1600" b="1" dirty="0" err="1">
                <a:latin typeface="Arial"/>
                <a:cs typeface="Arial"/>
              </a:rPr>
              <a:t>Bite-sized</a:t>
            </a:r>
            <a:r>
              <a:rPr lang="de-DE" sz="1600" b="1" dirty="0">
                <a:latin typeface="Arial"/>
                <a:cs typeface="Arial"/>
              </a:rPr>
              <a:t> l</a:t>
            </a:r>
            <a:r>
              <a:rPr lang="pl-PL" sz="1600" b="1" dirty="0" err="1">
                <a:latin typeface="Arial"/>
                <a:cs typeface="Arial"/>
              </a:rPr>
              <a:t>earning</a:t>
            </a:r>
            <a:r>
              <a:rPr lang="de-DE" sz="1600" b="1" dirty="0">
                <a:latin typeface="Arial"/>
                <a:cs typeface="Arial"/>
              </a:rPr>
              <a:t> </a:t>
            </a:r>
            <a:r>
              <a:rPr lang="pl-PL" sz="1600" b="1" dirty="0" err="1">
                <a:latin typeface="Arial"/>
                <a:cs typeface="Arial"/>
              </a:rPr>
              <a:t>elements</a:t>
            </a:r>
            <a:r>
              <a:rPr lang="de-DE" sz="1600" b="1" dirty="0">
                <a:latin typeface="Arial"/>
                <a:cs typeface="Arial"/>
              </a:rPr>
              <a:t> in different </a:t>
            </a:r>
            <a:r>
              <a:rPr lang="de-DE" sz="1600" b="1" dirty="0" err="1">
                <a:latin typeface="Arial"/>
                <a:cs typeface="Arial"/>
              </a:rPr>
              <a:t>formats</a:t>
            </a:r>
            <a:r>
              <a:rPr lang="de-DE" sz="1600" b="1" dirty="0">
                <a:latin typeface="Arial"/>
                <a:cs typeface="Arial"/>
              </a:rPr>
              <a:t> …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FF6A734-77FF-4459-AD5C-CA19755FB32F}" type="slidenum">
              <a:rPr lang="en-US" smtClean="0"/>
              <a:t>14</a:t>
            </a:fld>
            <a:endParaRPr lang="en-US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8546495-9154-4234-BE58-035E9884FC83}"/>
              </a:ext>
            </a:extLst>
          </p:cNvPr>
          <p:cNvSpPr txBox="1">
            <a:spLocks/>
          </p:cNvSpPr>
          <p:nvPr/>
        </p:nvSpPr>
        <p:spPr>
          <a:xfrm>
            <a:off x="515937" y="338669"/>
            <a:ext cx="5770563" cy="94219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85725" indent="0" algn="l" defTabSz="1219170" rtl="0" eaLnBrk="1" latinLnBrk="0" hangingPunct="1">
              <a:spcBef>
                <a:spcPct val="0"/>
              </a:spcBef>
              <a:buNone/>
              <a:defRPr sz="2800" b="1" kern="1200" spc="200" baseline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sr-Latn-RS" sz="2667" dirty="0">
                <a:solidFill>
                  <a:srgbClr val="007D40"/>
                </a:solidFill>
                <a:latin typeface="Arial Narrow"/>
                <a:cs typeface="Arial"/>
              </a:rPr>
              <a:t>Faze i moduli obuke i učenje </a:t>
            </a:r>
          </a:p>
          <a:p>
            <a:r>
              <a:rPr lang="sr-Latn-RS" sz="2667" dirty="0">
                <a:solidFill>
                  <a:srgbClr val="007D40"/>
                </a:solidFill>
                <a:latin typeface="Arial Narrow"/>
                <a:cs typeface="Arial"/>
              </a:rPr>
              <a:t>kroz app, praksu i rad sa trenerom</a:t>
            </a:r>
            <a:endParaRPr lang="en-US" sz="2667" dirty="0">
              <a:solidFill>
                <a:srgbClr val="007D40"/>
              </a:solidFill>
              <a:latin typeface="Arial Narrow"/>
              <a:cs typeface="Arial"/>
            </a:endParaRPr>
          </a:p>
          <a:p>
            <a:br>
              <a:rPr lang="en-US" dirty="0">
                <a:solidFill>
                  <a:schemeClr val="bg2">
                    <a:lumMod val="50000"/>
                  </a:schemeClr>
                </a:solidFill>
                <a:ea typeface="Calibri" panose="020F0502020204030204" pitchFamily="34" charset="0"/>
              </a:rPr>
            </a:br>
            <a:br>
              <a:rPr lang="de-DE" dirty="0"/>
            </a:br>
            <a:endParaRPr lang="de-DE" dirty="0"/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005B3818-669F-4C2B-8C8E-415514EDD9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9213" y="2310700"/>
            <a:ext cx="4122660" cy="211257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11" name="Textfeld 5">
            <a:extLst>
              <a:ext uri="{FF2B5EF4-FFF2-40B4-BE49-F238E27FC236}">
                <a16:creationId xmlns:a16="http://schemas.microsoft.com/office/drawing/2014/main" id="{E3BB99A7-009E-4F10-AE92-88A8B5BB2C0A}"/>
              </a:ext>
            </a:extLst>
          </p:cNvPr>
          <p:cNvSpPr txBox="1"/>
          <p:nvPr/>
        </p:nvSpPr>
        <p:spPr>
          <a:xfrm>
            <a:off x="3921182" y="4925325"/>
            <a:ext cx="3365849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de-DE" sz="1600" b="1" dirty="0" err="1">
                <a:latin typeface="Arial"/>
                <a:cs typeface="Arial"/>
              </a:rPr>
              <a:t>are</a:t>
            </a:r>
            <a:r>
              <a:rPr lang="de-DE" sz="1600" b="1" dirty="0">
                <a:latin typeface="Arial"/>
                <a:cs typeface="Arial"/>
              </a:rPr>
              <a:t> </a:t>
            </a:r>
            <a:r>
              <a:rPr lang="de-DE" sz="1600" b="1" dirty="0" err="1">
                <a:latin typeface="Arial"/>
                <a:cs typeface="Arial"/>
              </a:rPr>
              <a:t>placed</a:t>
            </a:r>
            <a:r>
              <a:rPr lang="de-DE" sz="1600" b="1" dirty="0">
                <a:latin typeface="Arial"/>
                <a:cs typeface="Arial"/>
              </a:rPr>
              <a:t> in a </a:t>
            </a:r>
            <a:r>
              <a:rPr lang="de-DE" sz="1600" b="1" dirty="0" err="1">
                <a:latin typeface="Arial"/>
                <a:cs typeface="Arial"/>
              </a:rPr>
              <a:t>cube</a:t>
            </a:r>
            <a:r>
              <a:rPr lang="de-DE" sz="1600" b="1" dirty="0">
                <a:latin typeface="Arial"/>
                <a:cs typeface="Arial"/>
              </a:rPr>
              <a:t> </a:t>
            </a:r>
            <a:r>
              <a:rPr lang="de-DE" sz="1600" b="1" dirty="0" err="1">
                <a:latin typeface="Arial"/>
                <a:cs typeface="Arial"/>
              </a:rPr>
              <a:t>with</a:t>
            </a:r>
            <a:r>
              <a:rPr lang="de-DE" sz="1600" b="1" dirty="0">
                <a:latin typeface="Arial"/>
                <a:cs typeface="Arial"/>
              </a:rPr>
              <a:t> different </a:t>
            </a:r>
            <a:r>
              <a:rPr lang="de-DE" sz="1600" b="1" err="1">
                <a:latin typeface="Arial"/>
                <a:cs typeface="Arial"/>
              </a:rPr>
              <a:t>levels</a:t>
            </a:r>
            <a:r>
              <a:rPr lang="de-DE" sz="1600" b="1" dirty="0">
                <a:latin typeface="Arial"/>
                <a:cs typeface="Arial"/>
              </a:rPr>
              <a:t>.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E3BB99A7-009E-4F10-AE92-88A8B5BB2C0A}"/>
              </a:ext>
            </a:extLst>
          </p:cNvPr>
          <p:cNvSpPr txBox="1"/>
          <p:nvPr/>
        </p:nvSpPr>
        <p:spPr>
          <a:xfrm>
            <a:off x="7772514" y="4925324"/>
            <a:ext cx="365283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de-DE" sz="1600" b="1" err="1">
                <a:latin typeface="Arial"/>
                <a:cs typeface="Arial"/>
              </a:rPr>
              <a:t>Learners</a:t>
            </a:r>
            <a:r>
              <a:rPr lang="de-DE" sz="1600" b="1">
                <a:latin typeface="Arial"/>
                <a:cs typeface="Arial"/>
              </a:rPr>
              <a:t> </a:t>
            </a:r>
            <a:r>
              <a:rPr lang="de-DE" sz="1600" b="1" err="1">
                <a:latin typeface="Arial"/>
                <a:cs typeface="Arial"/>
              </a:rPr>
              <a:t>discover</a:t>
            </a:r>
            <a:r>
              <a:rPr lang="de-DE" sz="1600" b="1">
                <a:latin typeface="Arial"/>
                <a:cs typeface="Arial"/>
              </a:rPr>
              <a:t> </a:t>
            </a:r>
            <a:r>
              <a:rPr lang="de-DE" sz="1600" b="1" err="1">
                <a:latin typeface="Arial"/>
                <a:cs typeface="Arial"/>
              </a:rPr>
              <a:t>one</a:t>
            </a:r>
            <a:r>
              <a:rPr lang="de-DE" sz="1600" b="1" dirty="0">
                <a:latin typeface="Arial"/>
                <a:cs typeface="Arial"/>
              </a:rPr>
              <a:t> </a:t>
            </a:r>
            <a:r>
              <a:rPr lang="de-DE" sz="1600" b="1" dirty="0" err="1">
                <a:latin typeface="Arial"/>
                <a:cs typeface="Arial"/>
              </a:rPr>
              <a:t>learning</a:t>
            </a:r>
            <a:r>
              <a:rPr lang="de-DE" sz="1600" b="1" dirty="0">
                <a:latin typeface="Arial"/>
                <a:cs typeface="Arial"/>
              </a:rPr>
              <a:t> </a:t>
            </a:r>
            <a:r>
              <a:rPr lang="de-DE" sz="1600" b="1" dirty="0" err="1">
                <a:latin typeface="Arial"/>
                <a:cs typeface="Arial"/>
              </a:rPr>
              <a:t>element</a:t>
            </a:r>
            <a:r>
              <a:rPr lang="de-DE" sz="1600" b="1" dirty="0">
                <a:latin typeface="Arial"/>
                <a:cs typeface="Arial"/>
              </a:rPr>
              <a:t> in </a:t>
            </a:r>
            <a:r>
              <a:rPr lang="de-DE" sz="1600" b="1" dirty="0" err="1">
                <a:latin typeface="Arial"/>
                <a:cs typeface="Arial"/>
              </a:rPr>
              <a:t>each</a:t>
            </a:r>
            <a:r>
              <a:rPr lang="de-DE" sz="1600" b="1" dirty="0">
                <a:latin typeface="Arial"/>
                <a:cs typeface="Arial"/>
              </a:rPr>
              <a:t> </a:t>
            </a:r>
            <a:r>
              <a:rPr lang="de-DE" sz="1600" b="1" dirty="0" err="1">
                <a:latin typeface="Arial"/>
                <a:cs typeface="Arial"/>
              </a:rPr>
              <a:t>square</a:t>
            </a:r>
            <a:r>
              <a:rPr lang="de-DE" sz="1600" b="1" dirty="0">
                <a:latin typeface="Arial"/>
                <a:cs typeface="Arial"/>
              </a:rPr>
              <a:t> (</a:t>
            </a:r>
            <a:r>
              <a:rPr lang="de-DE" sz="1600" b="1" dirty="0" err="1">
                <a:latin typeface="Arial"/>
                <a:cs typeface="Arial"/>
              </a:rPr>
              <a:t>level</a:t>
            </a:r>
            <a:r>
              <a:rPr lang="de-DE" sz="1600" b="1" dirty="0">
                <a:latin typeface="Arial"/>
                <a:cs typeface="Arial"/>
              </a:rPr>
              <a:t> 2).</a:t>
            </a:r>
          </a:p>
        </p:txBody>
      </p:sp>
      <p:sp>
        <p:nvSpPr>
          <p:cNvPr id="20" name="Prostokąt: zaokrąglone rogi 19">
            <a:extLst>
              <a:ext uri="{FF2B5EF4-FFF2-40B4-BE49-F238E27FC236}">
                <a16:creationId xmlns:a16="http://schemas.microsoft.com/office/drawing/2014/main" id="{644CD4A5-CA85-4976-A303-E7CABC3A9120}"/>
              </a:ext>
            </a:extLst>
          </p:cNvPr>
          <p:cNvSpPr/>
          <p:nvPr/>
        </p:nvSpPr>
        <p:spPr>
          <a:xfrm>
            <a:off x="515937" y="2178310"/>
            <a:ext cx="3159469" cy="2319529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l-PL"/>
          </a:p>
        </p:txBody>
      </p:sp>
      <p:sp>
        <p:nvSpPr>
          <p:cNvPr id="21" name="Prostokąt: zaokrąglone rogi 20">
            <a:extLst>
              <a:ext uri="{FF2B5EF4-FFF2-40B4-BE49-F238E27FC236}">
                <a16:creationId xmlns:a16="http://schemas.microsoft.com/office/drawing/2014/main" id="{84193F3C-C96B-422B-8D3C-773D07A8F7FE}"/>
              </a:ext>
            </a:extLst>
          </p:cNvPr>
          <p:cNvSpPr/>
          <p:nvPr/>
        </p:nvSpPr>
        <p:spPr>
          <a:xfrm>
            <a:off x="634654" y="3584940"/>
            <a:ext cx="1359656" cy="1274835"/>
          </a:xfrm>
          <a:prstGeom prst="roundRect">
            <a:avLst>
              <a:gd name="adj" fmla="val 11719"/>
            </a:avLst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9588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l-PL" dirty="0"/>
          </a:p>
        </p:txBody>
      </p:sp>
      <p:sp>
        <p:nvSpPr>
          <p:cNvPr id="23" name="Prostokąt: zaokrąglone rogi 22">
            <a:extLst>
              <a:ext uri="{FF2B5EF4-FFF2-40B4-BE49-F238E27FC236}">
                <a16:creationId xmlns:a16="http://schemas.microsoft.com/office/drawing/2014/main" id="{D2FB7A23-CB08-40A5-AD83-8CAA5E25F00F}"/>
              </a:ext>
            </a:extLst>
          </p:cNvPr>
          <p:cNvSpPr/>
          <p:nvPr/>
        </p:nvSpPr>
        <p:spPr>
          <a:xfrm>
            <a:off x="2198343" y="2035824"/>
            <a:ext cx="1359656" cy="1181858"/>
          </a:xfrm>
          <a:prstGeom prst="roundRect">
            <a:avLst>
              <a:gd name="adj" fmla="val 10000"/>
            </a:avLst>
          </a:pr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005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SI"/>
          </a:p>
        </p:txBody>
      </p:sp>
      <p:sp>
        <p:nvSpPr>
          <p:cNvPr id="26" name="Prostokąt: zaokrąglone rogi 25">
            <a:extLst>
              <a:ext uri="{FF2B5EF4-FFF2-40B4-BE49-F238E27FC236}">
                <a16:creationId xmlns:a16="http://schemas.microsoft.com/office/drawing/2014/main" id="{ABC5062C-0E5E-4108-B5BF-7B84ACBCEA36}"/>
              </a:ext>
            </a:extLst>
          </p:cNvPr>
          <p:cNvSpPr/>
          <p:nvPr/>
        </p:nvSpPr>
        <p:spPr>
          <a:xfrm>
            <a:off x="630475" y="2026180"/>
            <a:ext cx="1359656" cy="1181858"/>
          </a:xfrm>
          <a:prstGeom prst="roundRect">
            <a:avLst>
              <a:gd name="adj" fmla="val 10000"/>
            </a:avLst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SI"/>
          </a:p>
        </p:txBody>
      </p:sp>
      <p:sp>
        <p:nvSpPr>
          <p:cNvPr id="28" name="Prostokąt: zaokrąglone rogi 27">
            <a:extLst>
              <a:ext uri="{FF2B5EF4-FFF2-40B4-BE49-F238E27FC236}">
                <a16:creationId xmlns:a16="http://schemas.microsoft.com/office/drawing/2014/main" id="{F28CFB40-1AB4-482E-AF7D-CE21A06FBC51}"/>
              </a:ext>
            </a:extLst>
          </p:cNvPr>
          <p:cNvSpPr/>
          <p:nvPr/>
        </p:nvSpPr>
        <p:spPr>
          <a:xfrm>
            <a:off x="2207824" y="3646313"/>
            <a:ext cx="1359656" cy="1181858"/>
          </a:xfrm>
          <a:prstGeom prst="roundRect">
            <a:avLst>
              <a:gd name="adj" fmla="val 0"/>
            </a:avLst>
          </a:prstGeom>
          <a:blipFill dpi="0"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7705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SI"/>
          </a:p>
        </p:txBody>
      </p:sp>
      <p:sp>
        <p:nvSpPr>
          <p:cNvPr id="29" name="Dowolny kształt: kształt 28">
            <a:extLst>
              <a:ext uri="{FF2B5EF4-FFF2-40B4-BE49-F238E27FC236}">
                <a16:creationId xmlns:a16="http://schemas.microsoft.com/office/drawing/2014/main" id="{7A219707-D4D6-4E22-B731-4EDFCBAF2BCD}"/>
              </a:ext>
            </a:extLst>
          </p:cNvPr>
          <p:cNvSpPr/>
          <p:nvPr/>
        </p:nvSpPr>
        <p:spPr>
          <a:xfrm rot="10800000">
            <a:off x="2203084" y="3282251"/>
            <a:ext cx="1359656" cy="404960"/>
          </a:xfrm>
          <a:custGeom>
            <a:avLst/>
            <a:gdLst>
              <a:gd name="connsiteX0" fmla="*/ 103557 w 1359656"/>
              <a:gd name="connsiteY0" fmla="*/ 0 h 986261"/>
              <a:gd name="connsiteX1" fmla="*/ 1256099 w 1359656"/>
              <a:gd name="connsiteY1" fmla="*/ 0 h 986261"/>
              <a:gd name="connsiteX2" fmla="*/ 1359656 w 1359656"/>
              <a:gd name="connsiteY2" fmla="*/ 103557 h 986261"/>
              <a:gd name="connsiteX3" fmla="*/ 1359656 w 1359656"/>
              <a:gd name="connsiteY3" fmla="*/ 986261 h 986261"/>
              <a:gd name="connsiteX4" fmla="*/ 1359656 w 1359656"/>
              <a:gd name="connsiteY4" fmla="*/ 986261 h 986261"/>
              <a:gd name="connsiteX5" fmla="*/ 0 w 1359656"/>
              <a:gd name="connsiteY5" fmla="*/ 986261 h 986261"/>
              <a:gd name="connsiteX6" fmla="*/ 0 w 1359656"/>
              <a:gd name="connsiteY6" fmla="*/ 986261 h 986261"/>
              <a:gd name="connsiteX7" fmla="*/ 0 w 1359656"/>
              <a:gd name="connsiteY7" fmla="*/ 103557 h 986261"/>
              <a:gd name="connsiteX8" fmla="*/ 103557 w 1359656"/>
              <a:gd name="connsiteY8" fmla="*/ 0 h 986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59656" h="986261">
                <a:moveTo>
                  <a:pt x="1256099" y="986261"/>
                </a:moveTo>
                <a:lnTo>
                  <a:pt x="103557" y="986261"/>
                </a:lnTo>
                <a:cubicBezTo>
                  <a:pt x="46364" y="986261"/>
                  <a:pt x="0" y="939897"/>
                  <a:pt x="0" y="882704"/>
                </a:cubicBezTo>
                <a:lnTo>
                  <a:pt x="0" y="0"/>
                </a:lnTo>
                <a:lnTo>
                  <a:pt x="0" y="0"/>
                </a:lnTo>
                <a:lnTo>
                  <a:pt x="1359656" y="0"/>
                </a:lnTo>
                <a:lnTo>
                  <a:pt x="1359656" y="0"/>
                </a:lnTo>
                <a:lnTo>
                  <a:pt x="1359656" y="882704"/>
                </a:lnTo>
                <a:cubicBezTo>
                  <a:pt x="1359656" y="939897"/>
                  <a:pt x="1313292" y="986261"/>
                  <a:pt x="1256099" y="986261"/>
                </a:cubicBez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spcFirstLastPara="0" vert="horz" wrap="square" lIns="172571" tIns="142241" rIns="172571" bIns="172571" numCol="1" spcCol="1270" anchor="t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>
              <a:latin typeface="Arial"/>
              <a:cs typeface="Arial"/>
            </a:endParaRPr>
          </a:p>
        </p:txBody>
      </p:sp>
      <p:pic>
        <p:nvPicPr>
          <p:cNvPr id="7" name="Obraz 6" descr="Obraz zawierający pudełko, cegła&#10;&#10;Opis wygenerowany automatycznie">
            <a:extLst>
              <a:ext uri="{FF2B5EF4-FFF2-40B4-BE49-F238E27FC236}">
                <a16:creationId xmlns:a16="http://schemas.microsoft.com/office/drawing/2014/main" id="{961F50A6-25A3-4F15-9751-BD8EC87988A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34" r="25583"/>
          <a:stretch/>
        </p:blipFill>
        <p:spPr>
          <a:xfrm>
            <a:off x="4474866" y="2222779"/>
            <a:ext cx="2119690" cy="22027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313B39B-FC92-4F5E-965B-6B20BB67BA0D}"/>
              </a:ext>
            </a:extLst>
          </p:cNvPr>
          <p:cNvSpPr txBox="1"/>
          <p:nvPr/>
        </p:nvSpPr>
        <p:spPr bwMode="gray">
          <a:xfrm>
            <a:off x="2411856" y="3333532"/>
            <a:ext cx="94211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000" dirty="0">
                <a:solidFill>
                  <a:schemeClr val="bg1"/>
                </a:solidFill>
              </a:rPr>
              <a:t>Learning Sequence</a:t>
            </a:r>
            <a:r>
              <a:rPr lang="pl-PL" sz="1000" dirty="0">
                <a:solidFill>
                  <a:schemeClr val="bg1"/>
                </a:solidFill>
              </a:rPr>
              <a:t>s</a:t>
            </a:r>
            <a:endParaRPr lang="en-US" sz="10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35487242-6FC3-43C9-9C0F-D3D426F0FE89}"/>
              </a:ext>
            </a:extLst>
          </p:cNvPr>
          <p:cNvSpPr txBox="1"/>
          <p:nvPr/>
        </p:nvSpPr>
        <p:spPr bwMode="gray">
          <a:xfrm>
            <a:off x="843426" y="3439680"/>
            <a:ext cx="942110" cy="1538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pl-PL" sz="1000" dirty="0">
                <a:solidFill>
                  <a:schemeClr val="bg1"/>
                </a:solidFill>
                <a:cs typeface="Arial"/>
              </a:rPr>
              <a:t>3D Applications</a:t>
            </a:r>
            <a:endParaRPr lang="en-US" sz="10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5" name="Dowolny kształt: kształt 14">
            <a:extLst>
              <a:ext uri="{FF2B5EF4-FFF2-40B4-BE49-F238E27FC236}">
                <a16:creationId xmlns:a16="http://schemas.microsoft.com/office/drawing/2014/main" id="{7F15DE91-E037-4ABD-B2EB-1818B3FDF3CB}"/>
              </a:ext>
            </a:extLst>
          </p:cNvPr>
          <p:cNvSpPr/>
          <p:nvPr/>
        </p:nvSpPr>
        <p:spPr>
          <a:xfrm rot="10800000">
            <a:off x="2198343" y="1780710"/>
            <a:ext cx="1359656" cy="333131"/>
          </a:xfrm>
          <a:custGeom>
            <a:avLst/>
            <a:gdLst>
              <a:gd name="connsiteX0" fmla="*/ 103557 w 1359656"/>
              <a:gd name="connsiteY0" fmla="*/ 0 h 986261"/>
              <a:gd name="connsiteX1" fmla="*/ 1256099 w 1359656"/>
              <a:gd name="connsiteY1" fmla="*/ 0 h 986261"/>
              <a:gd name="connsiteX2" fmla="*/ 1359656 w 1359656"/>
              <a:gd name="connsiteY2" fmla="*/ 103557 h 986261"/>
              <a:gd name="connsiteX3" fmla="*/ 1359656 w 1359656"/>
              <a:gd name="connsiteY3" fmla="*/ 986261 h 986261"/>
              <a:gd name="connsiteX4" fmla="*/ 1359656 w 1359656"/>
              <a:gd name="connsiteY4" fmla="*/ 986261 h 986261"/>
              <a:gd name="connsiteX5" fmla="*/ 0 w 1359656"/>
              <a:gd name="connsiteY5" fmla="*/ 986261 h 986261"/>
              <a:gd name="connsiteX6" fmla="*/ 0 w 1359656"/>
              <a:gd name="connsiteY6" fmla="*/ 986261 h 986261"/>
              <a:gd name="connsiteX7" fmla="*/ 0 w 1359656"/>
              <a:gd name="connsiteY7" fmla="*/ 103557 h 986261"/>
              <a:gd name="connsiteX8" fmla="*/ 103557 w 1359656"/>
              <a:gd name="connsiteY8" fmla="*/ 0 h 986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59656" h="986261">
                <a:moveTo>
                  <a:pt x="1256099" y="986261"/>
                </a:moveTo>
                <a:lnTo>
                  <a:pt x="103557" y="986261"/>
                </a:lnTo>
                <a:cubicBezTo>
                  <a:pt x="46364" y="986261"/>
                  <a:pt x="0" y="939897"/>
                  <a:pt x="0" y="882704"/>
                </a:cubicBezTo>
                <a:lnTo>
                  <a:pt x="0" y="0"/>
                </a:lnTo>
                <a:lnTo>
                  <a:pt x="0" y="0"/>
                </a:lnTo>
                <a:lnTo>
                  <a:pt x="1359656" y="0"/>
                </a:lnTo>
                <a:lnTo>
                  <a:pt x="1359656" y="0"/>
                </a:lnTo>
                <a:lnTo>
                  <a:pt x="1359656" y="882704"/>
                </a:lnTo>
                <a:cubicBezTo>
                  <a:pt x="1359656" y="939897"/>
                  <a:pt x="1313292" y="986261"/>
                  <a:pt x="1256099" y="986261"/>
                </a:cubicBez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spcFirstLastPara="0" vert="horz" wrap="square" lIns="172571" tIns="142241" rIns="172571" bIns="172571" numCol="1" spcCol="1270" anchor="t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>
              <a:latin typeface="Arial"/>
              <a:cs typeface="Arial"/>
            </a:endParaRP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CEC40D68-57B3-4CA3-9AA3-E21B706EF389}"/>
              </a:ext>
            </a:extLst>
          </p:cNvPr>
          <p:cNvSpPr txBox="1"/>
          <p:nvPr/>
        </p:nvSpPr>
        <p:spPr bwMode="gray">
          <a:xfrm>
            <a:off x="2407115" y="1858755"/>
            <a:ext cx="942110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pl-PL" sz="1050" dirty="0" err="1">
                <a:solidFill>
                  <a:schemeClr val="bg1"/>
                </a:solidFill>
                <a:cs typeface="Arial"/>
              </a:rPr>
              <a:t>Videos</a:t>
            </a:r>
            <a:endParaRPr lang="en-US" sz="105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7" name="Dowolny kształt: kształt 16">
            <a:extLst>
              <a:ext uri="{FF2B5EF4-FFF2-40B4-BE49-F238E27FC236}">
                <a16:creationId xmlns:a16="http://schemas.microsoft.com/office/drawing/2014/main" id="{C94033C7-5701-4DF3-88F7-EF134108D05A}"/>
              </a:ext>
            </a:extLst>
          </p:cNvPr>
          <p:cNvSpPr/>
          <p:nvPr/>
        </p:nvSpPr>
        <p:spPr>
          <a:xfrm rot="10800000">
            <a:off x="634653" y="1760835"/>
            <a:ext cx="1359656" cy="353006"/>
          </a:xfrm>
          <a:custGeom>
            <a:avLst/>
            <a:gdLst>
              <a:gd name="connsiteX0" fmla="*/ 103557 w 1359656"/>
              <a:gd name="connsiteY0" fmla="*/ 0 h 986261"/>
              <a:gd name="connsiteX1" fmla="*/ 1256099 w 1359656"/>
              <a:gd name="connsiteY1" fmla="*/ 0 h 986261"/>
              <a:gd name="connsiteX2" fmla="*/ 1359656 w 1359656"/>
              <a:gd name="connsiteY2" fmla="*/ 103557 h 986261"/>
              <a:gd name="connsiteX3" fmla="*/ 1359656 w 1359656"/>
              <a:gd name="connsiteY3" fmla="*/ 986261 h 986261"/>
              <a:gd name="connsiteX4" fmla="*/ 1359656 w 1359656"/>
              <a:gd name="connsiteY4" fmla="*/ 986261 h 986261"/>
              <a:gd name="connsiteX5" fmla="*/ 0 w 1359656"/>
              <a:gd name="connsiteY5" fmla="*/ 986261 h 986261"/>
              <a:gd name="connsiteX6" fmla="*/ 0 w 1359656"/>
              <a:gd name="connsiteY6" fmla="*/ 986261 h 986261"/>
              <a:gd name="connsiteX7" fmla="*/ 0 w 1359656"/>
              <a:gd name="connsiteY7" fmla="*/ 103557 h 986261"/>
              <a:gd name="connsiteX8" fmla="*/ 103557 w 1359656"/>
              <a:gd name="connsiteY8" fmla="*/ 0 h 986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59656" h="986261">
                <a:moveTo>
                  <a:pt x="1256099" y="986261"/>
                </a:moveTo>
                <a:lnTo>
                  <a:pt x="103557" y="986261"/>
                </a:lnTo>
                <a:cubicBezTo>
                  <a:pt x="46364" y="986261"/>
                  <a:pt x="0" y="939897"/>
                  <a:pt x="0" y="882704"/>
                </a:cubicBezTo>
                <a:lnTo>
                  <a:pt x="0" y="0"/>
                </a:lnTo>
                <a:lnTo>
                  <a:pt x="0" y="0"/>
                </a:lnTo>
                <a:lnTo>
                  <a:pt x="1359656" y="0"/>
                </a:lnTo>
                <a:lnTo>
                  <a:pt x="1359656" y="0"/>
                </a:lnTo>
                <a:lnTo>
                  <a:pt x="1359656" y="882704"/>
                </a:lnTo>
                <a:cubicBezTo>
                  <a:pt x="1359656" y="939897"/>
                  <a:pt x="1313292" y="986261"/>
                  <a:pt x="1256099" y="986261"/>
                </a:cubicBez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spcFirstLastPara="0" vert="horz" wrap="square" lIns="172571" tIns="142241" rIns="172571" bIns="172571" numCol="1" spcCol="1270" anchor="t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>
              <a:latin typeface="Arial"/>
              <a:cs typeface="Arial"/>
            </a:endParaRPr>
          </a:p>
        </p:txBody>
      </p:sp>
      <p:sp>
        <p:nvSpPr>
          <p:cNvPr id="39" name="TextBox 1">
            <a:extLst>
              <a:ext uri="{FF2B5EF4-FFF2-40B4-BE49-F238E27FC236}">
                <a16:creationId xmlns:a16="http://schemas.microsoft.com/office/drawing/2014/main" id="{0EC131E4-FA88-4015-B858-B0B828BB2390}"/>
              </a:ext>
            </a:extLst>
          </p:cNvPr>
          <p:cNvSpPr txBox="1"/>
          <p:nvPr/>
        </p:nvSpPr>
        <p:spPr bwMode="gray">
          <a:xfrm>
            <a:off x="837975" y="1854338"/>
            <a:ext cx="942110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pl-PL" sz="1050" dirty="0" err="1">
                <a:solidFill>
                  <a:schemeClr val="bg1"/>
                </a:solidFill>
                <a:cs typeface="Arial"/>
              </a:rPr>
              <a:t>Infographics</a:t>
            </a:r>
            <a:endParaRPr lang="en-US" sz="105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2" name="Dowolny kształt: kształt 41">
            <a:extLst>
              <a:ext uri="{FF2B5EF4-FFF2-40B4-BE49-F238E27FC236}">
                <a16:creationId xmlns:a16="http://schemas.microsoft.com/office/drawing/2014/main" id="{6B2146C7-A4A8-4D49-86FA-56E895C631EC}"/>
              </a:ext>
            </a:extLst>
          </p:cNvPr>
          <p:cNvSpPr/>
          <p:nvPr/>
        </p:nvSpPr>
        <p:spPr>
          <a:xfrm rot="10800000">
            <a:off x="634653" y="3282251"/>
            <a:ext cx="1359656" cy="404960"/>
          </a:xfrm>
          <a:custGeom>
            <a:avLst/>
            <a:gdLst>
              <a:gd name="connsiteX0" fmla="*/ 103557 w 1359656"/>
              <a:gd name="connsiteY0" fmla="*/ 0 h 986261"/>
              <a:gd name="connsiteX1" fmla="*/ 1256099 w 1359656"/>
              <a:gd name="connsiteY1" fmla="*/ 0 h 986261"/>
              <a:gd name="connsiteX2" fmla="*/ 1359656 w 1359656"/>
              <a:gd name="connsiteY2" fmla="*/ 103557 h 986261"/>
              <a:gd name="connsiteX3" fmla="*/ 1359656 w 1359656"/>
              <a:gd name="connsiteY3" fmla="*/ 986261 h 986261"/>
              <a:gd name="connsiteX4" fmla="*/ 1359656 w 1359656"/>
              <a:gd name="connsiteY4" fmla="*/ 986261 h 986261"/>
              <a:gd name="connsiteX5" fmla="*/ 0 w 1359656"/>
              <a:gd name="connsiteY5" fmla="*/ 986261 h 986261"/>
              <a:gd name="connsiteX6" fmla="*/ 0 w 1359656"/>
              <a:gd name="connsiteY6" fmla="*/ 986261 h 986261"/>
              <a:gd name="connsiteX7" fmla="*/ 0 w 1359656"/>
              <a:gd name="connsiteY7" fmla="*/ 103557 h 986261"/>
              <a:gd name="connsiteX8" fmla="*/ 103557 w 1359656"/>
              <a:gd name="connsiteY8" fmla="*/ 0 h 986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59656" h="986261">
                <a:moveTo>
                  <a:pt x="1256099" y="986261"/>
                </a:moveTo>
                <a:lnTo>
                  <a:pt x="103557" y="986261"/>
                </a:lnTo>
                <a:cubicBezTo>
                  <a:pt x="46364" y="986261"/>
                  <a:pt x="0" y="939897"/>
                  <a:pt x="0" y="882704"/>
                </a:cubicBezTo>
                <a:lnTo>
                  <a:pt x="0" y="0"/>
                </a:lnTo>
                <a:lnTo>
                  <a:pt x="0" y="0"/>
                </a:lnTo>
                <a:lnTo>
                  <a:pt x="1359656" y="0"/>
                </a:lnTo>
                <a:lnTo>
                  <a:pt x="1359656" y="0"/>
                </a:lnTo>
                <a:lnTo>
                  <a:pt x="1359656" y="882704"/>
                </a:lnTo>
                <a:cubicBezTo>
                  <a:pt x="1359656" y="939897"/>
                  <a:pt x="1313292" y="986261"/>
                  <a:pt x="1256099" y="986261"/>
                </a:cubicBez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spcFirstLastPara="0" vert="horz" wrap="square" lIns="172571" tIns="142241" rIns="172571" bIns="172571" numCol="1" spcCol="1270" anchor="t" anchorCtr="0">
            <a:noAutofit/>
          </a:bodyPr>
          <a:lstStyle/>
          <a:p>
            <a:pPr marL="0" lvl="0" indent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de-DE" sz="1200" kern="1200" dirty="0">
              <a:latin typeface="Arial"/>
              <a:cs typeface="Arial"/>
            </a:endParaRPr>
          </a:p>
        </p:txBody>
      </p:sp>
      <p:sp>
        <p:nvSpPr>
          <p:cNvPr id="44" name="TextBox 1">
            <a:extLst>
              <a:ext uri="{FF2B5EF4-FFF2-40B4-BE49-F238E27FC236}">
                <a16:creationId xmlns:a16="http://schemas.microsoft.com/office/drawing/2014/main" id="{9B759C02-6C4D-4E5F-8635-B8E07214DC8F}"/>
              </a:ext>
            </a:extLst>
          </p:cNvPr>
          <p:cNvSpPr txBox="1"/>
          <p:nvPr/>
        </p:nvSpPr>
        <p:spPr bwMode="gray">
          <a:xfrm>
            <a:off x="843425" y="3333532"/>
            <a:ext cx="94211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pl-PL" sz="1000" dirty="0">
                <a:solidFill>
                  <a:schemeClr val="bg1"/>
                </a:solidFill>
                <a:cs typeface="Arial"/>
              </a:rPr>
              <a:t>3D </a:t>
            </a:r>
            <a:br>
              <a:rPr lang="pl-PL" sz="1000" dirty="0">
                <a:solidFill>
                  <a:schemeClr val="bg1"/>
                </a:solidFill>
                <a:cs typeface="Arial"/>
              </a:rPr>
            </a:br>
            <a:r>
              <a:rPr lang="pl-PL" sz="1000" dirty="0">
                <a:solidFill>
                  <a:schemeClr val="bg1"/>
                </a:solidFill>
                <a:cs typeface="Arial"/>
              </a:rPr>
              <a:t>Applications</a:t>
            </a:r>
            <a:endParaRPr lang="en-US" sz="1000" dirty="0">
              <a:solidFill>
                <a:schemeClr val="bg1"/>
              </a:solidFill>
              <a:cs typeface="Arial"/>
            </a:endParaRPr>
          </a:p>
        </p:txBody>
      </p:sp>
      <p:pic>
        <p:nvPicPr>
          <p:cNvPr id="4" name="Slika 10">
            <a:extLst>
              <a:ext uri="{FF2B5EF4-FFF2-40B4-BE49-F238E27FC236}">
                <a16:creationId xmlns:a16="http://schemas.microsoft.com/office/drawing/2014/main" id="{6818F902-9616-237C-10C0-98FB41816C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09464" y="745695"/>
            <a:ext cx="2647951" cy="1514475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F742184D-B3FA-065D-1270-7DDA1E9A86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946" y="4676661"/>
            <a:ext cx="1609725" cy="166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64A85EB2-137D-DDCB-BDE5-DF1CB6570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131" y="633759"/>
            <a:ext cx="2410792" cy="163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Slika 8">
            <a:extLst>
              <a:ext uri="{FF2B5EF4-FFF2-40B4-BE49-F238E27FC236}">
                <a16:creationId xmlns:a16="http://schemas.microsoft.com/office/drawing/2014/main" id="{26005776-9063-AB33-0875-534449082C9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02981" y="1501157"/>
            <a:ext cx="1214438" cy="57864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1934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1FB4560B-29F5-484C-AE26-CE2892D80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6536196"/>
              </p:ext>
            </p:extLst>
          </p:nvPr>
        </p:nvGraphicFramePr>
        <p:xfrm>
          <a:off x="725330" y="1026229"/>
          <a:ext cx="4001481" cy="72449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6727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1060001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888251">
                  <a:extLst>
                    <a:ext uri="{9D8B030D-6E8A-4147-A177-3AD203B41FA5}">
                      <a16:colId xmlns:a16="http://schemas.microsoft.com/office/drawing/2014/main" val="1216485597"/>
                    </a:ext>
                  </a:extLst>
                </a:gridCol>
                <a:gridCol w="888251">
                  <a:extLst>
                    <a:ext uri="{9D8B030D-6E8A-4147-A177-3AD203B41FA5}">
                      <a16:colId xmlns:a16="http://schemas.microsoft.com/office/drawing/2014/main" val="3912308851"/>
                    </a:ext>
                  </a:extLst>
                </a:gridCol>
                <a:gridCol w="888251">
                  <a:extLst>
                    <a:ext uri="{9D8B030D-6E8A-4147-A177-3AD203B41FA5}">
                      <a16:colId xmlns:a16="http://schemas.microsoft.com/office/drawing/2014/main" val="3492637278"/>
                    </a:ext>
                  </a:extLst>
                </a:gridCol>
              </a:tblGrid>
              <a:tr h="270899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AB27"/>
                    </a:solidFill>
                  </a:tcPr>
                </a:tc>
                <a:tc gridSpan="4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 1 </a:t>
                      </a:r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rect Operation of 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53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a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b</a:t>
                      </a:r>
                      <a:endParaRPr lang="en-US" sz="1400" b="0" noProof="0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c</a:t>
                      </a:r>
                      <a:endParaRPr lang="en-US" sz="1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d</a:t>
                      </a:r>
                      <a:endParaRPr lang="en-US" sz="1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10" name="Tabelle 12">
            <a:extLst>
              <a:ext uri="{FF2B5EF4-FFF2-40B4-BE49-F238E27FC236}">
                <a16:creationId xmlns:a16="http://schemas.microsoft.com/office/drawing/2014/main" id="{1F7C2175-A916-4A04-9C54-2902724D81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750903"/>
              </p:ext>
            </p:extLst>
          </p:nvPr>
        </p:nvGraphicFramePr>
        <p:xfrm>
          <a:off x="725328" y="2720441"/>
          <a:ext cx="4001054" cy="7458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4356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1358282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</a:tblGrid>
              <a:tr h="265099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7F00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 3 </a:t>
                      </a:r>
                      <a:r>
                        <a:rPr lang="de-DE" sz="105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wing</a:t>
                      </a: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Recovery </a:t>
                      </a:r>
                      <a:r>
                        <a:rPr lang="de-DE" sz="105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7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807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a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b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c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8" name="Tabelle 9">
            <a:extLst>
              <a:ext uri="{FF2B5EF4-FFF2-40B4-BE49-F238E27FC236}">
                <a16:creationId xmlns:a16="http://schemas.microsoft.com/office/drawing/2014/main" id="{482EE186-0183-455C-9698-4B059E083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842373"/>
              </p:ext>
            </p:extLst>
          </p:nvPr>
        </p:nvGraphicFramePr>
        <p:xfrm>
          <a:off x="726146" y="1860953"/>
          <a:ext cx="4001056" cy="72449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5258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883698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1216485597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3912308851"/>
                    </a:ext>
                  </a:extLst>
                </a:gridCol>
              </a:tblGrid>
              <a:tr h="255411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7B"/>
                    </a:solidFill>
                  </a:tcPr>
                </a:tc>
                <a:tc gridSpan="5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 2 Repair and Maintenance of 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007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690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a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b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c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d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e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FF6A734-77FF-4459-AD5C-CA19755FB32F}" type="slidenum">
              <a:rPr lang="en-US" smtClean="0"/>
              <a:t>15</a:t>
            </a:fld>
            <a:endParaRPr lang="en-US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C1AF2DC-590D-4629-A65E-69DA7C203546}"/>
              </a:ext>
            </a:extLst>
          </p:cNvPr>
          <p:cNvSpPr txBox="1">
            <a:spLocks/>
          </p:cNvSpPr>
          <p:nvPr/>
        </p:nvSpPr>
        <p:spPr>
          <a:xfrm>
            <a:off x="624000" y="452967"/>
            <a:ext cx="9024393" cy="554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2667" dirty="0">
              <a:solidFill>
                <a:srgbClr val="007D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Grafik 1">
            <a:extLst>
              <a:ext uri="{FF2B5EF4-FFF2-40B4-BE49-F238E27FC236}">
                <a16:creationId xmlns:a16="http://schemas.microsoft.com/office/drawing/2014/main" id="{C61FB79F-06A0-4B53-B158-A0BAA43A889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9318" y="1433064"/>
            <a:ext cx="156842" cy="156842"/>
          </a:xfrm>
          <a:prstGeom prst="rect">
            <a:avLst/>
          </a:prstGeom>
        </p:spPr>
      </p:pic>
      <p:pic>
        <p:nvPicPr>
          <p:cNvPr id="31" name="Grafik 5">
            <a:extLst>
              <a:ext uri="{FF2B5EF4-FFF2-40B4-BE49-F238E27FC236}">
                <a16:creationId xmlns:a16="http://schemas.microsoft.com/office/drawing/2014/main" id="{1FD94858-3EB5-4D46-83D4-E776E4789495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1416" y="3130139"/>
            <a:ext cx="154249" cy="154249"/>
          </a:xfrm>
          <a:prstGeom prst="rect">
            <a:avLst/>
          </a:prstGeom>
        </p:spPr>
      </p:pic>
      <p:pic>
        <p:nvPicPr>
          <p:cNvPr id="32" name="Grafik 3">
            <a:extLst>
              <a:ext uri="{FF2B5EF4-FFF2-40B4-BE49-F238E27FC236}">
                <a16:creationId xmlns:a16="http://schemas.microsoft.com/office/drawing/2014/main" id="{8BE3AF17-0587-447A-85BF-0F71BE5871D5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5981" y="2247374"/>
            <a:ext cx="156842" cy="156842"/>
          </a:xfrm>
          <a:prstGeom prst="rect">
            <a:avLst/>
          </a:prstGeom>
        </p:spPr>
      </p:pic>
      <p:sp>
        <p:nvSpPr>
          <p:cNvPr id="40" name="Title 2">
            <a:extLst>
              <a:ext uri="{FF2B5EF4-FFF2-40B4-BE49-F238E27FC236}">
                <a16:creationId xmlns:a16="http://schemas.microsoft.com/office/drawing/2014/main" id="{31668E34-A45A-4F0D-8EE0-294C62E32F56}"/>
              </a:ext>
            </a:extLst>
          </p:cNvPr>
          <p:cNvSpPr txBox="1">
            <a:spLocks/>
          </p:cNvSpPr>
          <p:nvPr/>
        </p:nvSpPr>
        <p:spPr>
          <a:xfrm>
            <a:off x="515937" y="338669"/>
            <a:ext cx="8487035" cy="53763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85725" indent="0" algn="l" defTabSz="1219170" rtl="0" eaLnBrk="1" latinLnBrk="0" hangingPunct="1">
              <a:spcBef>
                <a:spcPct val="0"/>
              </a:spcBef>
              <a:buNone/>
              <a:defRPr sz="2800" b="1" kern="1200" spc="200" baseline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pl-PL" dirty="0">
                <a:latin typeface="Arial Narrow"/>
              </a:rPr>
              <a:t>Obuke za različite profile, koraci, trajanje</a:t>
            </a:r>
          </a:p>
        </p:txBody>
      </p:sp>
      <p:graphicFrame>
        <p:nvGraphicFramePr>
          <p:cNvPr id="29" name="Tabelle 12">
            <a:extLst>
              <a:ext uri="{FF2B5EF4-FFF2-40B4-BE49-F238E27FC236}">
                <a16:creationId xmlns:a16="http://schemas.microsoft.com/office/drawing/2014/main" id="{48804C43-67DE-4D95-9CC5-1FC5950B99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834292"/>
              </p:ext>
            </p:extLst>
          </p:nvPr>
        </p:nvGraphicFramePr>
        <p:xfrm>
          <a:off x="725329" y="3597413"/>
          <a:ext cx="4001054" cy="7505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696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2047306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682052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</a:tblGrid>
              <a:tr h="219203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CA A </a:t>
                      </a:r>
                      <a:r>
                        <a:rPr lang="pl-PL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lectr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technol</a:t>
                      </a:r>
                      <a:r>
                        <a:rPr lang="pl-PL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gy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991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a</a:t>
                      </a:r>
                      <a:r>
                        <a:rPr lang="en-US" sz="1400" b="0" i="0" u="none" strike="noStrike" kern="12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43" name="Tabelle 12">
            <a:extLst>
              <a:ext uri="{FF2B5EF4-FFF2-40B4-BE49-F238E27FC236}">
                <a16:creationId xmlns:a16="http://schemas.microsoft.com/office/drawing/2014/main" id="{E3FCEBC2-234D-4DB5-ABD3-663944062D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992935"/>
              </p:ext>
            </p:extLst>
          </p:nvPr>
        </p:nvGraphicFramePr>
        <p:xfrm>
          <a:off x="725328" y="4466027"/>
          <a:ext cx="4001054" cy="9290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4356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1358282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</a:tblGrid>
              <a:tr h="233058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CA B Hazards and Occupational Health and Safety when Handling 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tage</a:t>
                      </a:r>
                      <a:r>
                        <a:rPr lang="en-US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r>
                        <a:rPr lang="en-US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hicles</a:t>
                      </a:r>
                      <a:r>
                        <a:rPr lang="en-US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sz="1050" b="0" i="0" u="none" strike="noStrike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5175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</a:t>
                      </a:r>
                      <a:endParaRPr lang="en-US" sz="1400" b="0" i="0" u="none" strike="noStrike" kern="1200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kern="1200" baseline="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b</a:t>
                      </a:r>
                      <a:endParaRPr lang="en-US" sz="1400" b="0" i="0" u="none" strike="noStrike" kern="1200" baseline="0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c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pic>
        <p:nvPicPr>
          <p:cNvPr id="33" name="Grafik 7">
            <a:extLst>
              <a:ext uri="{FF2B5EF4-FFF2-40B4-BE49-F238E27FC236}">
                <a16:creationId xmlns:a16="http://schemas.microsoft.com/office/drawing/2014/main" id="{7E62179B-65D6-4918-BE55-69DAA34B0599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5981" y="4009287"/>
            <a:ext cx="150179" cy="150179"/>
          </a:xfrm>
          <a:prstGeom prst="rect">
            <a:avLst/>
          </a:prstGeom>
        </p:spPr>
      </p:pic>
      <p:pic>
        <p:nvPicPr>
          <p:cNvPr id="34" name="Grafik 8">
            <a:extLst>
              <a:ext uri="{FF2B5EF4-FFF2-40B4-BE49-F238E27FC236}">
                <a16:creationId xmlns:a16="http://schemas.microsoft.com/office/drawing/2014/main" id="{0EFE3FB9-ED27-4AF3-9D61-51A5E22D705D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9318" y="5036218"/>
            <a:ext cx="150179" cy="150179"/>
          </a:xfrm>
          <a:prstGeom prst="rect">
            <a:avLst/>
          </a:prstGeom>
        </p:spPr>
      </p:pic>
      <p:graphicFrame>
        <p:nvGraphicFramePr>
          <p:cNvPr id="15" name="Tabelle 6">
            <a:extLst>
              <a:ext uri="{FF2B5EF4-FFF2-40B4-BE49-F238E27FC236}">
                <a16:creationId xmlns:a16="http://schemas.microsoft.com/office/drawing/2014/main" id="{35325E60-ACDC-4EC7-982F-6BF8EBC6DE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157722"/>
              </p:ext>
            </p:extLst>
          </p:nvPr>
        </p:nvGraphicFramePr>
        <p:xfrm>
          <a:off x="5721546" y="1036026"/>
          <a:ext cx="4001481" cy="72449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6727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1060001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888251">
                  <a:extLst>
                    <a:ext uri="{9D8B030D-6E8A-4147-A177-3AD203B41FA5}">
                      <a16:colId xmlns:a16="http://schemas.microsoft.com/office/drawing/2014/main" val="1216485597"/>
                    </a:ext>
                  </a:extLst>
                </a:gridCol>
                <a:gridCol w="888251">
                  <a:extLst>
                    <a:ext uri="{9D8B030D-6E8A-4147-A177-3AD203B41FA5}">
                      <a16:colId xmlns:a16="http://schemas.microsoft.com/office/drawing/2014/main" val="3912308851"/>
                    </a:ext>
                  </a:extLst>
                </a:gridCol>
                <a:gridCol w="888251">
                  <a:extLst>
                    <a:ext uri="{9D8B030D-6E8A-4147-A177-3AD203B41FA5}">
                      <a16:colId xmlns:a16="http://schemas.microsoft.com/office/drawing/2014/main" val="3492637278"/>
                    </a:ext>
                  </a:extLst>
                </a:gridCol>
              </a:tblGrid>
              <a:tr h="270899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AB27"/>
                    </a:solidFill>
                  </a:tcPr>
                </a:tc>
                <a:tc gridSpan="4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 1 </a:t>
                      </a:r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rrect Operation of 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536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a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b</a:t>
                      </a:r>
                      <a:endParaRPr lang="en-US" sz="1400" b="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c</a:t>
                      </a:r>
                      <a:endParaRPr lang="en-US" sz="1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d</a:t>
                      </a:r>
                      <a:endParaRPr lang="en-US" sz="14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16" name="Tabelle 12">
            <a:extLst>
              <a:ext uri="{FF2B5EF4-FFF2-40B4-BE49-F238E27FC236}">
                <a16:creationId xmlns:a16="http://schemas.microsoft.com/office/drawing/2014/main" id="{DEF6CA5C-D9CA-40F2-9975-E164636CA8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430495"/>
              </p:ext>
            </p:extLst>
          </p:nvPr>
        </p:nvGraphicFramePr>
        <p:xfrm>
          <a:off x="5721544" y="2730238"/>
          <a:ext cx="4001054" cy="7458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4356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1358282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</a:tblGrid>
              <a:tr h="265099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7F00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 3 </a:t>
                      </a:r>
                      <a:r>
                        <a:rPr lang="de-DE" sz="105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wing</a:t>
                      </a: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Recovery </a:t>
                      </a:r>
                      <a:r>
                        <a:rPr lang="de-DE" sz="105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7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8075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a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b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c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17" name="Tabelle 9">
            <a:extLst>
              <a:ext uri="{FF2B5EF4-FFF2-40B4-BE49-F238E27FC236}">
                <a16:creationId xmlns:a16="http://schemas.microsoft.com/office/drawing/2014/main" id="{BF266B69-137B-4AC0-BB00-BC56B654D4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3531943"/>
              </p:ext>
            </p:extLst>
          </p:nvPr>
        </p:nvGraphicFramePr>
        <p:xfrm>
          <a:off x="5722362" y="1870750"/>
          <a:ext cx="4001056" cy="72449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5258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883698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1216485597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  <a:gridCol w="710525">
                  <a:extLst>
                    <a:ext uri="{9D8B030D-6E8A-4147-A177-3AD203B41FA5}">
                      <a16:colId xmlns:a16="http://schemas.microsoft.com/office/drawing/2014/main" val="3912308851"/>
                    </a:ext>
                  </a:extLst>
                </a:gridCol>
              </a:tblGrid>
              <a:tr h="255411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7B"/>
                    </a:solidFill>
                  </a:tcPr>
                </a:tc>
                <a:tc gridSpan="5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 2 Repair and Maintenance of 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007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690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a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b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c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d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e</a:t>
                      </a:r>
                      <a:endParaRPr lang="en-US" sz="14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pic>
        <p:nvPicPr>
          <p:cNvPr id="18" name="Grafik 1">
            <a:extLst>
              <a:ext uri="{FF2B5EF4-FFF2-40B4-BE49-F238E27FC236}">
                <a16:creationId xmlns:a16="http://schemas.microsoft.com/office/drawing/2014/main" id="{DD882661-FA61-4513-A087-5A52F812776B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85534" y="1442861"/>
            <a:ext cx="156842" cy="156842"/>
          </a:xfrm>
          <a:prstGeom prst="rect">
            <a:avLst/>
          </a:prstGeom>
        </p:spPr>
      </p:pic>
      <p:pic>
        <p:nvPicPr>
          <p:cNvPr id="20" name="Grafik 5">
            <a:extLst>
              <a:ext uri="{FF2B5EF4-FFF2-40B4-BE49-F238E27FC236}">
                <a16:creationId xmlns:a16="http://schemas.microsoft.com/office/drawing/2014/main" id="{276A5D3D-4C83-4544-AAA7-39CFEE3F1C53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97632" y="3139936"/>
            <a:ext cx="154249" cy="154249"/>
          </a:xfrm>
          <a:prstGeom prst="rect">
            <a:avLst/>
          </a:prstGeom>
        </p:spPr>
      </p:pic>
      <p:pic>
        <p:nvPicPr>
          <p:cNvPr id="22" name="Grafik 3">
            <a:extLst>
              <a:ext uri="{FF2B5EF4-FFF2-40B4-BE49-F238E27FC236}">
                <a16:creationId xmlns:a16="http://schemas.microsoft.com/office/drawing/2014/main" id="{4FE17D75-256D-4FDA-81FA-27B6ED8B35EA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92197" y="2257171"/>
            <a:ext cx="156842" cy="156842"/>
          </a:xfrm>
          <a:prstGeom prst="rect">
            <a:avLst/>
          </a:prstGeom>
        </p:spPr>
      </p:pic>
      <p:graphicFrame>
        <p:nvGraphicFramePr>
          <p:cNvPr id="24" name="Tabelle 12">
            <a:extLst>
              <a:ext uri="{FF2B5EF4-FFF2-40B4-BE49-F238E27FC236}">
                <a16:creationId xmlns:a16="http://schemas.microsoft.com/office/drawing/2014/main" id="{5002A964-D438-44C7-BCF7-428EBCA7CD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1230575"/>
              </p:ext>
            </p:extLst>
          </p:nvPr>
        </p:nvGraphicFramePr>
        <p:xfrm>
          <a:off x="5721545" y="3607210"/>
          <a:ext cx="4001054" cy="75059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1696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2047306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682052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</a:tblGrid>
              <a:tr h="219203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CA A </a:t>
                      </a:r>
                      <a:r>
                        <a:rPr lang="pl-PL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lectr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technol</a:t>
                      </a:r>
                      <a:r>
                        <a:rPr lang="pl-PL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gy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991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a</a:t>
                      </a:r>
                      <a:r>
                        <a:rPr lang="en-US" sz="140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4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25" name="Tabelle 12">
            <a:extLst>
              <a:ext uri="{FF2B5EF4-FFF2-40B4-BE49-F238E27FC236}">
                <a16:creationId xmlns:a16="http://schemas.microsoft.com/office/drawing/2014/main" id="{07D7DFFB-6B71-424E-8190-93D6586194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0212757"/>
              </p:ext>
            </p:extLst>
          </p:nvPr>
        </p:nvGraphicFramePr>
        <p:xfrm>
          <a:off x="5721544" y="4475824"/>
          <a:ext cx="4001054" cy="9290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4356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1358282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1184208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</a:tblGrid>
              <a:tr h="233058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05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CA B Hazards and Occupational Health and Safety when Handling </a:t>
                      </a:r>
                      <a:r>
                        <a:rPr lang="pl-PL" sz="1050" b="1" noProof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-Voltage</a:t>
                      </a:r>
                      <a:r>
                        <a:rPr lang="en-US" sz="1050" b="1" i="0" u="none" strike="noStrike" kern="120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vehicles </a:t>
                      </a:r>
                      <a:endParaRPr lang="en-US" sz="105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5175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</a:t>
                      </a:r>
                      <a:endParaRPr lang="en-US" sz="1400" b="0" i="0" u="none" strike="noStrike" kern="1200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b</a:t>
                      </a:r>
                      <a:endParaRPr lang="en-US" sz="1400" b="0" i="0" u="none" strike="noStrike" kern="1200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c</a:t>
                      </a:r>
                      <a:endParaRPr lang="en-US" sz="14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pic>
        <p:nvPicPr>
          <p:cNvPr id="26" name="Grafik 7">
            <a:extLst>
              <a:ext uri="{FF2B5EF4-FFF2-40B4-BE49-F238E27FC236}">
                <a16:creationId xmlns:a16="http://schemas.microsoft.com/office/drawing/2014/main" id="{C7DF7171-957A-453F-99EE-DA0BD1A0FF73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792197" y="4019084"/>
            <a:ext cx="150179" cy="150179"/>
          </a:xfrm>
          <a:prstGeom prst="rect">
            <a:avLst/>
          </a:prstGeom>
        </p:spPr>
      </p:pic>
      <p:pic>
        <p:nvPicPr>
          <p:cNvPr id="27" name="Grafik 8">
            <a:extLst>
              <a:ext uri="{FF2B5EF4-FFF2-40B4-BE49-F238E27FC236}">
                <a16:creationId xmlns:a16="http://schemas.microsoft.com/office/drawing/2014/main" id="{F5E8E49D-3B37-4744-9D74-826267410872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785534" y="5046015"/>
            <a:ext cx="150179" cy="150179"/>
          </a:xfrm>
          <a:prstGeom prst="rect">
            <a:avLst/>
          </a:prstGeom>
        </p:spPr>
      </p:pic>
      <p:sp>
        <p:nvSpPr>
          <p:cNvPr id="51" name="Rectangle 13">
            <a:extLst>
              <a:ext uri="{FF2B5EF4-FFF2-40B4-BE49-F238E27FC236}">
                <a16:creationId xmlns:a16="http://schemas.microsoft.com/office/drawing/2014/main" id="{D75423AD-166E-4433-BD1C-808C4839A548}"/>
              </a:ext>
            </a:extLst>
          </p:cNvPr>
          <p:cNvSpPr/>
          <p:nvPr/>
        </p:nvSpPr>
        <p:spPr>
          <a:xfrm>
            <a:off x="724900" y="5435968"/>
            <a:ext cx="4001481" cy="9491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14000"/>
              </a:lnSpc>
            </a:pPr>
            <a:br>
              <a:rPr lang="pl-PL" sz="1050" dirty="0">
                <a:solidFill>
                  <a:srgbClr val="007D40"/>
                </a:solidFill>
                <a:cs typeface="Arial" panose="020B0604020202020204" pitchFamily="34" charset="0"/>
              </a:rPr>
            </a:br>
            <a:endParaRPr lang="pl-PL" sz="1050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endParaRPr lang="pl-PL" sz="1050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endParaRPr lang="pl-PL" sz="500" b="1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endParaRPr lang="pl-PL" sz="1050" b="1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endParaRPr lang="en-US" sz="200" b="1" dirty="0">
              <a:solidFill>
                <a:srgbClr val="007D40"/>
              </a:solidFill>
              <a:cs typeface="Arial" panose="020B0604020202020204" pitchFamily="34" charset="0"/>
            </a:endParaRPr>
          </a:p>
        </p:txBody>
      </p:sp>
      <p:sp>
        <p:nvSpPr>
          <p:cNvPr id="55" name="Rectangle 13">
            <a:extLst>
              <a:ext uri="{FF2B5EF4-FFF2-40B4-BE49-F238E27FC236}">
                <a16:creationId xmlns:a16="http://schemas.microsoft.com/office/drawing/2014/main" id="{91EA1089-55F2-4908-9594-2C18E6552281}"/>
              </a:ext>
            </a:extLst>
          </p:cNvPr>
          <p:cNvSpPr/>
          <p:nvPr/>
        </p:nvSpPr>
        <p:spPr>
          <a:xfrm>
            <a:off x="5721544" y="5435968"/>
            <a:ext cx="4001481" cy="94910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14000"/>
              </a:lnSpc>
            </a:pPr>
            <a:endParaRPr lang="pl-PL" sz="1050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br>
              <a:rPr lang="pl-PL" sz="1050" dirty="0">
                <a:solidFill>
                  <a:srgbClr val="007D40"/>
                </a:solidFill>
                <a:cs typeface="Arial" panose="020B0604020202020204" pitchFamily="34" charset="0"/>
              </a:rPr>
            </a:br>
            <a:endParaRPr lang="pl-PL" sz="1050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endParaRPr lang="pl-PL" sz="500" b="1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endParaRPr lang="pl-PL" sz="1050" b="1" dirty="0">
              <a:solidFill>
                <a:srgbClr val="007D40"/>
              </a:solidFill>
              <a:cs typeface="Arial" panose="020B0604020202020204" pitchFamily="34" charset="0"/>
            </a:endParaRPr>
          </a:p>
          <a:p>
            <a:pPr algn="ctr">
              <a:lnSpc>
                <a:spcPct val="114000"/>
              </a:lnSpc>
            </a:pPr>
            <a:endParaRPr lang="en-US" sz="200" b="1" dirty="0">
              <a:solidFill>
                <a:srgbClr val="007D40"/>
              </a:solidFill>
              <a:cs typeface="Arial" panose="020B0604020202020204" pitchFamily="34" charset="0"/>
            </a:endParaRPr>
          </a:p>
        </p:txBody>
      </p:sp>
      <p:pic>
        <p:nvPicPr>
          <p:cNvPr id="56" name="Ábra 35" descr="Okostelefon">
            <a:extLst>
              <a:ext uri="{FF2B5EF4-FFF2-40B4-BE49-F238E27FC236}">
                <a16:creationId xmlns:a16="http://schemas.microsoft.com/office/drawing/2014/main" id="{8C4BFADA-0EFA-4A89-A5F9-8741E6A5778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589952" y="5625332"/>
            <a:ext cx="252266" cy="252266"/>
          </a:xfrm>
          <a:prstGeom prst="rect">
            <a:avLst/>
          </a:prstGeom>
        </p:spPr>
      </p:pic>
      <p:pic>
        <p:nvPicPr>
          <p:cNvPr id="57" name="Ábra 36" descr="Laptop">
            <a:extLst>
              <a:ext uri="{FF2B5EF4-FFF2-40B4-BE49-F238E27FC236}">
                <a16:creationId xmlns:a16="http://schemas.microsoft.com/office/drawing/2014/main" id="{F9D00101-0591-4334-AA77-DB1D3EB3CFE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6850527" y="5405295"/>
            <a:ext cx="591989" cy="591989"/>
          </a:xfrm>
          <a:prstGeom prst="rect">
            <a:avLst/>
          </a:prstGeom>
        </p:spPr>
      </p:pic>
      <p:pic>
        <p:nvPicPr>
          <p:cNvPr id="58" name="Grafika 10" descr="Táblagép">
            <a:extLst>
              <a:ext uri="{FF2B5EF4-FFF2-40B4-BE49-F238E27FC236}">
                <a16:creationId xmlns:a16="http://schemas.microsoft.com/office/drawing/2014/main" id="{5A3BF6DE-C379-4F47-A9E9-7519A9ACA4EB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 rot="10800000">
            <a:off x="6018261" y="5401484"/>
            <a:ext cx="591988" cy="591989"/>
          </a:xfrm>
          <a:prstGeom prst="rect">
            <a:avLst/>
          </a:prstGeom>
        </p:spPr>
      </p:pic>
      <p:sp>
        <p:nvSpPr>
          <p:cNvPr id="59" name="pole tekstowe 58">
            <a:extLst>
              <a:ext uri="{FF2B5EF4-FFF2-40B4-BE49-F238E27FC236}">
                <a16:creationId xmlns:a16="http://schemas.microsoft.com/office/drawing/2014/main" id="{E954E940-3021-4769-8828-9248CD796BD5}"/>
              </a:ext>
            </a:extLst>
          </p:cNvPr>
          <p:cNvSpPr txBox="1"/>
          <p:nvPr/>
        </p:nvSpPr>
        <p:spPr bwMode="gray">
          <a:xfrm>
            <a:off x="5802248" y="5886847"/>
            <a:ext cx="185719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Up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to 6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hours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of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initial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digital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training</a:t>
            </a:r>
            <a:endParaRPr lang="pl-PL" sz="1200" b="1" dirty="0"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28" name="Ábra 45" descr="Vásárlói vélemény">
            <a:extLst>
              <a:ext uri="{FF2B5EF4-FFF2-40B4-BE49-F238E27FC236}">
                <a16:creationId xmlns:a16="http://schemas.microsoft.com/office/drawing/2014/main" id="{B189F3AA-76B7-4CAC-B2B2-FE4BEE25C62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rcRect/>
          <a:stretch/>
        </p:blipFill>
        <p:spPr>
          <a:xfrm>
            <a:off x="7835460" y="5515400"/>
            <a:ext cx="394551" cy="394551"/>
          </a:xfrm>
          <a:prstGeom prst="rect">
            <a:avLst/>
          </a:prstGeom>
        </p:spPr>
      </p:pic>
      <p:pic>
        <p:nvPicPr>
          <p:cNvPr id="63" name="Ábra 48" descr="Elektromos autó">
            <a:extLst>
              <a:ext uri="{FF2B5EF4-FFF2-40B4-BE49-F238E27FC236}">
                <a16:creationId xmlns:a16="http://schemas.microsoft.com/office/drawing/2014/main" id="{018BEC83-8E80-48BA-82D4-35D4BE04EEF3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rcRect/>
          <a:stretch/>
        </p:blipFill>
        <p:spPr>
          <a:xfrm>
            <a:off x="8870518" y="5403107"/>
            <a:ext cx="582805" cy="582805"/>
          </a:xfrm>
          <a:prstGeom prst="rect">
            <a:avLst/>
          </a:prstGeom>
        </p:spPr>
      </p:pic>
      <p:pic>
        <p:nvPicPr>
          <p:cNvPr id="65" name="Ábra 47" descr="Virtuális valóság headset">
            <a:extLst>
              <a:ext uri="{FF2B5EF4-FFF2-40B4-BE49-F238E27FC236}">
                <a16:creationId xmlns:a16="http://schemas.microsoft.com/office/drawing/2014/main" id="{03F524D2-6484-4D5D-A9D5-EE8CB9D0BBC0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/>
          <a:stretch/>
        </p:blipFill>
        <p:spPr>
          <a:xfrm>
            <a:off x="8280615" y="5431288"/>
            <a:ext cx="524059" cy="524059"/>
          </a:xfrm>
          <a:prstGeom prst="rect">
            <a:avLst/>
          </a:prstGeom>
        </p:spPr>
      </p:pic>
      <p:sp>
        <p:nvSpPr>
          <p:cNvPr id="67" name="pole tekstowe 66">
            <a:extLst>
              <a:ext uri="{FF2B5EF4-FFF2-40B4-BE49-F238E27FC236}">
                <a16:creationId xmlns:a16="http://schemas.microsoft.com/office/drawing/2014/main" id="{11953688-AC3D-45E3-929A-3678C2874ADF}"/>
              </a:ext>
            </a:extLst>
          </p:cNvPr>
          <p:cNvSpPr txBox="1"/>
          <p:nvPr/>
        </p:nvSpPr>
        <p:spPr bwMode="gray">
          <a:xfrm>
            <a:off x="8003451" y="5891015"/>
            <a:ext cx="14498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1,5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days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of face-to-face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training</a:t>
            </a:r>
            <a:endParaRPr lang="pl-PL" sz="1200" b="1" dirty="0"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9" name="Ábra 35" descr="Okostelefon">
            <a:extLst>
              <a:ext uri="{FF2B5EF4-FFF2-40B4-BE49-F238E27FC236}">
                <a16:creationId xmlns:a16="http://schemas.microsoft.com/office/drawing/2014/main" id="{2AB660FA-3BBC-4CA1-A0BB-2AA76D83E6B8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87188" y="5631706"/>
            <a:ext cx="252266" cy="252266"/>
          </a:xfrm>
          <a:prstGeom prst="rect">
            <a:avLst/>
          </a:prstGeom>
        </p:spPr>
      </p:pic>
      <p:pic>
        <p:nvPicPr>
          <p:cNvPr id="71" name="Ábra 36" descr="Laptop">
            <a:extLst>
              <a:ext uri="{FF2B5EF4-FFF2-40B4-BE49-F238E27FC236}">
                <a16:creationId xmlns:a16="http://schemas.microsoft.com/office/drawing/2014/main" id="{69F59101-E5C9-4C88-9CD3-ED518EB2FE9B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/>
        </p:blipFill>
        <p:spPr>
          <a:xfrm>
            <a:off x="2847763" y="5411669"/>
            <a:ext cx="591989" cy="591989"/>
          </a:xfrm>
          <a:prstGeom prst="rect">
            <a:avLst/>
          </a:prstGeom>
        </p:spPr>
      </p:pic>
      <p:pic>
        <p:nvPicPr>
          <p:cNvPr id="73" name="Grafika 10" descr="Táblagép">
            <a:extLst>
              <a:ext uri="{FF2B5EF4-FFF2-40B4-BE49-F238E27FC236}">
                <a16:creationId xmlns:a16="http://schemas.microsoft.com/office/drawing/2014/main" id="{4F7A5BCC-45C1-4C6C-B18D-27402081EF9B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rcRect/>
          <a:stretch/>
        </p:blipFill>
        <p:spPr>
          <a:xfrm rot="10800000">
            <a:off x="2015497" y="5407858"/>
            <a:ext cx="591988" cy="591989"/>
          </a:xfrm>
          <a:prstGeom prst="rect">
            <a:avLst/>
          </a:prstGeom>
        </p:spPr>
      </p:pic>
      <p:sp>
        <p:nvSpPr>
          <p:cNvPr id="75" name="pole tekstowe 74">
            <a:extLst>
              <a:ext uri="{FF2B5EF4-FFF2-40B4-BE49-F238E27FC236}">
                <a16:creationId xmlns:a16="http://schemas.microsoft.com/office/drawing/2014/main" id="{DA007E8E-C4DC-470F-AC17-4AC0F2C65F2B}"/>
              </a:ext>
            </a:extLst>
          </p:cNvPr>
          <p:cNvSpPr txBox="1"/>
          <p:nvPr/>
        </p:nvSpPr>
        <p:spPr bwMode="gray">
          <a:xfrm>
            <a:off x="1887640" y="5873155"/>
            <a:ext cx="18314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Up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to 4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hours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of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initial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digital</a:t>
            </a:r>
            <a:r>
              <a:rPr lang="pl-PL" sz="1200" b="1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pl-PL" sz="1200" b="1" dirty="0" err="1">
                <a:ea typeface="Roboto" panose="02000000000000000000" pitchFamily="2" charset="0"/>
                <a:cs typeface="Roboto" panose="02000000000000000000" pitchFamily="2" charset="0"/>
              </a:rPr>
              <a:t>training</a:t>
            </a:r>
            <a:endParaRPr lang="pl-PL" sz="1200" b="1" dirty="0"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3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1FB4560B-29F5-484C-AE26-CE2892D80E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1665690"/>
              </p:ext>
            </p:extLst>
          </p:nvPr>
        </p:nvGraphicFramePr>
        <p:xfrm>
          <a:off x="703026" y="1087489"/>
          <a:ext cx="7643700" cy="964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8610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2024834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696752">
                  <a:extLst>
                    <a:ext uri="{9D8B030D-6E8A-4147-A177-3AD203B41FA5}">
                      <a16:colId xmlns:a16="http://schemas.microsoft.com/office/drawing/2014/main" val="1216485597"/>
                    </a:ext>
                  </a:extLst>
                </a:gridCol>
                <a:gridCol w="1696752">
                  <a:extLst>
                    <a:ext uri="{9D8B030D-6E8A-4147-A177-3AD203B41FA5}">
                      <a16:colId xmlns:a16="http://schemas.microsoft.com/office/drawing/2014/main" val="3912308851"/>
                    </a:ext>
                  </a:extLst>
                </a:gridCol>
                <a:gridCol w="1696752">
                  <a:extLst>
                    <a:ext uri="{9D8B030D-6E8A-4147-A177-3AD203B41FA5}">
                      <a16:colId xmlns:a16="http://schemas.microsoft.com/office/drawing/2014/main" val="3492637278"/>
                    </a:ext>
                  </a:extLst>
                </a:gridCol>
              </a:tblGrid>
              <a:tr h="263420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AB27"/>
                    </a:solidFill>
                  </a:tcPr>
                </a:tc>
                <a:tc gridSpan="4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A 1 </a:t>
                      </a:r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rrect Operation of H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gh-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4410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a</a:t>
                      </a:r>
                      <a:r>
                        <a:rPr lang="en-US" sz="8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operate and drive an electric vehicle.</a:t>
                      </a:r>
                    </a:p>
                    <a:p>
                      <a:pPr algn="l"/>
                      <a:endParaRPr lang="en-US" sz="8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25200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b </a:t>
                      </a:r>
                      <a:r>
                        <a:rPr lang="en-US" sz="800" b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 operate and drive an electrical vehicle at an advanced level.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c</a:t>
                      </a:r>
                      <a:r>
                        <a:rPr lang="en-US" sz="80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… distinguish operator errors and defects on the high-voltage vehicle with regard to the HV components.</a:t>
                      </a:r>
                    </a:p>
                  </a:txBody>
                  <a:tcPr marL="252000" marR="25200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d</a:t>
                      </a:r>
                      <a:r>
                        <a:rPr lang="en-US" sz="800" b="0" kern="12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… instruct others how to operate an electric vehicle.</a:t>
                      </a:r>
                    </a:p>
                    <a:p>
                      <a:pPr algn="l"/>
                      <a:endParaRPr lang="en-US" sz="800" kern="120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10" name="Tabelle 12">
            <a:extLst>
              <a:ext uri="{FF2B5EF4-FFF2-40B4-BE49-F238E27FC236}">
                <a16:creationId xmlns:a16="http://schemas.microsoft.com/office/drawing/2014/main" id="{1F7C2175-A916-4A04-9C54-2902724D81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177289"/>
              </p:ext>
            </p:extLst>
          </p:nvPr>
        </p:nvGraphicFramePr>
        <p:xfrm>
          <a:off x="703025" y="3434989"/>
          <a:ext cx="7642884" cy="9661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4080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2594614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2262095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2262095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</a:tblGrid>
              <a:tr h="265099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7F00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A 3 </a:t>
                      </a:r>
                      <a:r>
                        <a:rPr lang="de-DE" sz="1050" b="1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Towing</a:t>
                      </a: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and Recovery </a:t>
                      </a:r>
                      <a:r>
                        <a:rPr lang="de-DE" sz="1050" b="1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f</a:t>
                      </a:r>
                      <a:r>
                        <a:rPr lang="de-DE" sz="105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H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gh-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lang="en-US" sz="105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E7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68125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a</a:t>
                      </a:r>
                      <a:r>
                        <a:rPr lang="en-US" sz="8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tow a broken-down electric vehicle (dead battery) without visible damages or an electric vehicle that has suffered slight external damages in an accident but that is drivable and safe to tow.</a:t>
                      </a:r>
                    </a:p>
                  </a:txBody>
                  <a:tcPr marL="252000" marR="25200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b</a:t>
                      </a:r>
                      <a:r>
                        <a:rPr lang="en-US" sz="8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safely tow, transport, park and store an electric vehicle that has suffered body damage and possible damage to the battery in an accident.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c</a:t>
                      </a:r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safely salvage, secure, transport and store a seriously damaged electric vehicle in which the battery is exposed.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8" name="Tabelle 9">
            <a:extLst>
              <a:ext uri="{FF2B5EF4-FFF2-40B4-BE49-F238E27FC236}">
                <a16:creationId xmlns:a16="http://schemas.microsoft.com/office/drawing/2014/main" id="{482EE186-0183-455C-9698-4B059E0831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2916825"/>
              </p:ext>
            </p:extLst>
          </p:nvPr>
        </p:nvGraphicFramePr>
        <p:xfrm>
          <a:off x="703842" y="2080709"/>
          <a:ext cx="7642884" cy="13182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5803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1688053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1357257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1357257">
                  <a:extLst>
                    <a:ext uri="{9D8B030D-6E8A-4147-A177-3AD203B41FA5}">
                      <a16:colId xmlns:a16="http://schemas.microsoft.com/office/drawing/2014/main" val="1216485597"/>
                    </a:ext>
                  </a:extLst>
                </a:gridCol>
                <a:gridCol w="1357257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  <a:gridCol w="1357257">
                  <a:extLst>
                    <a:ext uri="{9D8B030D-6E8A-4147-A177-3AD203B41FA5}">
                      <a16:colId xmlns:a16="http://schemas.microsoft.com/office/drawing/2014/main" val="3912308851"/>
                    </a:ext>
                  </a:extLst>
                </a:gridCol>
              </a:tblGrid>
              <a:tr h="209964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007B"/>
                    </a:solidFill>
                  </a:tcPr>
                </a:tc>
                <a:tc gridSpan="5">
                  <a:txBody>
                    <a:bodyPr/>
                    <a:lstStyle/>
                    <a:p>
                      <a:pPr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A 2 Repair and Maintenance of H</a:t>
                      </a:r>
                      <a:r>
                        <a:rPr lang="pl-PL" sz="1050" b="1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gh-Voltag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v</a:t>
                      </a:r>
                      <a:r>
                        <a:rPr lang="en-US" sz="1050" b="1" noProof="0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ehicle</a:t>
                      </a:r>
                      <a:r>
                        <a:rPr lang="pl-PL" sz="1050" b="1" noProof="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</a:t>
                      </a:r>
                      <a:endParaRPr lang="en-US" sz="1050" b="1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5007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57AB2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6768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a</a:t>
                      </a:r>
                      <a:r>
                        <a:rPr lang="en-US" sz="8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safely carry out maintenance and repair work separate from the HV system on the periphery of the electric vehicle</a:t>
                      </a:r>
                    </a:p>
                  </a:txBody>
                  <a:tcPr marL="252000" marR="25200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b</a:t>
                      </a:r>
                      <a:r>
                        <a:rPr lang="en-US" sz="8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safely carry out maintenance and repair work on the engine but separate from the HV system.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c</a:t>
                      </a:r>
                      <a:r>
                        <a:rPr lang="en-US" sz="8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shut down the HV system in order to ensure safety and/or carry out repairs that require the HV to be switched off.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d</a:t>
                      </a:r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safely perform a fault diagnosis on the HV system and ensure that</a:t>
                      </a:r>
                      <a:r>
                        <a:rPr lang="pl-PL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 vehicles are safe to be put back into service.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e</a:t>
                      </a:r>
                      <a:r>
                        <a:rPr lang="en-US" sz="800" noProof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… safely carry out work on the HV batteries that are not safe to touch and safely handle electric vehicles that cannot be shut off.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FF6A734-77FF-4459-AD5C-CA19755FB32F}" type="slidenum">
              <a:rPr lang="en-US" smtClean="0"/>
              <a:t>16</a:t>
            </a:fld>
            <a:endParaRPr lang="en-US" dirty="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BC1AF2DC-590D-4629-A65E-69DA7C203546}"/>
              </a:ext>
            </a:extLst>
          </p:cNvPr>
          <p:cNvSpPr txBox="1">
            <a:spLocks/>
          </p:cNvSpPr>
          <p:nvPr/>
        </p:nvSpPr>
        <p:spPr>
          <a:xfrm>
            <a:off x="624000" y="452967"/>
            <a:ext cx="9024393" cy="554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2667" dirty="0">
              <a:solidFill>
                <a:srgbClr val="007D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Grafik 1">
            <a:extLst>
              <a:ext uri="{FF2B5EF4-FFF2-40B4-BE49-F238E27FC236}">
                <a16:creationId xmlns:a16="http://schemas.microsoft.com/office/drawing/2014/main" id="{C61FB79F-06A0-4B53-B158-A0BAA43A889F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4288" y="1465285"/>
            <a:ext cx="368150" cy="368150"/>
          </a:xfrm>
          <a:prstGeom prst="rect">
            <a:avLst/>
          </a:prstGeom>
        </p:spPr>
      </p:pic>
      <p:pic>
        <p:nvPicPr>
          <p:cNvPr id="31" name="Grafik 5">
            <a:extLst>
              <a:ext uri="{FF2B5EF4-FFF2-40B4-BE49-F238E27FC236}">
                <a16:creationId xmlns:a16="http://schemas.microsoft.com/office/drawing/2014/main" id="{1FD94858-3EB5-4D46-83D4-E776E4789495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0558" y="3798133"/>
            <a:ext cx="362062" cy="362062"/>
          </a:xfrm>
          <a:prstGeom prst="rect">
            <a:avLst/>
          </a:prstGeom>
        </p:spPr>
      </p:pic>
      <p:pic>
        <p:nvPicPr>
          <p:cNvPr id="32" name="Grafik 3">
            <a:extLst>
              <a:ext uri="{FF2B5EF4-FFF2-40B4-BE49-F238E27FC236}">
                <a16:creationId xmlns:a16="http://schemas.microsoft.com/office/drawing/2014/main" id="{8BE3AF17-0587-447A-85BF-0F71BE5871D5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0420" y="2631682"/>
            <a:ext cx="368150" cy="368150"/>
          </a:xfrm>
          <a:prstGeom prst="rect">
            <a:avLst/>
          </a:prstGeom>
        </p:spPr>
      </p:pic>
      <p:sp>
        <p:nvSpPr>
          <p:cNvPr id="40" name="Title 2">
            <a:extLst>
              <a:ext uri="{FF2B5EF4-FFF2-40B4-BE49-F238E27FC236}">
                <a16:creationId xmlns:a16="http://schemas.microsoft.com/office/drawing/2014/main" id="{31668E34-A45A-4F0D-8EE0-294C62E32F56}"/>
              </a:ext>
            </a:extLst>
          </p:cNvPr>
          <p:cNvSpPr txBox="1">
            <a:spLocks/>
          </p:cNvSpPr>
          <p:nvPr/>
        </p:nvSpPr>
        <p:spPr>
          <a:xfrm>
            <a:off x="515938" y="338669"/>
            <a:ext cx="8410348" cy="537633"/>
          </a:xfrm>
          <a:prstGeom prst="rect">
            <a:avLst/>
          </a:prstGeom>
        </p:spPr>
        <p:txBody>
          <a:bodyPr anchor="t"/>
          <a:lstStyle>
            <a:lvl1pPr marL="85725" indent="0" algn="l" defTabSz="1219170" rtl="0" eaLnBrk="1" latinLnBrk="0" hangingPunct="1">
              <a:spcBef>
                <a:spcPct val="0"/>
              </a:spcBef>
              <a:buNone/>
              <a:defRPr sz="2800" b="1" kern="1200" spc="200" baseline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sr-Latn-RS" dirty="0">
                <a:latin typeface="Arial Narrow"/>
              </a:rPr>
              <a:t>Stručni matrix edukacije u detaljima</a:t>
            </a:r>
            <a:endParaRPr lang="pl-PL" dirty="0">
              <a:latin typeface="Arial Narrow"/>
            </a:endParaRPr>
          </a:p>
        </p:txBody>
      </p:sp>
      <p:graphicFrame>
        <p:nvGraphicFramePr>
          <p:cNvPr id="29" name="Tabelle 12">
            <a:extLst>
              <a:ext uri="{FF2B5EF4-FFF2-40B4-BE49-F238E27FC236}">
                <a16:creationId xmlns:a16="http://schemas.microsoft.com/office/drawing/2014/main" id="{48804C43-67DE-4D95-9CC5-1FC5950B99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031709"/>
              </p:ext>
            </p:extLst>
          </p:nvPr>
        </p:nvGraphicFramePr>
        <p:xfrm>
          <a:off x="703025" y="4430833"/>
          <a:ext cx="7642884" cy="6119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9000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3910799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3213085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</a:tblGrid>
              <a:tr h="219203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CA A </a:t>
                      </a:r>
                      <a:r>
                        <a:rPr lang="pl-PL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lectr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technol</a:t>
                      </a:r>
                      <a:r>
                        <a:rPr lang="pl-PL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gy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05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3605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a</a:t>
                      </a:r>
                      <a:r>
                        <a:rPr lang="en-US" sz="800" b="0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… put basic knowledge of electrotechnology into practice in the high-voltage vehicle. 	</a:t>
                      </a:r>
                      <a:endParaRPr lang="en-US" sz="2400" b="0" i="0" u="none" strike="noStrike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marR="25200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pl-PL" sz="8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… </a:t>
                      </a:r>
                      <a:r>
                        <a:rPr lang="pl-PL" sz="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ut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anced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nowledge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f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ectrotechnology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ctice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 the high-</a:t>
                      </a:r>
                      <a:r>
                        <a:rPr lang="pl-PL" sz="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oltage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hicle</a:t>
                      </a:r>
                      <a:r>
                        <a:rPr lang="pl-PL" sz="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endParaRPr lang="en-US" sz="8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graphicFrame>
        <p:nvGraphicFramePr>
          <p:cNvPr id="43" name="Tabelle 12">
            <a:extLst>
              <a:ext uri="{FF2B5EF4-FFF2-40B4-BE49-F238E27FC236}">
                <a16:creationId xmlns:a16="http://schemas.microsoft.com/office/drawing/2014/main" id="{E3FCEBC2-234D-4DB5-ABD3-663944062D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8060221"/>
              </p:ext>
            </p:extLst>
          </p:nvPr>
        </p:nvGraphicFramePr>
        <p:xfrm>
          <a:off x="703025" y="5075927"/>
          <a:ext cx="7642884" cy="10744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4080">
                  <a:extLst>
                    <a:ext uri="{9D8B030D-6E8A-4147-A177-3AD203B41FA5}">
                      <a16:colId xmlns:a16="http://schemas.microsoft.com/office/drawing/2014/main" val="871002587"/>
                    </a:ext>
                  </a:extLst>
                </a:gridCol>
                <a:gridCol w="2594614">
                  <a:extLst>
                    <a:ext uri="{9D8B030D-6E8A-4147-A177-3AD203B41FA5}">
                      <a16:colId xmlns:a16="http://schemas.microsoft.com/office/drawing/2014/main" val="1966429183"/>
                    </a:ext>
                  </a:extLst>
                </a:gridCol>
                <a:gridCol w="2262095">
                  <a:extLst>
                    <a:ext uri="{9D8B030D-6E8A-4147-A177-3AD203B41FA5}">
                      <a16:colId xmlns:a16="http://schemas.microsoft.com/office/drawing/2014/main" val="3567454071"/>
                    </a:ext>
                  </a:extLst>
                </a:gridCol>
                <a:gridCol w="2262095">
                  <a:extLst>
                    <a:ext uri="{9D8B030D-6E8A-4147-A177-3AD203B41FA5}">
                      <a16:colId xmlns:a16="http://schemas.microsoft.com/office/drawing/2014/main" val="3193551166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endParaRPr lang="en-US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CA B Hazards and Occupational Health and Safety when Handling High-Voltage </a:t>
                      </a:r>
                      <a:r>
                        <a:rPr lang="pl-PL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r>
                        <a:rPr lang="en-US" sz="1050" b="1" i="0" u="none" strike="noStrike" kern="1200" baseline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hicles</a:t>
                      </a:r>
                      <a:r>
                        <a:rPr lang="en-US" sz="105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US" sz="1050" b="0" i="0" u="none" strike="noStrike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6190609"/>
                  </a:ext>
                </a:extLst>
              </a:tr>
              <a:tr h="5584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C5007B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</a:t>
                      </a:r>
                      <a:r>
                        <a:rPr lang="en-US" sz="8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… recognize and avoid potential</a:t>
                      </a:r>
                      <a:r>
                        <a:rPr lang="pl-PL" sz="8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ngers when working on high-voltage vehicles in connection with current and voltage to take them into account in their action and, if necessary, deal safely with specific hazards. </a:t>
                      </a:r>
                    </a:p>
                  </a:txBody>
                  <a:tcPr marL="252000" marR="25200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b</a:t>
                      </a:r>
                      <a:r>
                        <a:rPr lang="en-US" sz="800" b="0" i="0" u="none" strike="noStrike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… to recognise potential dangers (e.g. potential equalisation, failure of intrinsic safety) and concrete danger situations during work on the high-voltage system and, if necessary, to deal with them safely. 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D40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800" b="1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c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… create an organisational structure for occupational safety when working on and with high-voltage vehicles. </a:t>
                      </a:r>
                    </a:p>
                  </a:txBody>
                  <a:tcPr marL="252000" marR="252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>
                        <a:alpha val="4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196568"/>
                  </a:ext>
                </a:extLst>
              </a:tr>
            </a:tbl>
          </a:graphicData>
        </a:graphic>
      </p:graphicFrame>
      <p:pic>
        <p:nvPicPr>
          <p:cNvPr id="33" name="Grafik 7">
            <a:extLst>
              <a:ext uri="{FF2B5EF4-FFF2-40B4-BE49-F238E27FC236}">
                <a16:creationId xmlns:a16="http://schemas.microsoft.com/office/drawing/2014/main" id="{7E62179B-65D6-4918-BE55-69DAA34B0599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0558" y="4591338"/>
            <a:ext cx="352511" cy="352511"/>
          </a:xfrm>
          <a:prstGeom prst="rect">
            <a:avLst/>
          </a:prstGeom>
        </p:spPr>
      </p:pic>
      <p:pic>
        <p:nvPicPr>
          <p:cNvPr id="34" name="Grafik 8">
            <a:extLst>
              <a:ext uri="{FF2B5EF4-FFF2-40B4-BE49-F238E27FC236}">
                <a16:creationId xmlns:a16="http://schemas.microsoft.com/office/drawing/2014/main" id="{0EFE3FB9-ED27-4AF3-9D61-51A5E22D705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80558" y="5527198"/>
            <a:ext cx="352511" cy="352511"/>
          </a:xfrm>
          <a:prstGeom prst="rect">
            <a:avLst/>
          </a:prstGeom>
        </p:spPr>
      </p:pic>
      <p:sp>
        <p:nvSpPr>
          <p:cNvPr id="45" name="Textfeld 7">
            <a:extLst>
              <a:ext uri="{FF2B5EF4-FFF2-40B4-BE49-F238E27FC236}">
                <a16:creationId xmlns:a16="http://schemas.microsoft.com/office/drawing/2014/main" id="{70524B89-3480-47D8-AA22-95C31BE8459E}"/>
              </a:ext>
            </a:extLst>
          </p:cNvPr>
          <p:cNvSpPr txBox="1"/>
          <p:nvPr/>
        </p:nvSpPr>
        <p:spPr>
          <a:xfrm>
            <a:off x="624000" y="876302"/>
            <a:ext cx="288412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completion of training the learner should be able to …</a:t>
            </a:r>
          </a:p>
        </p:txBody>
      </p:sp>
      <p:cxnSp>
        <p:nvCxnSpPr>
          <p:cNvPr id="46" name="Gerade Verbindung mit Pfeil 2">
            <a:extLst>
              <a:ext uri="{FF2B5EF4-FFF2-40B4-BE49-F238E27FC236}">
                <a16:creationId xmlns:a16="http://schemas.microsoft.com/office/drawing/2014/main" id="{7AF699D8-EB35-45C9-BCBA-D56DF10FE341}"/>
              </a:ext>
            </a:extLst>
          </p:cNvPr>
          <p:cNvCxnSpPr>
            <a:cxnSpLocks/>
          </p:cNvCxnSpPr>
          <p:nvPr/>
        </p:nvCxnSpPr>
        <p:spPr bwMode="gray">
          <a:xfrm>
            <a:off x="780558" y="6224153"/>
            <a:ext cx="7565351" cy="0"/>
          </a:xfrm>
          <a:prstGeom prst="straightConnector1">
            <a:avLst/>
          </a:prstGeom>
          <a:ln w="44450" cap="rnd">
            <a:solidFill>
              <a:srgbClr val="007D4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feld 19">
            <a:extLst>
              <a:ext uri="{FF2B5EF4-FFF2-40B4-BE49-F238E27FC236}">
                <a16:creationId xmlns:a16="http://schemas.microsoft.com/office/drawing/2014/main" id="{E9BD37CF-EAD2-4E9A-95EF-4A7B97A91F77}"/>
              </a:ext>
            </a:extLst>
          </p:cNvPr>
          <p:cNvSpPr txBox="1"/>
          <p:nvPr/>
        </p:nvSpPr>
        <p:spPr bwMode="gray">
          <a:xfrm>
            <a:off x="3150048" y="6299985"/>
            <a:ext cx="5453856" cy="23816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</a:pPr>
            <a:r>
              <a:rPr lang="en-US" sz="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complexity from entry level qualification to expert level</a:t>
            </a:r>
          </a:p>
        </p:txBody>
      </p:sp>
      <p:sp>
        <p:nvSpPr>
          <p:cNvPr id="2" name="Téglalap 69">
            <a:extLst>
              <a:ext uri="{FF2B5EF4-FFF2-40B4-BE49-F238E27FC236}">
                <a16:creationId xmlns:a16="http://schemas.microsoft.com/office/drawing/2014/main" id="{4FCE0A46-820A-4A14-8531-8F5C2F0313C6}"/>
              </a:ext>
            </a:extLst>
          </p:cNvPr>
          <p:cNvSpPr/>
          <p:nvPr/>
        </p:nvSpPr>
        <p:spPr>
          <a:xfrm>
            <a:off x="8490781" y="5727933"/>
            <a:ext cx="1585374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hu-HU" sz="800" dirty="0"/>
              <a:t>The </a:t>
            </a:r>
            <a:r>
              <a:rPr lang="hu-HU" sz="800" dirty="0" err="1"/>
              <a:t>format</a:t>
            </a:r>
            <a:r>
              <a:rPr lang="hu-HU" sz="800" dirty="0"/>
              <a:t> of </a:t>
            </a:r>
            <a:r>
              <a:rPr lang="hu-HU" sz="800" dirty="0" err="1"/>
              <a:t>the</a:t>
            </a:r>
            <a:r>
              <a:rPr lang="hu-HU" sz="800" dirty="0"/>
              <a:t> </a:t>
            </a:r>
            <a:r>
              <a:rPr lang="hu-HU" sz="800" dirty="0" err="1"/>
              <a:t>white</a:t>
            </a:r>
            <a:r>
              <a:rPr lang="hu-HU" sz="800" dirty="0"/>
              <a:t> </a:t>
            </a:r>
            <a:r>
              <a:rPr lang="hu-HU" sz="800" dirty="0" err="1"/>
              <a:t>fields</a:t>
            </a:r>
            <a:r>
              <a:rPr lang="hu-HU" sz="800" dirty="0"/>
              <a:t> is </a:t>
            </a:r>
            <a:r>
              <a:rPr lang="hu-HU" sz="800" dirty="0" err="1"/>
              <a:t>still</a:t>
            </a:r>
            <a:r>
              <a:rPr lang="hu-HU" sz="800" dirty="0"/>
              <a:t> </a:t>
            </a:r>
            <a:r>
              <a:rPr lang="hu-HU" sz="800" dirty="0" err="1"/>
              <a:t>under</a:t>
            </a:r>
            <a:r>
              <a:rPr lang="hu-HU" sz="800" dirty="0"/>
              <a:t> </a:t>
            </a:r>
            <a:r>
              <a:rPr lang="hu-HU" sz="800" dirty="0" err="1"/>
              <a:t>revision</a:t>
            </a:r>
            <a:r>
              <a:rPr lang="hu-HU" sz="800" dirty="0"/>
              <a:t> and </a:t>
            </a:r>
            <a:r>
              <a:rPr lang="hu-HU" sz="800" dirty="0" err="1"/>
              <a:t>might</a:t>
            </a:r>
            <a:r>
              <a:rPr lang="hu-HU" sz="800" dirty="0"/>
              <a:t> be </a:t>
            </a:r>
            <a:r>
              <a:rPr lang="hu-HU" sz="800" dirty="0" err="1"/>
              <a:t>changed</a:t>
            </a:r>
            <a:r>
              <a:rPr lang="hu-HU" sz="800" dirty="0"/>
              <a:t> </a:t>
            </a:r>
            <a:r>
              <a:rPr lang="hu-HU" sz="800" dirty="0" err="1"/>
              <a:t>due</a:t>
            </a:r>
            <a:r>
              <a:rPr lang="hu-HU" sz="800" dirty="0"/>
              <a:t> </a:t>
            </a:r>
            <a:r>
              <a:rPr lang="hu-HU" sz="800" dirty="0" err="1"/>
              <a:t>to</a:t>
            </a:r>
            <a:r>
              <a:rPr lang="hu-HU" sz="800" dirty="0"/>
              <a:t> </a:t>
            </a:r>
            <a:r>
              <a:rPr lang="hu-HU" sz="800" dirty="0" err="1"/>
              <a:t>requirements</a:t>
            </a:r>
            <a:r>
              <a:rPr lang="hu-HU" sz="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3083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7"/>
          <p:cNvSpPr/>
          <p:nvPr/>
        </p:nvSpPr>
        <p:spPr>
          <a:xfrm>
            <a:off x="5950595" y="1318715"/>
            <a:ext cx="5158285" cy="5158285"/>
          </a:xfrm>
          <a:prstGeom prst="pie">
            <a:avLst>
              <a:gd name="adj1" fmla="val 16203509"/>
              <a:gd name="adj2" fmla="val 162041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900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48" name="Google Shape;948;p7"/>
          <p:cNvSpPr/>
          <p:nvPr/>
        </p:nvSpPr>
        <p:spPr>
          <a:xfrm>
            <a:off x="550863" y="1267323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49" name="Google Shape;949;p7"/>
          <p:cNvSpPr/>
          <p:nvPr/>
        </p:nvSpPr>
        <p:spPr>
          <a:xfrm>
            <a:off x="550863" y="2526916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50" name="Google Shape;950;p7"/>
          <p:cNvSpPr txBox="1"/>
          <p:nvPr/>
        </p:nvSpPr>
        <p:spPr>
          <a:xfrm>
            <a:off x="659235" y="2530410"/>
            <a:ext cx="4755165" cy="1075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de-DE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ro</a:t>
            </a: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izvodnja, isporuka, sastavljanj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de-DE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Fo</a:t>
            </a: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kus na proivodni proces, sastavljanje i isporuku vozil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51" name="Google Shape;951;p7"/>
          <p:cNvSpPr/>
          <p:nvPr/>
        </p:nvSpPr>
        <p:spPr>
          <a:xfrm>
            <a:off x="570063" y="3690509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52" name="Google Shape;952;p7"/>
          <p:cNvSpPr/>
          <p:nvPr/>
        </p:nvSpPr>
        <p:spPr>
          <a:xfrm>
            <a:off x="550863" y="4969303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53" name="Google Shape;953;p7"/>
          <p:cNvSpPr txBox="1"/>
          <p:nvPr/>
        </p:nvSpPr>
        <p:spPr>
          <a:xfrm>
            <a:off x="659235" y="4974480"/>
            <a:ext cx="5551965" cy="14239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de-DE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IT/Data Security </a:t>
            </a: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i p</a:t>
            </a:r>
            <a:r>
              <a:rPr lang="de-DE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riv</a:t>
            </a: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atnost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Saveti i smernice za uspostavljanje standarda i bezbednosnih mer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endParaRPr sz="1600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54" name="Google Shape;954;p7"/>
          <p:cNvSpPr txBox="1"/>
          <p:nvPr/>
        </p:nvSpPr>
        <p:spPr>
          <a:xfrm>
            <a:off x="570063" y="1282073"/>
            <a:ext cx="4140615" cy="1075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de-DE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Te</a:t>
            </a: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hnički dizajn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okriva različite nacionalne propise koje se odnose na vozil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55" name="Google Shape;955;p7"/>
          <p:cNvSpPr txBox="1"/>
          <p:nvPr/>
        </p:nvSpPr>
        <p:spPr>
          <a:xfrm>
            <a:off x="659236" y="3690196"/>
            <a:ext cx="6347081" cy="1075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Državne Institucije, osiguranje i infrastruktur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Saveti i vodilje državnim i gradskim Institucijama kako da pravilno integrišu deljenje micromob.vozila u javni gradski prevoz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57" name="Google Shape;957;p7"/>
          <p:cNvSpPr txBox="1"/>
          <p:nvPr/>
        </p:nvSpPr>
        <p:spPr>
          <a:xfrm>
            <a:off x="431371" y="349829"/>
            <a:ext cx="10846229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defTabSz="1219170">
              <a:buClr>
                <a:srgbClr val="000000"/>
              </a:buClr>
              <a:buSzPts val="2000"/>
            </a:pPr>
            <a:r>
              <a:rPr lang="de-DE" sz="2667" b="1" kern="0" dirty="0">
                <a:solidFill>
                  <a:srgbClr val="007D40"/>
                </a:solidFill>
                <a:latin typeface="Roboto"/>
                <a:ea typeface="Roboto"/>
                <a:cs typeface="Roboto"/>
                <a:sym typeface="Roboto"/>
              </a:rPr>
              <a:t>360° </a:t>
            </a:r>
            <a:r>
              <a:rPr lang="sr-Latn-RS" sz="2667" b="1" kern="0" dirty="0">
                <a:solidFill>
                  <a:srgbClr val="007D40"/>
                </a:solidFill>
                <a:latin typeface="Roboto"/>
                <a:ea typeface="Roboto"/>
                <a:cs typeface="Roboto"/>
                <a:sym typeface="Roboto"/>
              </a:rPr>
              <a:t>pristup u cilju kako da</a:t>
            </a:r>
            <a:r>
              <a:rPr lang="de-DE" sz="2667" b="1" kern="0" dirty="0">
                <a:solidFill>
                  <a:srgbClr val="007D40"/>
                </a:solidFill>
                <a:latin typeface="Roboto"/>
                <a:ea typeface="Roboto"/>
                <a:cs typeface="Roboto"/>
                <a:sym typeface="Roboto"/>
              </a:rPr>
              <a:t> Micro Mobility</a:t>
            </a:r>
            <a:r>
              <a:rPr lang="sr-Latn-RS" sz="2667" b="1" kern="0" dirty="0">
                <a:solidFill>
                  <a:srgbClr val="007D40"/>
                </a:solidFill>
                <a:latin typeface="Roboto"/>
                <a:ea typeface="Roboto"/>
                <a:cs typeface="Roboto"/>
                <a:sym typeface="Roboto"/>
              </a:rPr>
              <a:t> bude siguran i održiv</a:t>
            </a:r>
            <a:r>
              <a:rPr lang="de-DE" sz="2667" b="1" kern="0" dirty="0">
                <a:solidFill>
                  <a:srgbClr val="007D40"/>
                </a:solidFill>
                <a:latin typeface="Roboto"/>
                <a:ea typeface="Roboto"/>
                <a:cs typeface="Roboto"/>
                <a:sym typeface="Roboto"/>
              </a:rPr>
              <a:t>(1/2)</a:t>
            </a:r>
            <a:endParaRPr sz="1867" kern="0" dirty="0">
              <a:solidFill>
                <a:srgbClr val="007D4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Google Shape;975;p8">
            <a:extLst>
              <a:ext uri="{FF2B5EF4-FFF2-40B4-BE49-F238E27FC236}">
                <a16:creationId xmlns:a16="http://schemas.microsoft.com/office/drawing/2014/main" id="{EF278792-749F-4B4B-9C67-C42E1D4B44D0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e-DE" kern="0" dirty="0"/>
              <a:t>DEKRA </a:t>
            </a:r>
            <a:endParaRPr kern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5D7694-3AA4-44C2-A43C-EC20D810E2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58" r="2942"/>
          <a:stretch/>
        </p:blipFill>
        <p:spPr>
          <a:xfrm>
            <a:off x="6987117" y="1155062"/>
            <a:ext cx="5158287" cy="473751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4" name="Google Shape;964;p8"/>
          <p:cNvSpPr/>
          <p:nvPr/>
        </p:nvSpPr>
        <p:spPr>
          <a:xfrm>
            <a:off x="5950595" y="1318715"/>
            <a:ext cx="5158285" cy="5158285"/>
          </a:xfrm>
          <a:prstGeom prst="pie">
            <a:avLst>
              <a:gd name="adj1" fmla="val 16203509"/>
              <a:gd name="adj2" fmla="val 162041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sz="900" kern="0">
              <a:solidFill>
                <a:srgbClr val="FFFFFF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65" name="Google Shape;965;p8"/>
          <p:cNvSpPr txBox="1">
            <a:spLocks noGrp="1"/>
          </p:cNvSpPr>
          <p:nvPr>
            <p:ph type="title"/>
          </p:nvPr>
        </p:nvSpPr>
        <p:spPr>
          <a:xfrm>
            <a:off x="431371" y="349829"/>
            <a:ext cx="11015563" cy="4705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chemeClr val="dk1"/>
              </a:buClr>
            </a:pPr>
            <a:r>
              <a:rPr lang="de-DE" sz="2400" dirty="0">
                <a:solidFill>
                  <a:srgbClr val="007D40"/>
                </a:solidFill>
              </a:rPr>
              <a:t>360° </a:t>
            </a:r>
            <a:r>
              <a:rPr lang="sr-Latn-RS" sz="2400" dirty="0">
                <a:solidFill>
                  <a:srgbClr val="007D40"/>
                </a:solidFill>
              </a:rPr>
              <a:t>pristup</a:t>
            </a:r>
            <a:r>
              <a:rPr lang="de-DE" sz="2400" dirty="0">
                <a:solidFill>
                  <a:srgbClr val="007D40"/>
                </a:solidFill>
              </a:rPr>
              <a:t> </a:t>
            </a:r>
            <a:r>
              <a:rPr lang="sr-Latn-RS" sz="2400" dirty="0">
                <a:solidFill>
                  <a:srgbClr val="007D40"/>
                </a:solidFill>
              </a:rPr>
              <a:t>u cilju da</a:t>
            </a:r>
            <a:r>
              <a:rPr lang="de-DE" sz="2400" dirty="0">
                <a:solidFill>
                  <a:srgbClr val="007D40"/>
                </a:solidFill>
              </a:rPr>
              <a:t> Micro Mobility </a:t>
            </a:r>
            <a:r>
              <a:rPr lang="sr-Latn-RS" sz="2400" dirty="0">
                <a:solidFill>
                  <a:srgbClr val="007D40"/>
                </a:solidFill>
              </a:rPr>
              <a:t>bude siguran i održiv</a:t>
            </a:r>
            <a:r>
              <a:rPr lang="de-DE" sz="2400" dirty="0">
                <a:solidFill>
                  <a:srgbClr val="007D40"/>
                </a:solidFill>
              </a:rPr>
              <a:t> (2/2)</a:t>
            </a:r>
            <a:endParaRPr sz="2400" dirty="0">
              <a:solidFill>
                <a:srgbClr val="007D40"/>
              </a:solidFill>
            </a:endParaRPr>
          </a:p>
        </p:txBody>
      </p:sp>
      <p:sp>
        <p:nvSpPr>
          <p:cNvPr id="966" name="Google Shape;966;p8"/>
          <p:cNvSpPr/>
          <p:nvPr/>
        </p:nvSpPr>
        <p:spPr>
          <a:xfrm>
            <a:off x="550863" y="1267323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67" name="Google Shape;967;p8"/>
          <p:cNvSpPr/>
          <p:nvPr/>
        </p:nvSpPr>
        <p:spPr>
          <a:xfrm>
            <a:off x="550863" y="2526916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68" name="Google Shape;968;p8"/>
          <p:cNvSpPr txBox="1"/>
          <p:nvPr/>
        </p:nvSpPr>
        <p:spPr>
          <a:xfrm>
            <a:off x="659235" y="2530409"/>
            <a:ext cx="4755165" cy="1075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Raspoređivanj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de-DE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S</a:t>
            </a: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igurno raspoređivanje micromob. vozila tokom radnog vremen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69" name="Google Shape;969;p8"/>
          <p:cNvSpPr/>
          <p:nvPr/>
        </p:nvSpPr>
        <p:spPr>
          <a:xfrm>
            <a:off x="570063" y="3690509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70" name="Google Shape;970;p8"/>
          <p:cNvSpPr/>
          <p:nvPr/>
        </p:nvSpPr>
        <p:spPr>
          <a:xfrm>
            <a:off x="550863" y="4969303"/>
            <a:ext cx="384000" cy="3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6000" tIns="96000" rIns="96000" bIns="96000" anchor="ctr" anchorCtr="0">
            <a:noAutofit/>
          </a:bodyPr>
          <a:lstStyle/>
          <a:p>
            <a:pPr marL="239994" indent="-121464" defTabSz="1219170">
              <a:buClr>
                <a:srgbClr val="000000"/>
              </a:buClr>
              <a:buSzPts val="1400"/>
            </a:pPr>
            <a:endParaRPr sz="1867" kern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71" name="Google Shape;971;p8"/>
          <p:cNvSpPr txBox="1"/>
          <p:nvPr/>
        </p:nvSpPr>
        <p:spPr>
          <a:xfrm>
            <a:off x="659235" y="4974480"/>
            <a:ext cx="6308832" cy="11776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de-DE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Rec</a:t>
            </a: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iklaž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de-DE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Rec</a:t>
            </a: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ikliranje delova i pronalaženje različitih namena za baterije</a:t>
            </a:r>
            <a:r>
              <a:rPr lang="de-DE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endParaRPr sz="1600" kern="0" dirty="0">
              <a:solidFill>
                <a:srgbClr val="000000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72" name="Google Shape;972;p8"/>
          <p:cNvSpPr txBox="1"/>
          <p:nvPr/>
        </p:nvSpPr>
        <p:spPr>
          <a:xfrm>
            <a:off x="659235" y="1285797"/>
            <a:ext cx="5734365" cy="1075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Obuka i ponašanje korisnika</a:t>
            </a: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Obučiti korisnike kako da se koriste vozilima i edukovati ih o pravilima u saobraćaju</a:t>
            </a:r>
            <a:endParaRPr lang="en-US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73" name="Google Shape;973;p8"/>
          <p:cNvSpPr txBox="1"/>
          <p:nvPr/>
        </p:nvSpPr>
        <p:spPr>
          <a:xfrm>
            <a:off x="659235" y="3690197"/>
            <a:ext cx="5551965" cy="1321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733" tIns="96000" rIns="96000" bIns="54367" anchor="t" anchorCtr="0">
            <a:spAutoFit/>
          </a:bodyPr>
          <a:lstStyle/>
          <a:p>
            <a:pPr defTabSz="1219170">
              <a:buClr>
                <a:srgbClr val="000000"/>
              </a:buClr>
              <a:buSzPts val="1600"/>
            </a:pPr>
            <a:r>
              <a:rPr lang="sr-Latn-RS" sz="2133" b="1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Održavanje i čuvanj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800"/>
              </a:spcBef>
              <a:buClr>
                <a:srgbClr val="000000"/>
              </a:buClr>
              <a:buSzPts val="1200"/>
            </a:pPr>
            <a:r>
              <a:rPr lang="de-DE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eri</a:t>
            </a: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odična provera tehničke ispravnosti i </a:t>
            </a:r>
            <a:r>
              <a:rPr lang="de-DE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testiranje e-skutera kako bi održali radni vek i njihovo sigurno skladištenje t</a:t>
            </a:r>
            <a:r>
              <a:rPr lang="sr-Latn-RS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o</a:t>
            </a:r>
            <a:r>
              <a:rPr lang="de-DE" sz="1600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kom neradnog vremen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75" name="Google Shape;975;p8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e-DE" kern="0" dirty="0"/>
              <a:t>DEKRA</a:t>
            </a:r>
            <a:endParaRPr kern="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022EF75-041B-47E1-A8BA-B0A3C79395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58" r="2942"/>
          <a:stretch/>
        </p:blipFill>
        <p:spPr>
          <a:xfrm>
            <a:off x="6968067" y="1142362"/>
            <a:ext cx="5158287" cy="4737511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1" name="Google Shape;1081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5654" y="990601"/>
            <a:ext cx="2889303" cy="3129642"/>
          </a:xfrm>
          <a:prstGeom prst="rect">
            <a:avLst/>
          </a:prstGeom>
          <a:noFill/>
          <a:ln>
            <a:noFill/>
          </a:ln>
        </p:spPr>
      </p:pic>
      <p:sp>
        <p:nvSpPr>
          <p:cNvPr id="1082" name="Google Shape;1082;p12"/>
          <p:cNvSpPr txBox="1">
            <a:spLocks noGrp="1"/>
          </p:cNvSpPr>
          <p:nvPr>
            <p:ph type="title"/>
          </p:nvPr>
        </p:nvSpPr>
        <p:spPr>
          <a:xfrm>
            <a:off x="305654" y="349830"/>
            <a:ext cx="11534865" cy="640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r>
              <a:rPr lang="sr-Latn-RS" dirty="0">
                <a:solidFill>
                  <a:schemeClr val="accent3">
                    <a:lumMod val="50000"/>
                  </a:schemeClr>
                </a:solidFill>
              </a:rPr>
              <a:t>DEKRA </a:t>
            </a:r>
            <a:r>
              <a:rPr lang="de-DE" dirty="0">
                <a:solidFill>
                  <a:schemeClr val="accent3">
                    <a:lumMod val="50000"/>
                  </a:schemeClr>
                </a:solidFill>
              </a:rPr>
              <a:t>11 </a:t>
            </a:r>
            <a:r>
              <a:rPr lang="sr-Latn-RS" dirty="0">
                <a:solidFill>
                  <a:schemeClr val="accent3">
                    <a:lumMod val="50000"/>
                  </a:schemeClr>
                </a:solidFill>
              </a:rPr>
              <a:t>preporuka</a:t>
            </a:r>
            <a:r>
              <a:rPr lang="de-DE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sr-Latn-RS" dirty="0">
                <a:solidFill>
                  <a:schemeClr val="accent3">
                    <a:lumMod val="50000"/>
                  </a:schemeClr>
                </a:solidFill>
              </a:rPr>
              <a:t>Javnim Institucijama</a:t>
            </a:r>
            <a:r>
              <a:rPr lang="de-DE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sr-Latn-RS" dirty="0">
                <a:solidFill>
                  <a:schemeClr val="accent3">
                    <a:lumMod val="50000"/>
                  </a:schemeClr>
                </a:solidFill>
              </a:rPr>
              <a:t>i</a:t>
            </a:r>
            <a:r>
              <a:rPr lang="de-DE" dirty="0">
                <a:solidFill>
                  <a:schemeClr val="accent3">
                    <a:lumMod val="50000"/>
                  </a:schemeClr>
                </a:solidFill>
              </a:rPr>
              <a:t> e-Scooter Prov</a:t>
            </a:r>
            <a:r>
              <a:rPr lang="sr-Latn-RS" dirty="0">
                <a:solidFill>
                  <a:schemeClr val="accent3">
                    <a:lumMod val="50000"/>
                  </a:schemeClr>
                </a:solidFill>
              </a:rPr>
              <a:t>ajderima</a:t>
            </a:r>
            <a:r>
              <a:rPr lang="de-DE" dirty="0">
                <a:solidFill>
                  <a:schemeClr val="accent3">
                    <a:lumMod val="50000"/>
                  </a:schemeClr>
                </a:solidFill>
              </a:rPr>
              <a:t> – </a:t>
            </a:r>
            <a:r>
              <a:rPr lang="sr-Latn-RS" dirty="0">
                <a:solidFill>
                  <a:schemeClr val="accent3">
                    <a:lumMod val="50000"/>
                  </a:schemeClr>
                </a:solidFill>
              </a:rPr>
              <a:t>razvijeno sa Nemačkim savetom za bezbednost saobraćaja</a:t>
            </a:r>
            <a:endParaRPr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083" name="Google Shape;1083;p12"/>
          <p:cNvSpPr txBox="1"/>
          <p:nvPr/>
        </p:nvSpPr>
        <p:spPr>
          <a:xfrm>
            <a:off x="4100811" y="1618398"/>
            <a:ext cx="5433475" cy="465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Obavezni pokazivači pravca i ABS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Minim</a:t>
            </a: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alna starost korisnika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15</a:t>
            </a: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godina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i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test </a:t>
            </a: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oznavanja saobraćajnih propsia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ovećati uočljivost korišćenjem reflektujućih traka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Jednoobrazan mehanizam saradnje policije i lokalnih vlasti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Kazne za vožnju trotoarom *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Urediti korišćenje puta sa biciklističkim i micromb. saobraćajem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osebno određenje parking zone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Promenu u obuci vožnje (efekat sidra)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Dnevna raspoređivanja i prikupljanja 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e-s</a:t>
            </a: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kutera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Automat</a:t>
            </a: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ska ograničenja brzine, noćni mod i zone (pešački mod)</a:t>
            </a:r>
            <a:r>
              <a:rPr lang="de-DE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Cene iznajmljivanja odrediti po pređenom putu a ne po vremenu korišćenja</a:t>
            </a:r>
          </a:p>
          <a:p>
            <a:pPr marL="457189" indent="-457189" defTabSz="1219170">
              <a:buClr>
                <a:srgbClr val="000000"/>
              </a:buClr>
              <a:buSzPts val="1200"/>
              <a:buFont typeface="Roboto"/>
              <a:buAutoNum type="arabicPeriod"/>
            </a:pPr>
            <a:r>
              <a:rPr lang="sr-Latn-RS" sz="1600" b="1" u="sng" kern="0" dirty="0">
                <a:solidFill>
                  <a:srgbClr val="000000"/>
                </a:solidFill>
                <a:latin typeface="Roboto"/>
                <a:ea typeface="Roboto"/>
                <a:cs typeface="Arial"/>
                <a:sym typeface="Roboto"/>
              </a:rPr>
              <a:t>Periodični pregledi, registracija i osiguranje *</a:t>
            </a:r>
            <a:endParaRPr sz="1600" u="sng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084" name="Google Shape;1084;p12"/>
          <p:cNvPicPr preferRelativeResize="0"/>
          <p:nvPr/>
        </p:nvPicPr>
        <p:blipFill rotWithShape="1">
          <a:blip r:embed="rId4">
            <a:alphaModFix/>
          </a:blip>
          <a:srcRect l="28550" t="27548" r="29325" b="30319"/>
          <a:stretch/>
        </p:blipFill>
        <p:spPr>
          <a:xfrm>
            <a:off x="9541526" y="3125167"/>
            <a:ext cx="2344820" cy="2344820"/>
          </a:xfrm>
          <a:prstGeom prst="rect">
            <a:avLst/>
          </a:prstGeom>
          <a:noFill/>
          <a:ln>
            <a:noFill/>
          </a:ln>
        </p:spPr>
      </p:pic>
      <p:sp>
        <p:nvSpPr>
          <p:cNvPr id="1085" name="Google Shape;1085;p12"/>
          <p:cNvSpPr txBox="1"/>
          <p:nvPr/>
        </p:nvSpPr>
        <p:spPr>
          <a:xfrm>
            <a:off x="9534285" y="2216801"/>
            <a:ext cx="2359299" cy="5992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de-DE" sz="1867" b="1" kern="0" dirty="0">
                <a:solidFill>
                  <a:srgbClr val="000000"/>
                </a:solidFill>
                <a:latin typeface="Roboto"/>
                <a:ea typeface="Roboto"/>
                <a:cs typeface="Roboto"/>
                <a:sym typeface="Roboto"/>
              </a:rPr>
              <a:t>DEKRA DIGITAL Badge for Micro Mobility 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86" name="Google Shape;1086;p12"/>
          <p:cNvSpPr txBox="1">
            <a:spLocks noGrp="1"/>
          </p:cNvSpPr>
          <p:nvPr>
            <p:ph type="ftr" idx="11"/>
          </p:nvPr>
        </p:nvSpPr>
        <p:spPr>
          <a:xfrm>
            <a:off x="431371" y="6769100"/>
            <a:ext cx="10515600" cy="62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e-DE" kern="0" dirty="0"/>
              <a:t>DEKRA</a:t>
            </a:r>
            <a:endParaRPr kern="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D10EE7-C756-2AC7-E2BB-75184EF666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654" y="4120243"/>
            <a:ext cx="3400932" cy="244530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" name="Google Shape;727;p1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e-DE" kern="0" dirty="0"/>
              <a:t>DEKRA</a:t>
            </a:r>
            <a:endParaRPr kern="0" dirty="0"/>
          </a:p>
        </p:txBody>
      </p:sp>
      <p:sp>
        <p:nvSpPr>
          <p:cNvPr id="728" name="Google Shape;728;p1"/>
          <p:cNvSpPr txBox="1"/>
          <p:nvPr/>
        </p:nvSpPr>
        <p:spPr>
          <a:xfrm>
            <a:off x="383598" y="175866"/>
            <a:ext cx="9651356" cy="797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7D40"/>
              </a:buClr>
              <a:buSzPts val="1400"/>
            </a:pPr>
            <a:r>
              <a:rPr lang="pl-PL" sz="1867" b="1" kern="0" dirty="0">
                <a:solidFill>
                  <a:srgbClr val="007D40"/>
                </a:solidFill>
                <a:latin typeface="+mj-lt"/>
                <a:ea typeface="Arial Narrow"/>
                <a:cs typeface="Arial Narrow"/>
                <a:sym typeface="Arial Narrow"/>
              </a:rPr>
              <a:t>Ko je  DEKRA?</a:t>
            </a:r>
            <a:br>
              <a:rPr lang="pl-PL" sz="1867" kern="0" dirty="0">
                <a:solidFill>
                  <a:srgbClr val="007D40"/>
                </a:solidFill>
                <a:latin typeface="+mj-lt"/>
                <a:ea typeface="Arial Narrow"/>
                <a:cs typeface="Arial Narrow"/>
                <a:sym typeface="Arial Narrow"/>
              </a:rPr>
            </a:br>
            <a:r>
              <a:rPr lang="pl-PL" sz="2400" b="1" kern="0" dirty="0">
                <a:solidFill>
                  <a:srgbClr val="555555"/>
                </a:solidFill>
                <a:latin typeface="+mj-lt"/>
                <a:ea typeface="Arial Narrow"/>
                <a:cs typeface="Arial Narrow"/>
                <a:sym typeface="Arial Narrow"/>
              </a:rPr>
              <a:t>Globalni partner </a:t>
            </a:r>
            <a:r>
              <a:rPr lang="sr-Latn-RS" sz="2400" b="1" kern="0" dirty="0">
                <a:solidFill>
                  <a:srgbClr val="555555"/>
                </a:solidFill>
                <a:latin typeface="+mj-lt"/>
                <a:ea typeface="Arial Narrow"/>
                <a:cs typeface="Arial Narrow"/>
                <a:sym typeface="Arial Narrow"/>
              </a:rPr>
              <a:t>bezbedan, očuvan i održiv svet!</a:t>
            </a:r>
            <a:r>
              <a:rPr lang="pl-PL" sz="2400" b="1" kern="0" dirty="0">
                <a:solidFill>
                  <a:srgbClr val="555555"/>
                </a:solidFill>
                <a:latin typeface="+mj-lt"/>
                <a:ea typeface="Arial Narrow"/>
                <a:cs typeface="Arial Narrow"/>
                <a:sym typeface="Arial Narrow"/>
              </a:rPr>
              <a:t> </a:t>
            </a:r>
            <a:endParaRPr lang="pl-PL" sz="3733" b="1" kern="0" dirty="0">
              <a:solidFill>
                <a:srgbClr val="555555"/>
              </a:solidFill>
              <a:latin typeface="+mj-lt"/>
              <a:ea typeface="Arial Narrow"/>
              <a:cs typeface="Arial Narrow"/>
              <a:sym typeface="Arial Narrow"/>
            </a:endParaRPr>
          </a:p>
        </p:txBody>
      </p:sp>
      <p:sp>
        <p:nvSpPr>
          <p:cNvPr id="729" name="Google Shape;729;p1"/>
          <p:cNvSpPr txBox="1"/>
          <p:nvPr/>
        </p:nvSpPr>
        <p:spPr>
          <a:xfrm>
            <a:off x="2064853" y="2536044"/>
            <a:ext cx="1740847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 defTabSz="1219170">
              <a:buClr>
                <a:srgbClr val="555555"/>
              </a:buClr>
              <a:buSzPts val="1350"/>
            </a:pPr>
            <a:r>
              <a:rPr lang="de-DE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4</a:t>
            </a: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9</a:t>
            </a:r>
            <a:r>
              <a:rPr lang="de-DE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 </a:t>
            </a: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0</a:t>
            </a:r>
            <a:r>
              <a:rPr lang="de-DE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00 </a:t>
            </a: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zaposlenih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730" name="Google Shape;730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91033" y="1828803"/>
            <a:ext cx="1798059" cy="1454207"/>
          </a:xfrm>
          <a:prstGeom prst="rect">
            <a:avLst/>
          </a:prstGeom>
          <a:noFill/>
          <a:ln>
            <a:noFill/>
          </a:ln>
        </p:spPr>
      </p:pic>
      <p:pic>
        <p:nvPicPr>
          <p:cNvPr id="731" name="Google Shape;731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86145" y="5097180"/>
            <a:ext cx="682811" cy="1042505"/>
          </a:xfrm>
          <a:prstGeom prst="rect">
            <a:avLst/>
          </a:prstGeom>
          <a:noFill/>
          <a:ln>
            <a:noFill/>
          </a:ln>
        </p:spPr>
      </p:pic>
      <p:sp>
        <p:nvSpPr>
          <p:cNvPr id="732" name="Google Shape;732;p1"/>
          <p:cNvSpPr/>
          <p:nvPr/>
        </p:nvSpPr>
        <p:spPr>
          <a:xfrm>
            <a:off x="6209927" y="3832893"/>
            <a:ext cx="931808" cy="655271"/>
          </a:xfrm>
          <a:custGeom>
            <a:avLst/>
            <a:gdLst/>
            <a:ahLst/>
            <a:cxnLst/>
            <a:rect l="l" t="t" r="r" b="b"/>
            <a:pathLst>
              <a:path w="534243" h="375694" extrusionOk="0">
                <a:moveTo>
                  <a:pt x="424507" y="340055"/>
                </a:moveTo>
                <a:cubicBezTo>
                  <a:pt x="319830" y="340055"/>
                  <a:pt x="215394" y="340055"/>
                  <a:pt x="110854" y="340055"/>
                </a:cubicBezTo>
                <a:cubicBezTo>
                  <a:pt x="110475" y="344363"/>
                  <a:pt x="110441" y="348637"/>
                  <a:pt x="109648" y="352773"/>
                </a:cubicBezTo>
                <a:cubicBezTo>
                  <a:pt x="106994" y="367215"/>
                  <a:pt x="97688" y="375384"/>
                  <a:pt x="83177" y="375591"/>
                </a:cubicBezTo>
                <a:cubicBezTo>
                  <a:pt x="69562" y="375798"/>
                  <a:pt x="55913" y="375935"/>
                  <a:pt x="42333" y="375074"/>
                </a:cubicBezTo>
                <a:cubicBezTo>
                  <a:pt x="29167" y="374212"/>
                  <a:pt x="20377" y="365492"/>
                  <a:pt x="18620" y="352256"/>
                </a:cubicBezTo>
                <a:cubicBezTo>
                  <a:pt x="17620" y="344777"/>
                  <a:pt x="17827" y="337160"/>
                  <a:pt x="17792" y="329577"/>
                </a:cubicBezTo>
                <a:cubicBezTo>
                  <a:pt x="17758" y="320443"/>
                  <a:pt x="15414" y="312274"/>
                  <a:pt x="9348" y="305174"/>
                </a:cubicBezTo>
                <a:cubicBezTo>
                  <a:pt x="4591" y="299625"/>
                  <a:pt x="2902" y="292662"/>
                  <a:pt x="2834" y="285528"/>
                </a:cubicBezTo>
                <a:cubicBezTo>
                  <a:pt x="2661" y="264985"/>
                  <a:pt x="2799" y="244477"/>
                  <a:pt x="2765" y="223934"/>
                </a:cubicBezTo>
                <a:cubicBezTo>
                  <a:pt x="2765" y="214283"/>
                  <a:pt x="2730" y="204633"/>
                  <a:pt x="2592" y="194982"/>
                </a:cubicBezTo>
                <a:cubicBezTo>
                  <a:pt x="2282" y="168718"/>
                  <a:pt x="11967" y="146210"/>
                  <a:pt x="29236" y="127081"/>
                </a:cubicBezTo>
                <a:cubicBezTo>
                  <a:pt x="45470" y="109089"/>
                  <a:pt x="62531" y="91821"/>
                  <a:pt x="79420" y="74449"/>
                </a:cubicBezTo>
                <a:cubicBezTo>
                  <a:pt x="96895" y="56458"/>
                  <a:pt x="114611" y="38707"/>
                  <a:pt x="132293" y="20922"/>
                </a:cubicBezTo>
                <a:cubicBezTo>
                  <a:pt x="144322" y="8824"/>
                  <a:pt x="158729" y="2688"/>
                  <a:pt x="175998" y="2723"/>
                </a:cubicBezTo>
                <a:cubicBezTo>
                  <a:pt x="228629" y="2826"/>
                  <a:pt x="281295" y="2619"/>
                  <a:pt x="333961" y="2585"/>
                </a:cubicBezTo>
                <a:cubicBezTo>
                  <a:pt x="344577" y="2585"/>
                  <a:pt x="355193" y="2654"/>
                  <a:pt x="365775" y="3171"/>
                </a:cubicBezTo>
                <a:cubicBezTo>
                  <a:pt x="379734" y="3860"/>
                  <a:pt x="391935" y="9479"/>
                  <a:pt x="401483" y="19336"/>
                </a:cubicBezTo>
                <a:cubicBezTo>
                  <a:pt x="438018" y="57009"/>
                  <a:pt x="474554" y="94682"/>
                  <a:pt x="510227" y="133216"/>
                </a:cubicBezTo>
                <a:cubicBezTo>
                  <a:pt x="525221" y="149416"/>
                  <a:pt x="532597" y="169545"/>
                  <a:pt x="532459" y="192155"/>
                </a:cubicBezTo>
                <a:cubicBezTo>
                  <a:pt x="532252" y="220832"/>
                  <a:pt x="532424" y="249475"/>
                  <a:pt x="532597" y="278152"/>
                </a:cubicBezTo>
                <a:cubicBezTo>
                  <a:pt x="532666" y="290594"/>
                  <a:pt x="528805" y="301762"/>
                  <a:pt x="521774" y="311792"/>
                </a:cubicBezTo>
                <a:cubicBezTo>
                  <a:pt x="518327" y="316686"/>
                  <a:pt x="516983" y="321753"/>
                  <a:pt x="517121" y="327612"/>
                </a:cubicBezTo>
                <a:cubicBezTo>
                  <a:pt x="517293" y="335161"/>
                  <a:pt x="517328" y="342812"/>
                  <a:pt x="516638" y="350326"/>
                </a:cubicBezTo>
                <a:cubicBezTo>
                  <a:pt x="515294" y="364906"/>
                  <a:pt x="504678" y="375384"/>
                  <a:pt x="490099" y="376039"/>
                </a:cubicBezTo>
                <a:cubicBezTo>
                  <a:pt x="477173" y="376625"/>
                  <a:pt x="464179" y="376659"/>
                  <a:pt x="451254" y="376108"/>
                </a:cubicBezTo>
                <a:cubicBezTo>
                  <a:pt x="435985" y="375453"/>
                  <a:pt x="423990" y="361597"/>
                  <a:pt x="424542" y="346397"/>
                </a:cubicBezTo>
                <a:cubicBezTo>
                  <a:pt x="424576" y="344398"/>
                  <a:pt x="424507" y="342364"/>
                  <a:pt x="424507" y="340055"/>
                </a:cubicBezTo>
                <a:close/>
                <a:moveTo>
                  <a:pt x="86589" y="108676"/>
                </a:moveTo>
                <a:cubicBezTo>
                  <a:pt x="207707" y="108676"/>
                  <a:pt x="327619" y="108676"/>
                  <a:pt x="448324" y="108676"/>
                </a:cubicBezTo>
                <a:cubicBezTo>
                  <a:pt x="446015" y="106194"/>
                  <a:pt x="444291" y="104264"/>
                  <a:pt x="442499" y="102402"/>
                </a:cubicBezTo>
                <a:cubicBezTo>
                  <a:pt x="423577" y="82756"/>
                  <a:pt x="404723" y="63041"/>
                  <a:pt x="385731" y="43498"/>
                </a:cubicBezTo>
                <a:cubicBezTo>
                  <a:pt x="378907" y="36466"/>
                  <a:pt x="370566" y="32882"/>
                  <a:pt x="360536" y="33089"/>
                </a:cubicBezTo>
                <a:cubicBezTo>
                  <a:pt x="349506" y="33330"/>
                  <a:pt x="338477" y="33261"/>
                  <a:pt x="327482" y="33227"/>
                </a:cubicBezTo>
                <a:cubicBezTo>
                  <a:pt x="277056" y="33192"/>
                  <a:pt x="226596" y="33295"/>
                  <a:pt x="176170" y="33020"/>
                </a:cubicBezTo>
                <a:cubicBezTo>
                  <a:pt x="164416" y="32951"/>
                  <a:pt x="155076" y="37225"/>
                  <a:pt x="147183" y="45462"/>
                </a:cubicBezTo>
                <a:cubicBezTo>
                  <a:pt x="132569" y="60663"/>
                  <a:pt x="117920" y="75794"/>
                  <a:pt x="103340" y="90994"/>
                </a:cubicBezTo>
                <a:cubicBezTo>
                  <a:pt x="97895" y="96612"/>
                  <a:pt x="92587" y="102334"/>
                  <a:pt x="86589" y="108676"/>
                </a:cubicBezTo>
                <a:close/>
                <a:moveTo>
                  <a:pt x="389178" y="197877"/>
                </a:moveTo>
                <a:cubicBezTo>
                  <a:pt x="307801" y="197877"/>
                  <a:pt x="227009" y="197877"/>
                  <a:pt x="146080" y="197877"/>
                </a:cubicBezTo>
                <a:cubicBezTo>
                  <a:pt x="145253" y="210044"/>
                  <a:pt x="147424" y="221177"/>
                  <a:pt x="153008" y="231655"/>
                </a:cubicBezTo>
                <a:cubicBezTo>
                  <a:pt x="160315" y="245339"/>
                  <a:pt x="171207" y="252542"/>
                  <a:pt x="187130" y="251508"/>
                </a:cubicBezTo>
                <a:cubicBezTo>
                  <a:pt x="195368" y="250991"/>
                  <a:pt x="203640" y="250957"/>
                  <a:pt x="211912" y="250957"/>
                </a:cubicBezTo>
                <a:cubicBezTo>
                  <a:pt x="259167" y="251026"/>
                  <a:pt x="306422" y="251164"/>
                  <a:pt x="353677" y="251267"/>
                </a:cubicBezTo>
                <a:cubicBezTo>
                  <a:pt x="360053" y="251267"/>
                  <a:pt x="365947" y="249785"/>
                  <a:pt x="370876" y="245442"/>
                </a:cubicBezTo>
                <a:cubicBezTo>
                  <a:pt x="385214" y="232896"/>
                  <a:pt x="389144" y="216352"/>
                  <a:pt x="389178" y="197877"/>
                </a:cubicBezTo>
                <a:close/>
                <a:moveTo>
                  <a:pt x="73974" y="220005"/>
                </a:moveTo>
                <a:cubicBezTo>
                  <a:pt x="73974" y="220315"/>
                  <a:pt x="73974" y="220626"/>
                  <a:pt x="73974" y="220970"/>
                </a:cubicBezTo>
                <a:cubicBezTo>
                  <a:pt x="78214" y="220660"/>
                  <a:pt x="82488" y="220488"/>
                  <a:pt x="86727" y="219971"/>
                </a:cubicBezTo>
                <a:cubicBezTo>
                  <a:pt x="94896" y="218971"/>
                  <a:pt x="103168" y="218213"/>
                  <a:pt x="111233" y="216558"/>
                </a:cubicBezTo>
                <a:cubicBezTo>
                  <a:pt x="121057" y="214525"/>
                  <a:pt x="123883" y="206873"/>
                  <a:pt x="118403" y="198532"/>
                </a:cubicBezTo>
                <a:cubicBezTo>
                  <a:pt x="117817" y="197601"/>
                  <a:pt x="117162" y="196705"/>
                  <a:pt x="116438" y="195878"/>
                </a:cubicBezTo>
                <a:cubicBezTo>
                  <a:pt x="100342" y="176680"/>
                  <a:pt x="80213" y="163582"/>
                  <a:pt x="56361" y="156172"/>
                </a:cubicBezTo>
                <a:cubicBezTo>
                  <a:pt x="50743" y="154414"/>
                  <a:pt x="45228" y="155069"/>
                  <a:pt x="39989" y="157929"/>
                </a:cubicBezTo>
                <a:cubicBezTo>
                  <a:pt x="27133" y="164995"/>
                  <a:pt x="20481" y="178472"/>
                  <a:pt x="22721" y="192914"/>
                </a:cubicBezTo>
                <a:cubicBezTo>
                  <a:pt x="25341" y="209665"/>
                  <a:pt x="36163" y="219454"/>
                  <a:pt x="52915" y="219971"/>
                </a:cubicBezTo>
                <a:cubicBezTo>
                  <a:pt x="59946" y="220212"/>
                  <a:pt x="66977" y="220005"/>
                  <a:pt x="73974" y="220005"/>
                </a:cubicBezTo>
                <a:close/>
                <a:moveTo>
                  <a:pt x="479517" y="221108"/>
                </a:moveTo>
                <a:cubicBezTo>
                  <a:pt x="482654" y="220591"/>
                  <a:pt x="486273" y="220384"/>
                  <a:pt x="489650" y="219385"/>
                </a:cubicBezTo>
                <a:cubicBezTo>
                  <a:pt x="512571" y="212491"/>
                  <a:pt x="520051" y="183642"/>
                  <a:pt x="503851" y="164857"/>
                </a:cubicBezTo>
                <a:cubicBezTo>
                  <a:pt x="496372" y="156172"/>
                  <a:pt x="484411" y="153138"/>
                  <a:pt x="473830" y="157240"/>
                </a:cubicBezTo>
                <a:cubicBezTo>
                  <a:pt x="453735" y="165099"/>
                  <a:pt x="436433" y="177162"/>
                  <a:pt x="421543" y="192638"/>
                </a:cubicBezTo>
                <a:cubicBezTo>
                  <a:pt x="418751" y="195568"/>
                  <a:pt x="416373" y="199118"/>
                  <a:pt x="414649" y="202771"/>
                </a:cubicBezTo>
                <a:cubicBezTo>
                  <a:pt x="412340" y="207769"/>
                  <a:pt x="414029" y="212147"/>
                  <a:pt x="418923" y="214559"/>
                </a:cubicBezTo>
                <a:cubicBezTo>
                  <a:pt x="421957" y="216041"/>
                  <a:pt x="425369" y="217144"/>
                  <a:pt x="428712" y="217420"/>
                </a:cubicBezTo>
                <a:cubicBezTo>
                  <a:pt x="445498" y="218833"/>
                  <a:pt x="462283" y="219902"/>
                  <a:pt x="479517" y="221108"/>
                </a:cubicBezTo>
                <a:close/>
              </a:path>
            </a:pathLst>
          </a:custGeom>
          <a:solidFill>
            <a:srgbClr val="00652A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350"/>
            </a:pPr>
            <a:endParaRPr kern="0">
              <a:solidFill>
                <a:srgbClr val="55555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3" name="Google Shape;733;p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41929" y="4981248"/>
            <a:ext cx="1262668" cy="1267115"/>
          </a:xfrm>
          <a:prstGeom prst="rect">
            <a:avLst/>
          </a:prstGeom>
          <a:noFill/>
          <a:ln>
            <a:noFill/>
          </a:ln>
        </p:spPr>
      </p:pic>
      <p:pic>
        <p:nvPicPr>
          <p:cNvPr id="734" name="Google Shape;734;p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215063" y="2173156"/>
            <a:ext cx="926672" cy="975445"/>
          </a:xfrm>
          <a:prstGeom prst="rect">
            <a:avLst/>
          </a:prstGeom>
          <a:noFill/>
          <a:ln>
            <a:noFill/>
          </a:ln>
        </p:spPr>
      </p:pic>
      <p:sp>
        <p:nvSpPr>
          <p:cNvPr id="735" name="Google Shape;735;p1"/>
          <p:cNvSpPr txBox="1"/>
          <p:nvPr/>
        </p:nvSpPr>
        <p:spPr>
          <a:xfrm>
            <a:off x="7190355" y="2541406"/>
            <a:ext cx="1740847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defTabSz="1219170">
              <a:buClr>
                <a:srgbClr val="555555"/>
              </a:buClr>
              <a:buSzPts val="1350"/>
            </a:pPr>
            <a:r>
              <a:rPr lang="de-DE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€3,</a:t>
            </a: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6</a:t>
            </a:r>
            <a:r>
              <a:rPr lang="de-DE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 bn </a:t>
            </a: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prihoda u</a:t>
            </a:r>
            <a:r>
              <a:rPr lang="de-DE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 20</a:t>
            </a: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22.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736" name="Google Shape;736;p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757663" y="3770146"/>
            <a:ext cx="1808447" cy="910172"/>
          </a:xfrm>
          <a:prstGeom prst="rect">
            <a:avLst/>
          </a:prstGeom>
          <a:noFill/>
          <a:ln>
            <a:noFill/>
          </a:ln>
        </p:spPr>
      </p:pic>
      <p:sp>
        <p:nvSpPr>
          <p:cNvPr id="737" name="Google Shape;737;p1"/>
          <p:cNvSpPr txBox="1"/>
          <p:nvPr/>
        </p:nvSpPr>
        <p:spPr>
          <a:xfrm>
            <a:off x="2061722" y="3939690"/>
            <a:ext cx="1740847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 defTabSz="1219170">
              <a:buClr>
                <a:srgbClr val="555555"/>
              </a:buClr>
              <a:buSzPts val="1350"/>
            </a:pP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Prisutna u više od 60 zemalj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38" name="Google Shape;738;p1"/>
          <p:cNvSpPr txBox="1"/>
          <p:nvPr/>
        </p:nvSpPr>
        <p:spPr>
          <a:xfrm>
            <a:off x="7179823" y="3939606"/>
            <a:ext cx="1926664" cy="1231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defTabSz="1219170">
              <a:buClr>
                <a:srgbClr val="555555"/>
              </a:buClr>
              <a:buSzPts val="1350"/>
            </a:pPr>
            <a:r>
              <a:rPr lang="sr-Latn-RS" b="1" kern="0" dirty="0">
                <a:solidFill>
                  <a:srgbClr val="555555"/>
                </a:solidFill>
                <a:latin typeface="Arial Narrow"/>
                <a:cs typeface="Arial"/>
                <a:sym typeface="Arial Narrow"/>
              </a:rPr>
              <a:t>Više od 29 miliona izvršenih tehničkih pregleda vozila godišnj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39" name="Google Shape;739;p1"/>
          <p:cNvSpPr txBox="1"/>
          <p:nvPr/>
        </p:nvSpPr>
        <p:spPr>
          <a:xfrm>
            <a:off x="1303607" y="5276613"/>
            <a:ext cx="2514591" cy="954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 defTabSz="1219170">
              <a:buClr>
                <a:srgbClr val="555555"/>
              </a:buClr>
              <a:buSzPts val="1350"/>
            </a:pPr>
            <a:r>
              <a:rPr lang="sr-Latn-RS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Akreditovana u više od 20 zemalja kao Sertifikaciono telo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40" name="Google Shape;740;p1"/>
          <p:cNvSpPr txBox="1"/>
          <p:nvPr/>
        </p:nvSpPr>
        <p:spPr>
          <a:xfrm>
            <a:off x="7174047" y="5275995"/>
            <a:ext cx="1926664" cy="1231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defTabSz="1219170">
              <a:buClr>
                <a:srgbClr val="555555"/>
              </a:buClr>
              <a:buSzPts val="1350"/>
            </a:pPr>
            <a:r>
              <a:rPr lang="sr-Latn-RS" b="1" kern="0" dirty="0">
                <a:solidFill>
                  <a:srgbClr val="555555"/>
                </a:solidFill>
                <a:latin typeface="Arial Narrow"/>
                <a:cs typeface="Arial"/>
                <a:sym typeface="Arial Narrow"/>
              </a:rPr>
              <a:t>Više od 35 akvizicja u svetu u poslednje 4 godin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41" name="Google Shape;741;p1"/>
          <p:cNvSpPr/>
          <p:nvPr/>
        </p:nvSpPr>
        <p:spPr>
          <a:xfrm>
            <a:off x="290731" y="1197263"/>
            <a:ext cx="11535508" cy="779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defTabSz="1219170">
              <a:buClr>
                <a:srgbClr val="007D40"/>
              </a:buClr>
              <a:buSzPts val="1600"/>
            </a:pPr>
            <a:r>
              <a:rPr lang="sr-Latn-RS" sz="2133" kern="0" dirty="0">
                <a:solidFill>
                  <a:srgbClr val="007D40"/>
                </a:solidFill>
                <a:latin typeface="Arial"/>
                <a:cs typeface="Arial"/>
                <a:sym typeface="Arial"/>
              </a:rPr>
              <a:t>Osnovana 1925. u Berlinu</a:t>
            </a:r>
            <a:r>
              <a:rPr lang="de-DE" sz="2133" kern="0" dirty="0">
                <a:solidFill>
                  <a:srgbClr val="007D40"/>
                </a:solidFill>
                <a:latin typeface="Arial"/>
                <a:ea typeface="Arial"/>
                <a:cs typeface="Arial"/>
                <a:sym typeface="Arial"/>
              </a:rPr>
              <a:t>, DEKRA* </a:t>
            </a:r>
            <a:r>
              <a:rPr lang="sr-Latn-RS" sz="2133" kern="0" dirty="0">
                <a:solidFill>
                  <a:srgbClr val="007D40"/>
                </a:solidFill>
                <a:latin typeface="Arial"/>
                <a:ea typeface="Arial"/>
                <a:cs typeface="Arial"/>
                <a:sym typeface="Arial"/>
              </a:rPr>
              <a:t>je danas jedna od vodećih svetskih institucija za Testiranje, Inspekciju i Sertifikaciju</a:t>
            </a:r>
            <a:r>
              <a:rPr lang="de-DE" sz="2133" kern="0" dirty="0">
                <a:solidFill>
                  <a:srgbClr val="007D4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42" name="Google Shape;742;p1"/>
          <p:cNvSpPr/>
          <p:nvPr/>
        </p:nvSpPr>
        <p:spPr>
          <a:xfrm>
            <a:off x="6041929" y="6427242"/>
            <a:ext cx="5884975" cy="3281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 defTabSz="1219170">
              <a:buClr>
                <a:srgbClr val="727272"/>
              </a:buClr>
              <a:buSzPts val="1000"/>
            </a:pPr>
            <a:r>
              <a:rPr lang="de-DE" sz="1333" i="1" kern="0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*</a:t>
            </a:r>
            <a:r>
              <a:rPr lang="sr-Latn-RS" sz="1333" i="1" kern="0" dirty="0">
                <a:solidFill>
                  <a:srgbClr val="727272"/>
                </a:solidFill>
                <a:latin typeface="Arial"/>
                <a:cs typeface="Arial"/>
                <a:sym typeface="Arial"/>
              </a:rPr>
              <a:t>Nemačka Asocijacija za ispitivanje vozila</a:t>
            </a:r>
            <a:endParaRPr sz="1333" i="1" kern="0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Google Shape;1041;g121bba83c51_0_188"/>
          <p:cNvSpPr txBox="1">
            <a:spLocks noGrp="1"/>
          </p:cNvSpPr>
          <p:nvPr>
            <p:ph type="title"/>
          </p:nvPr>
        </p:nvSpPr>
        <p:spPr>
          <a:xfrm>
            <a:off x="417600" y="278400"/>
            <a:ext cx="11393400" cy="9408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sr-Latn-RS" sz="2400" dirty="0">
                <a:solidFill>
                  <a:srgbClr val="007D40"/>
                </a:solidFill>
              </a:rPr>
              <a:t>Primer benefita e-mobilnosti i e-povezanosti vozila u praksi – Algoritam sigurnosti saobraćaja na putevima-prediktivna procena rizika</a:t>
            </a:r>
            <a:endParaRPr sz="2400" dirty="0">
              <a:solidFill>
                <a:srgbClr val="007D40"/>
              </a:solidFill>
            </a:endParaRPr>
          </a:p>
        </p:txBody>
      </p:sp>
      <p:sp>
        <p:nvSpPr>
          <p:cNvPr id="1042" name="Google Shape;1042;g121bba83c51_0_188"/>
          <p:cNvSpPr txBox="1">
            <a:spLocks noGrp="1"/>
          </p:cNvSpPr>
          <p:nvPr>
            <p:ph type="sldNum" idx="12"/>
          </p:nvPr>
        </p:nvSpPr>
        <p:spPr>
          <a:xfrm>
            <a:off x="11235768" y="6217633"/>
            <a:ext cx="6260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de-DE" kern="0">
                <a:solidFill>
                  <a:srgbClr val="595959"/>
                </a:solidFill>
              </a:rPr>
              <a:pPr defTabSz="1219170">
                <a:buClr>
                  <a:srgbClr val="000000"/>
                </a:buClr>
              </a:pPr>
              <a:t>20</a:t>
            </a:fld>
            <a:endParaRPr kern="0">
              <a:solidFill>
                <a:srgbClr val="595959"/>
              </a:solidFill>
            </a:endParaRPr>
          </a:p>
        </p:txBody>
      </p:sp>
      <p:sp>
        <p:nvSpPr>
          <p:cNvPr id="1043" name="Google Shape;1043;g121bba83c51_0_188"/>
          <p:cNvSpPr txBox="1"/>
          <p:nvPr/>
        </p:nvSpPr>
        <p:spPr>
          <a:xfrm>
            <a:off x="446767" y="1094601"/>
            <a:ext cx="8280000" cy="1477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indent="-423323" algn="just" defTabSz="1219170">
              <a:buClr>
                <a:srgbClr val="000000"/>
              </a:buClr>
              <a:buSzPts val="1400"/>
              <a:buFont typeface="Inter"/>
              <a:buChar char="●"/>
            </a:pPr>
            <a:r>
              <a:rPr lang="de-DE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Prediktivni uvidi u rizike sigurnosti na </a:t>
            </a:r>
            <a:r>
              <a:rPr lang="sr-Latn-RS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putevima</a:t>
            </a:r>
            <a:r>
              <a:rPr lang="de-DE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 koriš</a:t>
            </a:r>
            <a:r>
              <a:rPr lang="sr-Latn-RS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ć</a:t>
            </a:r>
            <a:r>
              <a:rPr lang="de-DE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enjem podataka povezanih vozila i drugih skupova podatak</a:t>
            </a:r>
            <a:r>
              <a:rPr lang="sr-Latn-RS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a</a:t>
            </a:r>
            <a:endParaRPr sz="1600" kern="0" dirty="0">
              <a:solidFill>
                <a:srgbClr val="000000"/>
              </a:solidFill>
              <a:latin typeface="Inter"/>
              <a:ea typeface="Inter"/>
              <a:cs typeface="Inter"/>
              <a:sym typeface="Inter"/>
            </a:endParaRPr>
          </a:p>
          <a:p>
            <a:pPr marL="609585" indent="-423323" algn="just" defTabSz="1219170">
              <a:buClr>
                <a:srgbClr val="000000"/>
              </a:buClr>
              <a:buSzPts val="1400"/>
              <a:buFont typeface="Inter"/>
              <a:buChar char="●"/>
            </a:pPr>
            <a:r>
              <a:rPr lang="de-DE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Nadzor</a:t>
            </a:r>
            <a:r>
              <a:rPr lang="sr-Latn-RS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ni panel</a:t>
            </a:r>
            <a:r>
              <a:rPr lang="de-DE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 za donošenje odluka koja izračunava dinamičku ocenu rizika po segmentu </a:t>
            </a:r>
            <a:r>
              <a:rPr lang="sr-Latn-RS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saobraćajnice</a:t>
            </a:r>
            <a:r>
              <a:rPr lang="de-DE" sz="1600" kern="0" dirty="0">
                <a:solidFill>
                  <a:srgbClr val="000000"/>
                </a:solidFill>
                <a:latin typeface="Inter"/>
                <a:ea typeface="Inter"/>
                <a:cs typeface="Inter"/>
                <a:sym typeface="Inter"/>
              </a:rPr>
              <a:t> kako bi se podržala identifikacija rizičnih zona i postavljanje odgovarajućeg akcijskog plana</a:t>
            </a:r>
            <a:endParaRPr sz="1600" kern="0" dirty="0">
              <a:solidFill>
                <a:srgbClr val="000000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1044" name="Google Shape;1044;g121bba83c51_0_18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17072" y="3605367"/>
            <a:ext cx="6019799" cy="2827067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1045" name="Google Shape;1045;g121bba83c51_0_18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824700" y="985157"/>
            <a:ext cx="2710856" cy="2620209"/>
          </a:xfrm>
          <a:prstGeom prst="rect">
            <a:avLst/>
          </a:prstGeom>
          <a:noFill/>
          <a:ln>
            <a:noFill/>
          </a:ln>
        </p:spPr>
      </p:pic>
      <p:sp>
        <p:nvSpPr>
          <p:cNvPr id="1046" name="Google Shape;1046;g121bba83c51_0_188"/>
          <p:cNvSpPr txBox="1"/>
          <p:nvPr/>
        </p:nvSpPr>
        <p:spPr>
          <a:xfrm>
            <a:off x="6852567" y="3605367"/>
            <a:ext cx="5009200" cy="2544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de-DE" sz="1867" b="1" kern="0" dirty="0">
                <a:solidFill>
                  <a:srgbClr val="9900FF"/>
                </a:solidFill>
                <a:latin typeface="Inter"/>
                <a:ea typeface="Inter"/>
                <a:cs typeface="Inter"/>
                <a:sym typeface="Inter"/>
              </a:rPr>
              <a:t>Pilot </a:t>
            </a:r>
            <a:r>
              <a:rPr lang="sr-Latn-RS" sz="1867" b="1" kern="0" dirty="0">
                <a:solidFill>
                  <a:srgbClr val="9900FF"/>
                </a:solidFill>
                <a:latin typeface="Inter"/>
                <a:ea typeface="Inter"/>
                <a:cs typeface="Inter"/>
                <a:sym typeface="Inter"/>
              </a:rPr>
              <a:t>projekat</a:t>
            </a:r>
            <a:r>
              <a:rPr lang="de-DE" sz="1867" b="1" kern="0" dirty="0">
                <a:solidFill>
                  <a:srgbClr val="9900FF"/>
                </a:solidFill>
                <a:latin typeface="Inter"/>
                <a:ea typeface="Inter"/>
                <a:cs typeface="Inter"/>
                <a:sym typeface="Inter"/>
              </a:rPr>
              <a:t>: </a:t>
            </a:r>
            <a:r>
              <a:rPr lang="sr-Latn-RS" sz="1867" b="1" kern="0" dirty="0">
                <a:solidFill>
                  <a:srgbClr val="9900FF"/>
                </a:solidFill>
                <a:latin typeface="Inter"/>
                <a:ea typeface="Inter"/>
                <a:cs typeface="Inter"/>
                <a:sym typeface="Inter"/>
              </a:rPr>
              <a:t>Cirih</a:t>
            </a:r>
            <a:endParaRPr sz="1867" b="1" kern="0" dirty="0">
              <a:solidFill>
                <a:srgbClr val="9900FF"/>
              </a:solidFill>
              <a:latin typeface="Inter"/>
              <a:ea typeface="Inter"/>
              <a:cs typeface="Inter"/>
              <a:sym typeface="Inter"/>
            </a:endParaRPr>
          </a:p>
          <a:p>
            <a:pPr defTabSz="1219170">
              <a:buClr>
                <a:srgbClr val="000000"/>
              </a:buClr>
            </a:pPr>
            <a:endParaRPr sz="1600" b="1" kern="0" dirty="0">
              <a:solidFill>
                <a:srgbClr val="9900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609585" indent="-423323" defTabSz="1219170">
              <a:buClr>
                <a:srgbClr val="595959"/>
              </a:buClr>
              <a:buSzPts val="1400"/>
              <a:buFont typeface="Inter"/>
              <a:buChar char="●"/>
            </a:pPr>
            <a:r>
              <a:rPr lang="de-DE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Visu</a:t>
            </a:r>
            <a:r>
              <a:rPr lang="sr-Latn-RS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elizacija jakih kočenja</a:t>
            </a:r>
            <a:r>
              <a:rPr lang="de-DE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, city crash </a:t>
            </a:r>
            <a:r>
              <a:rPr lang="sr-Latn-RS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pregled i izveštaj o nesrećama u gradu i predviđanje rizičnih tačaka</a:t>
            </a:r>
            <a:endParaRPr sz="1600" b="1" kern="0" dirty="0">
              <a:solidFill>
                <a:srgbClr val="9900FF"/>
              </a:solidFill>
              <a:latin typeface="Inter"/>
              <a:ea typeface="Inter"/>
              <a:cs typeface="Inter"/>
              <a:sym typeface="Inter"/>
            </a:endParaRPr>
          </a:p>
          <a:p>
            <a:pPr defTabSz="1219170">
              <a:buClr>
                <a:srgbClr val="000000"/>
              </a:buClr>
            </a:pPr>
            <a:endParaRPr sz="1600" b="1" kern="0" dirty="0">
              <a:solidFill>
                <a:srgbClr val="9900FF"/>
              </a:solidFill>
              <a:latin typeface="Inter"/>
              <a:ea typeface="Inter"/>
              <a:cs typeface="Inter"/>
              <a:sym typeface="Inter"/>
            </a:endParaRPr>
          </a:p>
          <a:p>
            <a:pPr marL="609585" indent="-423323" defTabSz="1219170">
              <a:buClr>
                <a:srgbClr val="595959"/>
              </a:buClr>
              <a:buSzPts val="1400"/>
              <a:buFont typeface="Inter"/>
              <a:buChar char="●"/>
            </a:pPr>
            <a:r>
              <a:rPr lang="sr-Latn-RS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Raspored</a:t>
            </a:r>
            <a:r>
              <a:rPr lang="de-DE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 10 </a:t>
            </a:r>
            <a:r>
              <a:rPr lang="sr-Latn-RS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zona rizika</a:t>
            </a:r>
            <a:r>
              <a:rPr lang="de-DE" sz="1600" kern="0" dirty="0">
                <a:solidFill>
                  <a:srgbClr val="595959"/>
                </a:solidFill>
                <a:latin typeface="Inter"/>
                <a:ea typeface="Inter"/>
                <a:cs typeface="Inter"/>
                <a:sym typeface="Inter"/>
              </a:rPr>
              <a:t> (Werdstrasse, Langstrasse, Flurstrasse, Manessestrasse)</a:t>
            </a:r>
            <a:endParaRPr sz="1600" b="1" kern="0" dirty="0">
              <a:solidFill>
                <a:srgbClr val="9900FF"/>
              </a:solidFill>
              <a:latin typeface="Inter"/>
              <a:ea typeface="Inter"/>
              <a:cs typeface="Inter"/>
              <a:sym typeface="Inter"/>
            </a:endParaRPr>
          </a:p>
          <a:p>
            <a:pPr defTabSz="1219170">
              <a:buClr>
                <a:srgbClr val="000000"/>
              </a:buClr>
            </a:pPr>
            <a:endParaRPr sz="1867" b="1" kern="0" dirty="0">
              <a:solidFill>
                <a:srgbClr val="9900FF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88729AB-172E-46EA-BFB5-3C5E4FA2DE19}"/>
              </a:ext>
            </a:extLst>
          </p:cNvPr>
          <p:cNvSpPr/>
          <p:nvPr/>
        </p:nvSpPr>
        <p:spPr>
          <a:xfrm>
            <a:off x="10747200" y="194210"/>
            <a:ext cx="1396600" cy="9036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867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104F92-253D-2F49-F2D8-386698CB3F39}"/>
              </a:ext>
            </a:extLst>
          </p:cNvPr>
          <p:cNvSpPr txBox="1"/>
          <p:nvPr/>
        </p:nvSpPr>
        <p:spPr>
          <a:xfrm>
            <a:off x="446767" y="2571888"/>
            <a:ext cx="8377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9170">
              <a:spcBef>
                <a:spcPts val="800"/>
              </a:spcBef>
              <a:buClr>
                <a:srgbClr val="000000"/>
              </a:buClr>
            </a:pPr>
            <a:r>
              <a:rPr lang="sr-Latn-RS" sz="16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alitika ne samo povezanih e-bicikala i skutera. Zajedno s podacima o povezanim automobilima Renaulta korišćeni su za prepoznavanje rizičnih područja u gradu. Na bazi uzoraka teškog loma mogu se identifikovati i opasna područja pre nego se dogodi nesreća.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9923936E-4EC1-4F76-9CFC-122D7F1437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4" name="ZoneTexte 6">
            <a:extLst>
              <a:ext uri="{FF2B5EF4-FFF2-40B4-BE49-F238E27FC236}">
                <a16:creationId xmlns:a16="http://schemas.microsoft.com/office/drawing/2014/main" id="{D58A9052-8390-49AD-BA4E-756ED19F4A09}"/>
              </a:ext>
            </a:extLst>
          </p:cNvPr>
          <p:cNvSpPr txBox="1"/>
          <p:nvPr/>
        </p:nvSpPr>
        <p:spPr bwMode="gray">
          <a:xfrm>
            <a:off x="451762" y="4093845"/>
            <a:ext cx="4728585" cy="115212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9170">
              <a:buClr>
                <a:srgbClr val="007D40"/>
              </a:buClr>
              <a:defRPr/>
            </a:pPr>
            <a:r>
              <a:rPr lang="en-GB" sz="1333" dirty="0">
                <a:solidFill>
                  <a:srgbClr val="FFFFFF"/>
                </a:solidFill>
                <a:latin typeface="Arial"/>
              </a:rPr>
              <a:t>Your contact:</a:t>
            </a:r>
          </a:p>
          <a:p>
            <a:pPr defTabSz="1219170">
              <a:buClr>
                <a:srgbClr val="007D40"/>
              </a:buClr>
              <a:defRPr/>
            </a:pPr>
            <a:r>
              <a:rPr lang="sr-Latn-RS" sz="1333" dirty="0">
                <a:solidFill>
                  <a:srgbClr val="FFFFFF"/>
                </a:solidFill>
                <a:latin typeface="Arial"/>
              </a:rPr>
              <a:t>Velimir Jeremic</a:t>
            </a:r>
          </a:p>
          <a:p>
            <a:pPr defTabSz="1219170">
              <a:buClr>
                <a:srgbClr val="007D40"/>
              </a:buClr>
              <a:defRPr/>
            </a:pPr>
            <a:r>
              <a:rPr lang="sr-Latn-RS" sz="1333" dirty="0">
                <a:solidFill>
                  <a:srgbClr val="FFFFFF"/>
                </a:solidFill>
                <a:latin typeface="Arial"/>
              </a:rPr>
              <a:t>Email:velimir.jeremic@dekra.com</a:t>
            </a:r>
          </a:p>
          <a:p>
            <a:pPr defTabSz="1219170">
              <a:buClr>
                <a:srgbClr val="007D40"/>
              </a:buClr>
              <a:defRPr/>
            </a:pPr>
            <a:r>
              <a:rPr lang="sr-Latn-RS" sz="1333" dirty="0">
                <a:solidFill>
                  <a:srgbClr val="FFFFFF"/>
                </a:solidFill>
                <a:latin typeface="Arial"/>
              </a:rPr>
              <a:t>Mob:+381 63 683 600</a:t>
            </a:r>
            <a:endParaRPr lang="en-GB" sz="1333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E1CDE82-F375-454E-82BE-216361240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761" y="529288"/>
            <a:ext cx="10110944" cy="1876944"/>
          </a:xfrm>
        </p:spPr>
        <p:txBody>
          <a:bodyPr/>
          <a:lstStyle/>
          <a:p>
            <a:r>
              <a:rPr lang="en-US" sz="3200" dirty="0">
                <a:solidFill>
                  <a:schemeClr val="bg1"/>
                </a:solidFill>
              </a:rPr>
              <a:t>DEKRA, global</a:t>
            </a:r>
            <a:r>
              <a:rPr lang="sr-Latn-RS" sz="3200" dirty="0">
                <a:solidFill>
                  <a:schemeClr val="bg1"/>
                </a:solidFill>
              </a:rPr>
              <a:t>ni partner za </a:t>
            </a:r>
            <a:br>
              <a:rPr lang="sr-Latn-RS" sz="3200" dirty="0">
                <a:solidFill>
                  <a:schemeClr val="bg1"/>
                </a:solidFill>
              </a:rPr>
            </a:br>
            <a:r>
              <a:rPr lang="sr-Latn-RS" sz="3200" dirty="0">
                <a:solidFill>
                  <a:schemeClr val="bg1"/>
                </a:solidFill>
              </a:rPr>
              <a:t>bezbedan, očuvan i održiv svet</a:t>
            </a:r>
            <a:br>
              <a:rPr lang="sr-Latn-RS" sz="3200" dirty="0">
                <a:solidFill>
                  <a:schemeClr val="bg1"/>
                </a:solidFill>
              </a:rPr>
            </a:br>
            <a:br>
              <a:rPr lang="sr-Latn-RS" sz="3200" dirty="0">
                <a:solidFill>
                  <a:schemeClr val="bg1"/>
                </a:solidFill>
              </a:rPr>
            </a:br>
            <a:r>
              <a:rPr lang="sr-Latn-RS" sz="3200" dirty="0">
                <a:solidFill>
                  <a:schemeClr val="bg1"/>
                </a:solidFill>
              </a:rPr>
              <a:t>Hvala na pažnji!</a:t>
            </a:r>
            <a:endParaRPr lang="fr-FR" sz="2133" dirty="0">
              <a:solidFill>
                <a:schemeClr val="bg1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43C9A17-303A-43FF-B936-2292C4460BD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7709" y="3817369"/>
            <a:ext cx="1367520" cy="136599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4819A2A-338F-4AB6-B3C4-3D062293F59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1203" y="5183365"/>
            <a:ext cx="1676507" cy="1674636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CFC63AF-90EF-4762-8C1B-22BCCAD9F09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937" y="2929534"/>
            <a:ext cx="901772" cy="90076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A32E86D-85F7-410F-BC03-208EEB1261F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230" y="2538311"/>
            <a:ext cx="1280487" cy="127905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AF777C7-41CF-4785-82B6-CF96AC22815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1" y="6038073"/>
            <a:ext cx="1639281" cy="45480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C32D88F8-B533-45FE-85CD-90E7F84725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230" y="5183365"/>
            <a:ext cx="908461" cy="907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2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p2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de-DE" kern="0" dirty="0"/>
              <a:t>DEKRA</a:t>
            </a:r>
            <a:endParaRPr kern="0" dirty="0"/>
          </a:p>
        </p:txBody>
      </p:sp>
      <p:sp>
        <p:nvSpPr>
          <p:cNvPr id="748" name="Google Shape;748;p2"/>
          <p:cNvSpPr txBox="1"/>
          <p:nvPr/>
        </p:nvSpPr>
        <p:spPr>
          <a:xfrm>
            <a:off x="383598" y="175866"/>
            <a:ext cx="9651356" cy="797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7D40"/>
              </a:buClr>
              <a:buSzPts val="1400"/>
            </a:pPr>
            <a:r>
              <a:rPr lang="sr-Latn-RS" sz="1867" b="1" kern="0" dirty="0">
                <a:solidFill>
                  <a:srgbClr val="007D40"/>
                </a:solidFill>
                <a:latin typeface="+mj-lt"/>
                <a:ea typeface="Arial Narrow"/>
                <a:cs typeface="Arial Narrow"/>
                <a:sym typeface="Arial Narrow"/>
              </a:rPr>
              <a:t>Ko je</a:t>
            </a:r>
            <a:r>
              <a:rPr lang="de-DE" sz="1867" b="1" kern="0" dirty="0">
                <a:solidFill>
                  <a:srgbClr val="007D40"/>
                </a:solidFill>
                <a:latin typeface="+mj-lt"/>
                <a:ea typeface="Arial Narrow"/>
                <a:cs typeface="Arial Narrow"/>
                <a:sym typeface="Arial Narrow"/>
              </a:rPr>
              <a:t> DEKRA?</a:t>
            </a:r>
            <a:br>
              <a:rPr lang="de-DE" sz="1867" kern="0" dirty="0">
                <a:solidFill>
                  <a:srgbClr val="007D40"/>
                </a:solidFill>
                <a:latin typeface="+mj-lt"/>
                <a:ea typeface="Arial Narrow"/>
                <a:cs typeface="Arial Narrow"/>
                <a:sym typeface="Arial Narrow"/>
              </a:rPr>
            </a:br>
            <a:r>
              <a:rPr lang="sr-Latn-RS" sz="2667" b="1" kern="0" dirty="0">
                <a:solidFill>
                  <a:srgbClr val="555555"/>
                </a:solidFill>
                <a:latin typeface="+mj-lt"/>
                <a:ea typeface="Arial Narrow"/>
                <a:cs typeface="Arial Narrow"/>
                <a:sym typeface="Arial Narrow"/>
              </a:rPr>
              <a:t>Globalni partner za bezbedan, očuvan i održiv svet!</a:t>
            </a:r>
            <a:br>
              <a:rPr lang="de-DE" sz="2667" b="1" kern="0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</a:br>
            <a:endParaRPr sz="3733" b="1" kern="0" dirty="0">
              <a:solidFill>
                <a:srgbClr val="555555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749" name="Google Shape;749;p2"/>
          <p:cNvSpPr txBox="1"/>
          <p:nvPr/>
        </p:nvSpPr>
        <p:spPr>
          <a:xfrm>
            <a:off x="351021" y="2847456"/>
            <a:ext cx="2541623" cy="299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7D40"/>
              </a:buClr>
              <a:buSzPts val="1500"/>
            </a:pPr>
            <a:r>
              <a:rPr lang="sr-Latn-RS" sz="2000" b="1" kern="0" dirty="0">
                <a:solidFill>
                  <a:srgbClr val="007D40"/>
                </a:solidFill>
                <a:latin typeface="Arial"/>
                <a:cs typeface="Arial"/>
                <a:sym typeface="Arial"/>
              </a:rPr>
              <a:t>Bezbednost na putu</a:t>
            </a:r>
            <a:endParaRPr b="1" kern="0" dirty="0">
              <a:solidFill>
                <a:srgbClr val="007D4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0" name="Google Shape;750;p2"/>
          <p:cNvSpPr txBox="1"/>
          <p:nvPr/>
        </p:nvSpPr>
        <p:spPr>
          <a:xfrm>
            <a:off x="90871" y="3398506"/>
            <a:ext cx="2716767" cy="2344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r" defTabSz="1219170">
              <a:buClr>
                <a:srgbClr val="007D40"/>
              </a:buClr>
              <a:buSzPts val="975"/>
            </a:pP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Automotive 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cs typeface="Arial"/>
                <a:sym typeface="Arial"/>
              </a:rPr>
              <a:t>t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estiranje i homologacij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r" defTabSz="1219170">
              <a:spcBef>
                <a:spcPts val="1200"/>
              </a:spcBef>
              <a:buClr>
                <a:srgbClr val="007D40"/>
              </a:buClr>
              <a:buSzPts val="975"/>
            </a:pP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Connectivity &amp; EMC 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Testiranj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r" defTabSz="1219170">
              <a:spcBef>
                <a:spcPts val="1200"/>
              </a:spcBef>
              <a:buClr>
                <a:srgbClr val="007D40"/>
              </a:buClr>
              <a:buSzPts val="975"/>
            </a:pP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Micro-mobility Standard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i</a:t>
            </a: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i uslug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r" defTabSz="1219170">
              <a:spcBef>
                <a:spcPts val="1200"/>
              </a:spcBef>
              <a:buClr>
                <a:srgbClr val="007D40"/>
              </a:buClr>
              <a:buSzPts val="975"/>
            </a:pPr>
            <a:r>
              <a:rPr lang="sr-Latn-RS" sz="1300" kern="0" dirty="0">
                <a:solidFill>
                  <a:srgbClr val="555555"/>
                </a:solidFill>
                <a:latin typeface="Arial"/>
                <a:cs typeface="Arial"/>
                <a:sym typeface="Arial"/>
              </a:rPr>
              <a:t>Procene i upravljanje štetama, Zelena karta i dgitalna forenzik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r" defTabSz="1219170">
              <a:spcBef>
                <a:spcPts val="1200"/>
              </a:spcBef>
              <a:buClr>
                <a:srgbClr val="007D40"/>
              </a:buClr>
              <a:buSzPts val="975"/>
            </a:pPr>
            <a:r>
              <a:rPr lang="sr-Latn-RS" sz="1300" kern="0" dirty="0">
                <a:solidFill>
                  <a:srgbClr val="555555"/>
                </a:solidFill>
                <a:latin typeface="Arial"/>
                <a:cs typeface="Arial"/>
                <a:sym typeface="Arial"/>
              </a:rPr>
              <a:t>Bezbednost u saobraćaju</a:t>
            </a: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 &amp; 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Analize i Izveštaji itd</a:t>
            </a: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751" name="Google Shape;751;p2"/>
          <p:cNvCxnSpPr/>
          <p:nvPr/>
        </p:nvCxnSpPr>
        <p:spPr>
          <a:xfrm>
            <a:off x="3063095" y="3173111"/>
            <a:ext cx="1333504" cy="1355764"/>
          </a:xfrm>
          <a:prstGeom prst="straightConnector1">
            <a:avLst/>
          </a:prstGeom>
          <a:noFill/>
          <a:ln w="19050" cap="flat" cmpd="sng">
            <a:solidFill>
              <a:srgbClr val="007D4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52" name="Google Shape;752;p2"/>
          <p:cNvCxnSpPr/>
          <p:nvPr/>
        </p:nvCxnSpPr>
        <p:spPr>
          <a:xfrm>
            <a:off x="364739" y="3173111"/>
            <a:ext cx="2716767" cy="0"/>
          </a:xfrm>
          <a:prstGeom prst="straightConnector1">
            <a:avLst/>
          </a:prstGeom>
          <a:noFill/>
          <a:ln w="19050" cap="flat" cmpd="sng">
            <a:solidFill>
              <a:srgbClr val="007D4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3" name="Google Shape;753;p2"/>
          <p:cNvSpPr/>
          <p:nvPr/>
        </p:nvSpPr>
        <p:spPr>
          <a:xfrm rot="10800000" flipH="1">
            <a:off x="2895141" y="3436071"/>
            <a:ext cx="155959" cy="155959"/>
          </a:xfrm>
          <a:prstGeom prst="ellipse">
            <a:avLst/>
          </a:prstGeom>
          <a:solidFill>
            <a:srgbClr val="007D40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4" name="Google Shape;754;p2"/>
          <p:cNvSpPr/>
          <p:nvPr/>
        </p:nvSpPr>
        <p:spPr>
          <a:xfrm rot="10800000" flipH="1">
            <a:off x="2895141" y="3788585"/>
            <a:ext cx="155959" cy="155959"/>
          </a:xfrm>
          <a:prstGeom prst="ellipse">
            <a:avLst/>
          </a:prstGeom>
          <a:solidFill>
            <a:srgbClr val="007D40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5" name="Google Shape;755;p2"/>
          <p:cNvSpPr/>
          <p:nvPr/>
        </p:nvSpPr>
        <p:spPr>
          <a:xfrm rot="10800000" flipH="1">
            <a:off x="2895141" y="4159385"/>
            <a:ext cx="155959" cy="155959"/>
          </a:xfrm>
          <a:prstGeom prst="ellipse">
            <a:avLst/>
          </a:prstGeom>
          <a:solidFill>
            <a:srgbClr val="007D40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56" name="Google Shape;756;p2"/>
          <p:cNvCxnSpPr/>
          <p:nvPr/>
        </p:nvCxnSpPr>
        <p:spPr>
          <a:xfrm>
            <a:off x="503835" y="5551872"/>
            <a:ext cx="2592000" cy="0"/>
          </a:xfrm>
          <a:prstGeom prst="straightConnector1">
            <a:avLst/>
          </a:prstGeom>
          <a:noFill/>
          <a:ln w="12700" cap="rnd" cmpd="sng">
            <a:solidFill>
              <a:srgbClr val="007D4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57" name="Google Shape;757;p2"/>
          <p:cNvSpPr/>
          <p:nvPr/>
        </p:nvSpPr>
        <p:spPr>
          <a:xfrm>
            <a:off x="3346748" y="3336920"/>
            <a:ext cx="2268000" cy="2268000"/>
          </a:xfrm>
          <a:prstGeom prst="ellipse">
            <a:avLst/>
          </a:prstGeom>
          <a:solidFill>
            <a:srgbClr val="007D40"/>
          </a:solidFill>
          <a:ln w="762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8" name="Google Shape;758;p2"/>
          <p:cNvSpPr/>
          <p:nvPr/>
        </p:nvSpPr>
        <p:spPr>
          <a:xfrm rot="10800000" flipH="1">
            <a:off x="2895141" y="4607629"/>
            <a:ext cx="155959" cy="155959"/>
          </a:xfrm>
          <a:prstGeom prst="ellipse">
            <a:avLst/>
          </a:prstGeom>
          <a:solidFill>
            <a:srgbClr val="007D40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59" name="Google Shape;759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03339" y="4213821"/>
            <a:ext cx="660491" cy="660491"/>
          </a:xfrm>
          <a:prstGeom prst="rect">
            <a:avLst/>
          </a:prstGeom>
          <a:noFill/>
          <a:ln>
            <a:noFill/>
          </a:ln>
        </p:spPr>
      </p:pic>
      <p:sp>
        <p:nvSpPr>
          <p:cNvPr id="760" name="Google Shape;760;p2"/>
          <p:cNvSpPr/>
          <p:nvPr/>
        </p:nvSpPr>
        <p:spPr>
          <a:xfrm rot="10800000" flipH="1">
            <a:off x="2895663" y="5112007"/>
            <a:ext cx="155959" cy="155959"/>
          </a:xfrm>
          <a:prstGeom prst="ellipse">
            <a:avLst/>
          </a:prstGeom>
          <a:solidFill>
            <a:srgbClr val="007D40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1" name="Google Shape;761;p2"/>
          <p:cNvSpPr txBox="1"/>
          <p:nvPr/>
        </p:nvSpPr>
        <p:spPr>
          <a:xfrm>
            <a:off x="7362490" y="3682899"/>
            <a:ext cx="2784289" cy="299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007D40"/>
              </a:buClr>
              <a:buSzPts val="1500"/>
            </a:pPr>
            <a:r>
              <a:rPr lang="sr-Latn-RS" sz="2000" b="1" kern="0" dirty="0">
                <a:solidFill>
                  <a:srgbClr val="C1DF97"/>
                </a:solidFill>
                <a:latin typeface="Arial"/>
                <a:cs typeface="Arial"/>
                <a:sym typeface="Arial"/>
              </a:rPr>
              <a:t>Bezbednost u kući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62" name="Google Shape;762;p2"/>
          <p:cNvSpPr txBox="1"/>
          <p:nvPr/>
        </p:nvSpPr>
        <p:spPr>
          <a:xfrm>
            <a:off x="8456816" y="4250088"/>
            <a:ext cx="3297381" cy="14115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1219170">
              <a:buClr>
                <a:srgbClr val="555555"/>
              </a:buClr>
              <a:buSzPts val="975"/>
            </a:pPr>
            <a:r>
              <a:rPr lang="sr-Latn-RS" sz="1300" kern="0" dirty="0">
                <a:solidFill>
                  <a:srgbClr val="555555"/>
                </a:solidFill>
                <a:latin typeface="Arial"/>
                <a:cs typeface="Arial"/>
                <a:sym typeface="Arial"/>
              </a:rPr>
              <a:t>Bezbednosne provere proizvoda</a:t>
            </a: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 Test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iranje</a:t>
            </a: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i Sertifikacije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1200"/>
              </a:spcBef>
              <a:buClr>
                <a:srgbClr val="555555"/>
              </a:buClr>
              <a:buSzPts val="975"/>
            </a:pPr>
            <a:r>
              <a:rPr lang="de-DE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Connectivity, IoT &amp; EMC Tes</a:t>
            </a:r>
            <a:r>
              <a:rPr lang="sr-Latn-RS" sz="1300" kern="0" dirty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rPr>
              <a:t>tiranja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1200"/>
              </a:spcBef>
              <a:buClr>
                <a:srgbClr val="555555"/>
              </a:buClr>
              <a:buSzPts val="975"/>
            </a:pPr>
            <a:r>
              <a:rPr lang="sr-Latn-RS" sz="1300" kern="0" dirty="0">
                <a:solidFill>
                  <a:srgbClr val="555555"/>
                </a:solidFill>
                <a:latin typeface="Arial"/>
                <a:cs typeface="Arial"/>
                <a:sym typeface="Arial"/>
              </a:rPr>
              <a:t>Inspekcija elektro, protivpožarne instalacije i opreme itd.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763" name="Google Shape;763;p2"/>
          <p:cNvCxnSpPr/>
          <p:nvPr/>
        </p:nvCxnSpPr>
        <p:spPr>
          <a:xfrm rot="10800000" flipH="1">
            <a:off x="7254561" y="4028111"/>
            <a:ext cx="862175" cy="517431"/>
          </a:xfrm>
          <a:prstGeom prst="straightConnector1">
            <a:avLst/>
          </a:prstGeom>
          <a:noFill/>
          <a:ln w="19050" cap="rnd" cmpd="sng">
            <a:solidFill>
              <a:srgbClr val="C1DF97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764" name="Google Shape;764;p2"/>
          <p:cNvCxnSpPr/>
          <p:nvPr/>
        </p:nvCxnSpPr>
        <p:spPr>
          <a:xfrm rot="10800000" flipH="1">
            <a:off x="8125735" y="4026642"/>
            <a:ext cx="3528000" cy="1"/>
          </a:xfrm>
          <a:prstGeom prst="straightConnector1">
            <a:avLst/>
          </a:prstGeom>
          <a:noFill/>
          <a:ln w="19050" cap="rnd" cmpd="sng">
            <a:solidFill>
              <a:srgbClr val="C1DF9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5" name="Google Shape;765;p2"/>
          <p:cNvSpPr/>
          <p:nvPr/>
        </p:nvSpPr>
        <p:spPr>
          <a:xfrm>
            <a:off x="5343021" y="3297173"/>
            <a:ext cx="2106000" cy="2106000"/>
          </a:xfrm>
          <a:prstGeom prst="ellipse">
            <a:avLst/>
          </a:prstGeom>
          <a:solidFill>
            <a:srgbClr val="BFDF95"/>
          </a:solidFill>
          <a:ln w="76200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6" name="Google Shape;766;p2"/>
          <p:cNvCxnSpPr/>
          <p:nvPr/>
        </p:nvCxnSpPr>
        <p:spPr>
          <a:xfrm>
            <a:off x="8253041" y="5369135"/>
            <a:ext cx="3407884" cy="0"/>
          </a:xfrm>
          <a:prstGeom prst="straightConnector1">
            <a:avLst/>
          </a:prstGeom>
          <a:noFill/>
          <a:ln w="12700" cap="rnd" cmpd="sng">
            <a:solidFill>
              <a:srgbClr val="C1DF97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67" name="Google Shape;767;p2"/>
          <p:cNvSpPr/>
          <p:nvPr/>
        </p:nvSpPr>
        <p:spPr>
          <a:xfrm rot="10800000" flipH="1">
            <a:off x="8233990" y="4279082"/>
            <a:ext cx="155959" cy="155959"/>
          </a:xfrm>
          <a:prstGeom prst="ellipse">
            <a:avLst/>
          </a:prstGeom>
          <a:solidFill>
            <a:srgbClr val="C1DF97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C1DF9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8" name="Google Shape;768;p2"/>
          <p:cNvSpPr/>
          <p:nvPr/>
        </p:nvSpPr>
        <p:spPr>
          <a:xfrm rot="10800000" flipH="1">
            <a:off x="8233990" y="4611855"/>
            <a:ext cx="155959" cy="155959"/>
          </a:xfrm>
          <a:prstGeom prst="ellipse">
            <a:avLst/>
          </a:prstGeom>
          <a:solidFill>
            <a:srgbClr val="C1DF97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C1DF9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9" name="Google Shape;769;p2"/>
          <p:cNvSpPr/>
          <p:nvPr/>
        </p:nvSpPr>
        <p:spPr>
          <a:xfrm rot="10800000" flipH="1">
            <a:off x="8240238" y="4992365"/>
            <a:ext cx="155959" cy="155959"/>
          </a:xfrm>
          <a:prstGeom prst="ellipse">
            <a:avLst/>
          </a:prstGeom>
          <a:solidFill>
            <a:srgbClr val="C1DF97"/>
          </a:solidFill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179992" indent="-91094" algn="ctr" defTabSz="1219170">
              <a:buClr>
                <a:srgbClr val="000000"/>
              </a:buClr>
              <a:buSzPts val="1050"/>
            </a:pPr>
            <a:endParaRPr sz="1400" kern="0">
              <a:solidFill>
                <a:srgbClr val="C1DF9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70" name="Google Shape;770;p2"/>
          <p:cNvGrpSpPr/>
          <p:nvPr/>
        </p:nvGrpSpPr>
        <p:grpSpPr>
          <a:xfrm>
            <a:off x="10220123" y="3492479"/>
            <a:ext cx="452600" cy="445268"/>
            <a:chOff x="3339849" y="1619474"/>
            <a:chExt cx="738982" cy="690034"/>
          </a:xfrm>
        </p:grpSpPr>
        <p:sp>
          <p:nvSpPr>
            <p:cNvPr id="771" name="Google Shape;771;p2"/>
            <p:cNvSpPr/>
            <p:nvPr/>
          </p:nvSpPr>
          <p:spPr>
            <a:xfrm>
              <a:off x="3705513" y="2168747"/>
              <a:ext cx="148409" cy="140761"/>
            </a:xfrm>
            <a:custGeom>
              <a:avLst/>
              <a:gdLst/>
              <a:ahLst/>
              <a:cxnLst/>
              <a:rect l="l" t="t" r="r" b="b"/>
              <a:pathLst>
                <a:path w="94" h="89" extrusionOk="0">
                  <a:moveTo>
                    <a:pt x="91" y="61"/>
                  </a:moveTo>
                  <a:cubicBezTo>
                    <a:pt x="91" y="61"/>
                    <a:pt x="91" y="61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1"/>
                  </a:cubicBezTo>
                  <a:cubicBezTo>
                    <a:pt x="24" y="1"/>
                    <a:pt x="22" y="0"/>
                    <a:pt x="20" y="0"/>
                  </a:cubicBezTo>
                  <a:cubicBezTo>
                    <a:pt x="19" y="0"/>
                    <a:pt x="17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2" y="16"/>
                    <a:pt x="2" y="16"/>
                    <a:pt x="1" y="17"/>
                  </a:cubicBezTo>
                  <a:cubicBezTo>
                    <a:pt x="0" y="21"/>
                    <a:pt x="1" y="25"/>
                    <a:pt x="3" y="28"/>
                  </a:cubicBezTo>
                  <a:cubicBezTo>
                    <a:pt x="3" y="28"/>
                    <a:pt x="4" y="28"/>
                    <a:pt x="4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8" y="87"/>
                    <a:pt x="70" y="88"/>
                    <a:pt x="72" y="88"/>
                  </a:cubicBezTo>
                  <a:cubicBezTo>
                    <a:pt x="73" y="89"/>
                    <a:pt x="75" y="89"/>
                    <a:pt x="77" y="88"/>
                  </a:cubicBezTo>
                  <a:cubicBezTo>
                    <a:pt x="79" y="88"/>
                    <a:pt x="80" y="87"/>
                    <a:pt x="82" y="85"/>
                  </a:cubicBezTo>
                  <a:cubicBezTo>
                    <a:pt x="84" y="83"/>
                    <a:pt x="84" y="83"/>
                    <a:pt x="84" y="83"/>
                  </a:cubicBezTo>
                  <a:cubicBezTo>
                    <a:pt x="89" y="77"/>
                    <a:pt x="89" y="77"/>
                    <a:pt x="89" y="77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1" y="75"/>
                    <a:pt x="91" y="75"/>
                    <a:pt x="91" y="75"/>
                  </a:cubicBezTo>
                  <a:cubicBezTo>
                    <a:pt x="91" y="75"/>
                    <a:pt x="92" y="74"/>
                    <a:pt x="92" y="74"/>
                  </a:cubicBezTo>
                  <a:cubicBezTo>
                    <a:pt x="93" y="72"/>
                    <a:pt x="94" y="71"/>
                    <a:pt x="94" y="69"/>
                  </a:cubicBezTo>
                  <a:cubicBezTo>
                    <a:pt x="94" y="67"/>
                    <a:pt x="94" y="65"/>
                    <a:pt x="93" y="64"/>
                  </a:cubicBezTo>
                  <a:cubicBezTo>
                    <a:pt x="92" y="63"/>
                    <a:pt x="92" y="62"/>
                    <a:pt x="91" y="61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2" name="Google Shape;772;p2"/>
            <p:cNvSpPr/>
            <p:nvPr/>
          </p:nvSpPr>
          <p:spPr>
            <a:xfrm>
              <a:off x="3748354" y="1810726"/>
              <a:ext cx="330477" cy="454413"/>
            </a:xfrm>
            <a:custGeom>
              <a:avLst/>
              <a:gdLst/>
              <a:ahLst/>
              <a:cxnLst/>
              <a:rect l="l" t="t" r="r" b="b"/>
              <a:pathLst>
                <a:path w="209" h="287" extrusionOk="0">
                  <a:moveTo>
                    <a:pt x="205" y="115"/>
                  </a:moveTo>
                  <a:cubicBezTo>
                    <a:pt x="203" y="114"/>
                    <a:pt x="202" y="112"/>
                    <a:pt x="200" y="111"/>
                  </a:cubicBezTo>
                  <a:cubicBezTo>
                    <a:pt x="199" y="110"/>
                    <a:pt x="198" y="110"/>
                    <a:pt x="197" y="109"/>
                  </a:cubicBezTo>
                  <a:cubicBezTo>
                    <a:pt x="197" y="109"/>
                    <a:pt x="196" y="109"/>
                    <a:pt x="195" y="108"/>
                  </a:cubicBezTo>
                  <a:cubicBezTo>
                    <a:pt x="195" y="108"/>
                    <a:pt x="195" y="108"/>
                    <a:pt x="195" y="108"/>
                  </a:cubicBezTo>
                  <a:cubicBezTo>
                    <a:pt x="195" y="108"/>
                    <a:pt x="195" y="108"/>
                    <a:pt x="195" y="108"/>
                  </a:cubicBezTo>
                  <a:cubicBezTo>
                    <a:pt x="196" y="108"/>
                    <a:pt x="197" y="108"/>
                    <a:pt x="197" y="107"/>
                  </a:cubicBezTo>
                  <a:cubicBezTo>
                    <a:pt x="198" y="107"/>
                    <a:pt x="199" y="107"/>
                    <a:pt x="201" y="106"/>
                  </a:cubicBezTo>
                  <a:cubicBezTo>
                    <a:pt x="203" y="106"/>
                    <a:pt x="205" y="104"/>
                    <a:pt x="206" y="102"/>
                  </a:cubicBezTo>
                  <a:cubicBezTo>
                    <a:pt x="209" y="98"/>
                    <a:pt x="209" y="93"/>
                    <a:pt x="209" y="89"/>
                  </a:cubicBezTo>
                  <a:cubicBezTo>
                    <a:pt x="209" y="84"/>
                    <a:pt x="208" y="80"/>
                    <a:pt x="205" y="76"/>
                  </a:cubicBezTo>
                  <a:cubicBezTo>
                    <a:pt x="204" y="74"/>
                    <a:pt x="202" y="73"/>
                    <a:pt x="200" y="71"/>
                  </a:cubicBezTo>
                  <a:cubicBezTo>
                    <a:pt x="199" y="71"/>
                    <a:pt x="198" y="70"/>
                    <a:pt x="197" y="70"/>
                  </a:cubicBezTo>
                  <a:cubicBezTo>
                    <a:pt x="197" y="69"/>
                    <a:pt x="196" y="69"/>
                    <a:pt x="196" y="69"/>
                  </a:cubicBezTo>
                  <a:cubicBezTo>
                    <a:pt x="196" y="69"/>
                    <a:pt x="195" y="69"/>
                    <a:pt x="195" y="69"/>
                  </a:cubicBezTo>
                  <a:cubicBezTo>
                    <a:pt x="195" y="27"/>
                    <a:pt x="195" y="27"/>
                    <a:pt x="195" y="27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195" y="8"/>
                    <a:pt x="195" y="8"/>
                    <a:pt x="195" y="8"/>
                  </a:cubicBezTo>
                  <a:cubicBezTo>
                    <a:pt x="195" y="8"/>
                    <a:pt x="195" y="7"/>
                    <a:pt x="195" y="6"/>
                  </a:cubicBezTo>
                  <a:cubicBezTo>
                    <a:pt x="194" y="3"/>
                    <a:pt x="192" y="1"/>
                    <a:pt x="189" y="0"/>
                  </a:cubicBezTo>
                  <a:cubicBezTo>
                    <a:pt x="188" y="0"/>
                    <a:pt x="188" y="0"/>
                    <a:pt x="187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8" y="0"/>
                  </a:cubicBezTo>
                  <a:cubicBezTo>
                    <a:pt x="87" y="0"/>
                    <a:pt x="85" y="1"/>
                    <a:pt x="84" y="2"/>
                  </a:cubicBezTo>
                  <a:cubicBezTo>
                    <a:pt x="83" y="3"/>
                    <a:pt x="82" y="4"/>
                    <a:pt x="82" y="5"/>
                  </a:cubicBezTo>
                  <a:cubicBezTo>
                    <a:pt x="81" y="6"/>
                    <a:pt x="81" y="7"/>
                    <a:pt x="81" y="7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79" y="35"/>
                    <a:pt x="78" y="36"/>
                    <a:pt x="77" y="37"/>
                  </a:cubicBezTo>
                  <a:cubicBezTo>
                    <a:pt x="76" y="37"/>
                    <a:pt x="76" y="38"/>
                    <a:pt x="75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2" y="104"/>
                    <a:pt x="22" y="104"/>
                    <a:pt x="22" y="104"/>
                  </a:cubicBezTo>
                  <a:cubicBezTo>
                    <a:pt x="22" y="105"/>
                    <a:pt x="21" y="106"/>
                    <a:pt x="20" y="107"/>
                  </a:cubicBezTo>
                  <a:cubicBezTo>
                    <a:pt x="18" y="109"/>
                    <a:pt x="17" y="111"/>
                    <a:pt x="16" y="113"/>
                  </a:cubicBezTo>
                  <a:cubicBezTo>
                    <a:pt x="13" y="118"/>
                    <a:pt x="11" y="122"/>
                    <a:pt x="9" y="128"/>
                  </a:cubicBezTo>
                  <a:cubicBezTo>
                    <a:pt x="9" y="130"/>
                    <a:pt x="8" y="133"/>
                    <a:pt x="8" y="136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215"/>
                    <a:pt x="8" y="215"/>
                    <a:pt x="8" y="215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40" y="262"/>
                    <a:pt x="40" y="262"/>
                    <a:pt x="40" y="262"/>
                  </a:cubicBezTo>
                  <a:cubicBezTo>
                    <a:pt x="59" y="279"/>
                    <a:pt x="59" y="279"/>
                    <a:pt x="59" y="279"/>
                  </a:cubicBezTo>
                  <a:cubicBezTo>
                    <a:pt x="64" y="283"/>
                    <a:pt x="64" y="283"/>
                    <a:pt x="64" y="283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8" y="287"/>
                    <a:pt x="68" y="287"/>
                    <a:pt x="68" y="287"/>
                  </a:cubicBezTo>
                  <a:cubicBezTo>
                    <a:pt x="68" y="287"/>
                    <a:pt x="68" y="287"/>
                    <a:pt x="68" y="287"/>
                  </a:cubicBezTo>
                  <a:cubicBezTo>
                    <a:pt x="70" y="286"/>
                    <a:pt x="70" y="286"/>
                    <a:pt x="70" y="286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76" y="284"/>
                    <a:pt x="80" y="282"/>
                    <a:pt x="84" y="281"/>
                  </a:cubicBezTo>
                  <a:cubicBezTo>
                    <a:pt x="92" y="277"/>
                    <a:pt x="100" y="273"/>
                    <a:pt x="107" y="268"/>
                  </a:cubicBezTo>
                  <a:cubicBezTo>
                    <a:pt x="115" y="264"/>
                    <a:pt x="122" y="258"/>
                    <a:pt x="128" y="252"/>
                  </a:cubicBezTo>
                  <a:cubicBezTo>
                    <a:pt x="134" y="246"/>
                    <a:pt x="140" y="239"/>
                    <a:pt x="144" y="231"/>
                  </a:cubicBezTo>
                  <a:cubicBezTo>
                    <a:pt x="148" y="224"/>
                    <a:pt x="151" y="215"/>
                    <a:pt x="152" y="207"/>
                  </a:cubicBezTo>
                  <a:cubicBezTo>
                    <a:pt x="180" y="207"/>
                    <a:pt x="180" y="207"/>
                    <a:pt x="180" y="207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6" y="207"/>
                    <a:pt x="186" y="207"/>
                    <a:pt x="186" y="207"/>
                  </a:cubicBezTo>
                  <a:cubicBezTo>
                    <a:pt x="187" y="207"/>
                    <a:pt x="187" y="207"/>
                    <a:pt x="187" y="207"/>
                  </a:cubicBezTo>
                  <a:cubicBezTo>
                    <a:pt x="187" y="207"/>
                    <a:pt x="188" y="207"/>
                    <a:pt x="188" y="207"/>
                  </a:cubicBezTo>
                  <a:cubicBezTo>
                    <a:pt x="191" y="206"/>
                    <a:pt x="194" y="204"/>
                    <a:pt x="195" y="201"/>
                  </a:cubicBezTo>
                  <a:cubicBezTo>
                    <a:pt x="195" y="200"/>
                    <a:pt x="195" y="200"/>
                    <a:pt x="195" y="199"/>
                  </a:cubicBezTo>
                  <a:cubicBezTo>
                    <a:pt x="195" y="198"/>
                    <a:pt x="195" y="198"/>
                    <a:pt x="195" y="198"/>
                  </a:cubicBezTo>
                  <a:cubicBezTo>
                    <a:pt x="195" y="197"/>
                    <a:pt x="195" y="197"/>
                    <a:pt x="195" y="197"/>
                  </a:cubicBezTo>
                  <a:cubicBezTo>
                    <a:pt x="195" y="193"/>
                    <a:pt x="195" y="193"/>
                    <a:pt x="195" y="193"/>
                  </a:cubicBezTo>
                  <a:cubicBezTo>
                    <a:pt x="195" y="187"/>
                    <a:pt x="195" y="187"/>
                    <a:pt x="195" y="187"/>
                  </a:cubicBezTo>
                  <a:cubicBezTo>
                    <a:pt x="196" y="187"/>
                    <a:pt x="196" y="187"/>
                    <a:pt x="196" y="187"/>
                  </a:cubicBezTo>
                  <a:cubicBezTo>
                    <a:pt x="198" y="186"/>
                    <a:pt x="199" y="185"/>
                    <a:pt x="200" y="184"/>
                  </a:cubicBezTo>
                  <a:cubicBezTo>
                    <a:pt x="202" y="183"/>
                    <a:pt x="203" y="182"/>
                    <a:pt x="204" y="181"/>
                  </a:cubicBezTo>
                  <a:cubicBezTo>
                    <a:pt x="206" y="178"/>
                    <a:pt x="206" y="174"/>
                    <a:pt x="206" y="171"/>
                  </a:cubicBezTo>
                  <a:cubicBezTo>
                    <a:pt x="206" y="169"/>
                    <a:pt x="206" y="168"/>
                    <a:pt x="205" y="166"/>
                  </a:cubicBezTo>
                  <a:cubicBezTo>
                    <a:pt x="205" y="164"/>
                    <a:pt x="204" y="163"/>
                    <a:pt x="203" y="162"/>
                  </a:cubicBezTo>
                  <a:cubicBezTo>
                    <a:pt x="202" y="160"/>
                    <a:pt x="200" y="159"/>
                    <a:pt x="199" y="158"/>
                  </a:cubicBezTo>
                  <a:cubicBezTo>
                    <a:pt x="198" y="158"/>
                    <a:pt x="197" y="158"/>
                    <a:pt x="196" y="157"/>
                  </a:cubicBezTo>
                  <a:cubicBezTo>
                    <a:pt x="196" y="157"/>
                    <a:pt x="196" y="157"/>
                    <a:pt x="195" y="157"/>
                  </a:cubicBezTo>
                  <a:cubicBezTo>
                    <a:pt x="195" y="157"/>
                    <a:pt x="195" y="157"/>
                    <a:pt x="195" y="157"/>
                  </a:cubicBezTo>
                  <a:cubicBezTo>
                    <a:pt x="196" y="156"/>
                    <a:pt x="197" y="156"/>
                    <a:pt x="198" y="156"/>
                  </a:cubicBezTo>
                  <a:cubicBezTo>
                    <a:pt x="201" y="155"/>
                    <a:pt x="203" y="154"/>
                    <a:pt x="204" y="152"/>
                  </a:cubicBezTo>
                  <a:cubicBezTo>
                    <a:pt x="205" y="150"/>
                    <a:pt x="206" y="148"/>
                    <a:pt x="207" y="146"/>
                  </a:cubicBezTo>
                  <a:cubicBezTo>
                    <a:pt x="208" y="144"/>
                    <a:pt x="208" y="142"/>
                    <a:pt x="208" y="140"/>
                  </a:cubicBezTo>
                  <a:cubicBezTo>
                    <a:pt x="209" y="136"/>
                    <a:pt x="209" y="132"/>
                    <a:pt x="209" y="127"/>
                  </a:cubicBezTo>
                  <a:cubicBezTo>
                    <a:pt x="209" y="125"/>
                    <a:pt x="209" y="123"/>
                    <a:pt x="208" y="121"/>
                  </a:cubicBezTo>
                  <a:cubicBezTo>
                    <a:pt x="207" y="119"/>
                    <a:pt x="206" y="117"/>
                    <a:pt x="205" y="115"/>
                  </a:cubicBezTo>
                  <a:close/>
                  <a:moveTo>
                    <a:pt x="191" y="85"/>
                  </a:moveTo>
                  <a:cubicBezTo>
                    <a:pt x="191" y="85"/>
                    <a:pt x="192" y="85"/>
                    <a:pt x="192" y="85"/>
                  </a:cubicBezTo>
                  <a:cubicBezTo>
                    <a:pt x="192" y="85"/>
                    <a:pt x="193" y="84"/>
                    <a:pt x="193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95" y="78"/>
                    <a:pt x="195" y="78"/>
                    <a:pt x="195" y="78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6" y="73"/>
                    <a:pt x="196" y="73"/>
                    <a:pt x="196" y="73"/>
                  </a:cubicBezTo>
                  <a:cubicBezTo>
                    <a:pt x="197" y="73"/>
                    <a:pt x="198" y="74"/>
                    <a:pt x="198" y="74"/>
                  </a:cubicBezTo>
                  <a:cubicBezTo>
                    <a:pt x="200" y="75"/>
                    <a:pt x="201" y="77"/>
                    <a:pt x="203" y="78"/>
                  </a:cubicBezTo>
                  <a:cubicBezTo>
                    <a:pt x="205" y="81"/>
                    <a:pt x="206" y="85"/>
                    <a:pt x="206" y="89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6" y="90"/>
                    <a:pt x="206" y="90"/>
                    <a:pt x="206" y="90"/>
                  </a:cubicBezTo>
                  <a:cubicBezTo>
                    <a:pt x="206" y="90"/>
                    <a:pt x="206" y="90"/>
                    <a:pt x="206" y="90"/>
                  </a:cubicBezTo>
                  <a:cubicBezTo>
                    <a:pt x="206" y="90"/>
                    <a:pt x="206" y="90"/>
                    <a:pt x="206" y="91"/>
                  </a:cubicBezTo>
                  <a:cubicBezTo>
                    <a:pt x="206" y="91"/>
                    <a:pt x="206" y="91"/>
                    <a:pt x="206" y="92"/>
                  </a:cubicBezTo>
                  <a:cubicBezTo>
                    <a:pt x="206" y="93"/>
                    <a:pt x="206" y="94"/>
                    <a:pt x="205" y="95"/>
                  </a:cubicBezTo>
                  <a:cubicBezTo>
                    <a:pt x="205" y="97"/>
                    <a:pt x="204" y="98"/>
                    <a:pt x="203" y="100"/>
                  </a:cubicBezTo>
                  <a:cubicBezTo>
                    <a:pt x="202" y="101"/>
                    <a:pt x="201" y="103"/>
                    <a:pt x="199" y="103"/>
                  </a:cubicBezTo>
                  <a:cubicBezTo>
                    <a:pt x="198" y="104"/>
                    <a:pt x="197" y="104"/>
                    <a:pt x="197" y="104"/>
                  </a:cubicBezTo>
                  <a:cubicBezTo>
                    <a:pt x="196" y="104"/>
                    <a:pt x="196" y="104"/>
                    <a:pt x="195" y="104"/>
                  </a:cubicBezTo>
                  <a:cubicBezTo>
                    <a:pt x="195" y="104"/>
                    <a:pt x="195" y="104"/>
                    <a:pt x="194" y="104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3" y="104"/>
                    <a:pt x="193" y="104"/>
                    <a:pt x="193" y="104"/>
                  </a:cubicBezTo>
                  <a:cubicBezTo>
                    <a:pt x="193" y="104"/>
                    <a:pt x="193" y="104"/>
                    <a:pt x="193" y="104"/>
                  </a:cubicBezTo>
                  <a:cubicBezTo>
                    <a:pt x="192" y="105"/>
                    <a:pt x="191" y="104"/>
                    <a:pt x="190" y="104"/>
                  </a:cubicBezTo>
                  <a:cubicBezTo>
                    <a:pt x="189" y="104"/>
                    <a:pt x="189" y="103"/>
                    <a:pt x="188" y="102"/>
                  </a:cubicBezTo>
                  <a:cubicBezTo>
                    <a:pt x="187" y="100"/>
                    <a:pt x="187" y="97"/>
                    <a:pt x="187" y="95"/>
                  </a:cubicBezTo>
                  <a:cubicBezTo>
                    <a:pt x="187" y="92"/>
                    <a:pt x="187" y="90"/>
                    <a:pt x="189" y="88"/>
                  </a:cubicBezTo>
                  <a:cubicBezTo>
                    <a:pt x="189" y="87"/>
                    <a:pt x="190" y="86"/>
                    <a:pt x="191" y="85"/>
                  </a:cubicBezTo>
                  <a:close/>
                  <a:moveTo>
                    <a:pt x="192" y="108"/>
                  </a:moveTo>
                  <a:cubicBezTo>
                    <a:pt x="192" y="126"/>
                    <a:pt x="192" y="126"/>
                    <a:pt x="192" y="126"/>
                  </a:cubicBezTo>
                  <a:cubicBezTo>
                    <a:pt x="191" y="126"/>
                    <a:pt x="191" y="126"/>
                    <a:pt x="191" y="127"/>
                  </a:cubicBezTo>
                  <a:cubicBezTo>
                    <a:pt x="191" y="108"/>
                    <a:pt x="191" y="108"/>
                    <a:pt x="191" y="108"/>
                  </a:cubicBezTo>
                  <a:cubicBezTo>
                    <a:pt x="191" y="108"/>
                    <a:pt x="191" y="108"/>
                    <a:pt x="192" y="108"/>
                  </a:cubicBezTo>
                  <a:close/>
                  <a:moveTo>
                    <a:pt x="139" y="228"/>
                  </a:moveTo>
                  <a:cubicBezTo>
                    <a:pt x="135" y="235"/>
                    <a:pt x="130" y="242"/>
                    <a:pt x="124" y="248"/>
                  </a:cubicBezTo>
                  <a:cubicBezTo>
                    <a:pt x="118" y="254"/>
                    <a:pt x="111" y="259"/>
                    <a:pt x="104" y="263"/>
                  </a:cubicBezTo>
                  <a:cubicBezTo>
                    <a:pt x="97" y="268"/>
                    <a:pt x="89" y="272"/>
                    <a:pt x="82" y="275"/>
                  </a:cubicBezTo>
                  <a:cubicBezTo>
                    <a:pt x="78" y="277"/>
                    <a:pt x="74" y="279"/>
                    <a:pt x="70" y="280"/>
                  </a:cubicBezTo>
                  <a:cubicBezTo>
                    <a:pt x="69" y="280"/>
                    <a:pt x="69" y="280"/>
                    <a:pt x="69" y="280"/>
                  </a:cubicBezTo>
                  <a:cubicBezTo>
                    <a:pt x="68" y="279"/>
                    <a:pt x="68" y="279"/>
                    <a:pt x="68" y="279"/>
                  </a:cubicBezTo>
                  <a:cubicBezTo>
                    <a:pt x="63" y="275"/>
                    <a:pt x="63" y="275"/>
                    <a:pt x="63" y="275"/>
                  </a:cubicBezTo>
                  <a:cubicBezTo>
                    <a:pt x="44" y="257"/>
                    <a:pt x="44" y="257"/>
                    <a:pt x="44" y="257"/>
                  </a:cubicBezTo>
                  <a:cubicBezTo>
                    <a:pt x="8" y="224"/>
                    <a:pt x="8" y="224"/>
                    <a:pt x="8" y="224"/>
                  </a:cubicBezTo>
                  <a:cubicBezTo>
                    <a:pt x="14" y="217"/>
                    <a:pt x="14" y="217"/>
                    <a:pt x="14" y="217"/>
                  </a:cubicBezTo>
                  <a:cubicBezTo>
                    <a:pt x="14" y="158"/>
                    <a:pt x="14" y="158"/>
                    <a:pt x="14" y="158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3"/>
                    <a:pt x="14" y="131"/>
                    <a:pt x="15" y="129"/>
                  </a:cubicBezTo>
                  <a:cubicBezTo>
                    <a:pt x="16" y="125"/>
                    <a:pt x="18" y="121"/>
                    <a:pt x="21" y="117"/>
                  </a:cubicBezTo>
                  <a:cubicBezTo>
                    <a:pt x="22" y="115"/>
                    <a:pt x="23" y="113"/>
                    <a:pt x="25" y="111"/>
                  </a:cubicBezTo>
                  <a:cubicBezTo>
                    <a:pt x="25" y="110"/>
                    <a:pt x="26" y="109"/>
                    <a:pt x="27" y="108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1" y="42"/>
                    <a:pt x="81" y="41"/>
                    <a:pt x="81" y="41"/>
                  </a:cubicBezTo>
                  <a:cubicBezTo>
                    <a:pt x="81" y="41"/>
                    <a:pt x="82" y="40"/>
                    <a:pt x="83" y="40"/>
                  </a:cubicBezTo>
                  <a:cubicBezTo>
                    <a:pt x="84" y="40"/>
                    <a:pt x="84" y="40"/>
                    <a:pt x="85" y="39"/>
                  </a:cubicBezTo>
                  <a:cubicBezTo>
                    <a:pt x="86" y="39"/>
                    <a:pt x="86" y="39"/>
                    <a:pt x="87" y="39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39"/>
                    <a:pt x="88" y="40"/>
                    <a:pt x="89" y="40"/>
                  </a:cubicBezTo>
                  <a:cubicBezTo>
                    <a:pt x="89" y="41"/>
                    <a:pt x="90" y="41"/>
                    <a:pt x="90" y="42"/>
                  </a:cubicBezTo>
                  <a:cubicBezTo>
                    <a:pt x="91" y="44"/>
                    <a:pt x="91" y="46"/>
                    <a:pt x="92" y="48"/>
                  </a:cubicBezTo>
                  <a:cubicBezTo>
                    <a:pt x="93" y="51"/>
                    <a:pt x="93" y="56"/>
                    <a:pt x="93" y="60"/>
                  </a:cubicBezTo>
                  <a:cubicBezTo>
                    <a:pt x="93" y="64"/>
                    <a:pt x="92" y="68"/>
                    <a:pt x="91" y="72"/>
                  </a:cubicBezTo>
                  <a:cubicBezTo>
                    <a:pt x="90" y="74"/>
                    <a:pt x="89" y="76"/>
                    <a:pt x="89" y="77"/>
                  </a:cubicBezTo>
                  <a:cubicBezTo>
                    <a:pt x="88" y="78"/>
                    <a:pt x="88" y="79"/>
                    <a:pt x="87" y="80"/>
                  </a:cubicBezTo>
                  <a:cubicBezTo>
                    <a:pt x="87" y="80"/>
                    <a:pt x="86" y="81"/>
                    <a:pt x="86" y="81"/>
                  </a:cubicBezTo>
                  <a:cubicBezTo>
                    <a:pt x="86" y="81"/>
                    <a:pt x="86" y="82"/>
                    <a:pt x="85" y="82"/>
                  </a:cubicBezTo>
                  <a:cubicBezTo>
                    <a:pt x="82" y="85"/>
                    <a:pt x="79" y="89"/>
                    <a:pt x="76" y="92"/>
                  </a:cubicBezTo>
                  <a:cubicBezTo>
                    <a:pt x="71" y="99"/>
                    <a:pt x="65" y="106"/>
                    <a:pt x="60" y="113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70" y="109"/>
                    <a:pt x="75" y="102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1" y="194"/>
                    <a:pt x="81" y="194"/>
                    <a:pt x="81" y="194"/>
                  </a:cubicBezTo>
                  <a:cubicBezTo>
                    <a:pt x="81" y="198"/>
                    <a:pt x="81" y="198"/>
                    <a:pt x="81" y="198"/>
                  </a:cubicBezTo>
                  <a:cubicBezTo>
                    <a:pt x="81" y="198"/>
                    <a:pt x="81" y="199"/>
                    <a:pt x="81" y="199"/>
                  </a:cubicBezTo>
                  <a:cubicBezTo>
                    <a:pt x="81" y="200"/>
                    <a:pt x="81" y="200"/>
                    <a:pt x="81" y="200"/>
                  </a:cubicBezTo>
                  <a:cubicBezTo>
                    <a:pt x="81" y="201"/>
                    <a:pt x="82" y="202"/>
                    <a:pt x="82" y="203"/>
                  </a:cubicBezTo>
                  <a:cubicBezTo>
                    <a:pt x="83" y="204"/>
                    <a:pt x="84" y="205"/>
                    <a:pt x="85" y="206"/>
                  </a:cubicBezTo>
                  <a:cubicBezTo>
                    <a:pt x="86" y="206"/>
                    <a:pt x="87" y="207"/>
                    <a:pt x="88" y="207"/>
                  </a:cubicBezTo>
                  <a:cubicBezTo>
                    <a:pt x="88" y="207"/>
                    <a:pt x="88" y="207"/>
                    <a:pt x="89" y="207"/>
                  </a:cubicBezTo>
                  <a:cubicBezTo>
                    <a:pt x="89" y="207"/>
                    <a:pt x="89" y="207"/>
                    <a:pt x="89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146" y="207"/>
                    <a:pt x="146" y="207"/>
                    <a:pt x="146" y="207"/>
                  </a:cubicBezTo>
                  <a:cubicBezTo>
                    <a:pt x="145" y="214"/>
                    <a:pt x="143" y="222"/>
                    <a:pt x="139" y="228"/>
                  </a:cubicBezTo>
                  <a:close/>
                  <a:moveTo>
                    <a:pt x="187" y="189"/>
                  </a:moveTo>
                  <a:cubicBezTo>
                    <a:pt x="89" y="189"/>
                    <a:pt x="89" y="189"/>
                    <a:pt x="89" y="189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90" y="86"/>
                    <a:pt x="90" y="85"/>
                    <a:pt x="91" y="85"/>
                  </a:cubicBezTo>
                  <a:cubicBezTo>
                    <a:pt x="91" y="84"/>
                    <a:pt x="91" y="84"/>
                    <a:pt x="92" y="83"/>
                  </a:cubicBezTo>
                  <a:cubicBezTo>
                    <a:pt x="93" y="82"/>
                    <a:pt x="93" y="81"/>
                    <a:pt x="94" y="80"/>
                  </a:cubicBezTo>
                  <a:cubicBezTo>
                    <a:pt x="95" y="78"/>
                    <a:pt x="96" y="76"/>
                    <a:pt x="96" y="74"/>
                  </a:cubicBezTo>
                  <a:cubicBezTo>
                    <a:pt x="98" y="69"/>
                    <a:pt x="99" y="65"/>
                    <a:pt x="99" y="60"/>
                  </a:cubicBezTo>
                  <a:cubicBezTo>
                    <a:pt x="99" y="55"/>
                    <a:pt x="99" y="51"/>
                    <a:pt x="98" y="46"/>
                  </a:cubicBezTo>
                  <a:cubicBezTo>
                    <a:pt x="97" y="44"/>
                    <a:pt x="97" y="42"/>
                    <a:pt x="95" y="39"/>
                  </a:cubicBezTo>
                  <a:cubicBezTo>
                    <a:pt x="95" y="38"/>
                    <a:pt x="94" y="37"/>
                    <a:pt x="93" y="36"/>
                  </a:cubicBezTo>
                  <a:cubicBezTo>
                    <a:pt x="93" y="35"/>
                    <a:pt x="92" y="35"/>
                    <a:pt x="91" y="34"/>
                  </a:cubicBezTo>
                  <a:cubicBezTo>
                    <a:pt x="91" y="34"/>
                    <a:pt x="90" y="34"/>
                    <a:pt x="89" y="34"/>
                  </a:cubicBezTo>
                  <a:cubicBezTo>
                    <a:pt x="89" y="10"/>
                    <a:pt x="89" y="10"/>
                    <a:pt x="89" y="10"/>
                  </a:cubicBezTo>
                  <a:cubicBezTo>
                    <a:pt x="187" y="10"/>
                    <a:pt x="187" y="10"/>
                    <a:pt x="187" y="10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6" y="85"/>
                    <a:pt x="186" y="85"/>
                    <a:pt x="186" y="86"/>
                  </a:cubicBezTo>
                  <a:cubicBezTo>
                    <a:pt x="184" y="89"/>
                    <a:pt x="183" y="92"/>
                    <a:pt x="183" y="95"/>
                  </a:cubicBezTo>
                  <a:cubicBezTo>
                    <a:pt x="183" y="96"/>
                    <a:pt x="183" y="98"/>
                    <a:pt x="184" y="99"/>
                  </a:cubicBezTo>
                  <a:cubicBezTo>
                    <a:pt x="184" y="101"/>
                    <a:pt x="184" y="102"/>
                    <a:pt x="185" y="104"/>
                  </a:cubicBezTo>
                  <a:cubicBezTo>
                    <a:pt x="186" y="104"/>
                    <a:pt x="186" y="105"/>
                    <a:pt x="187" y="106"/>
                  </a:cubicBezTo>
                  <a:cubicBezTo>
                    <a:pt x="187" y="129"/>
                    <a:pt x="187" y="129"/>
                    <a:pt x="187" y="129"/>
                  </a:cubicBezTo>
                  <a:cubicBezTo>
                    <a:pt x="185" y="130"/>
                    <a:pt x="184" y="132"/>
                    <a:pt x="183" y="134"/>
                  </a:cubicBezTo>
                  <a:cubicBezTo>
                    <a:pt x="181" y="138"/>
                    <a:pt x="181" y="143"/>
                    <a:pt x="182" y="147"/>
                  </a:cubicBezTo>
                  <a:cubicBezTo>
                    <a:pt x="183" y="149"/>
                    <a:pt x="184" y="151"/>
                    <a:pt x="186" y="153"/>
                  </a:cubicBezTo>
                  <a:cubicBezTo>
                    <a:pt x="186" y="153"/>
                    <a:pt x="187" y="154"/>
                    <a:pt x="187" y="154"/>
                  </a:cubicBezTo>
                  <a:cubicBezTo>
                    <a:pt x="187" y="166"/>
                    <a:pt x="187" y="166"/>
                    <a:pt x="187" y="166"/>
                  </a:cubicBezTo>
                  <a:cubicBezTo>
                    <a:pt x="186" y="167"/>
                    <a:pt x="185" y="168"/>
                    <a:pt x="184" y="169"/>
                  </a:cubicBezTo>
                  <a:cubicBezTo>
                    <a:pt x="183" y="170"/>
                    <a:pt x="182" y="171"/>
                    <a:pt x="181" y="173"/>
                  </a:cubicBezTo>
                  <a:cubicBezTo>
                    <a:pt x="181" y="174"/>
                    <a:pt x="181" y="176"/>
                    <a:pt x="181" y="178"/>
                  </a:cubicBezTo>
                  <a:cubicBezTo>
                    <a:pt x="181" y="180"/>
                    <a:pt x="181" y="181"/>
                    <a:pt x="182" y="183"/>
                  </a:cubicBezTo>
                  <a:cubicBezTo>
                    <a:pt x="183" y="185"/>
                    <a:pt x="184" y="186"/>
                    <a:pt x="186" y="187"/>
                  </a:cubicBezTo>
                  <a:cubicBezTo>
                    <a:pt x="186" y="187"/>
                    <a:pt x="187" y="187"/>
                    <a:pt x="187" y="188"/>
                  </a:cubicBezTo>
                  <a:lnTo>
                    <a:pt x="187" y="189"/>
                  </a:lnTo>
                  <a:close/>
                  <a:moveTo>
                    <a:pt x="195" y="161"/>
                  </a:moveTo>
                  <a:cubicBezTo>
                    <a:pt x="196" y="161"/>
                    <a:pt x="197" y="161"/>
                    <a:pt x="197" y="161"/>
                  </a:cubicBezTo>
                  <a:cubicBezTo>
                    <a:pt x="198" y="162"/>
                    <a:pt x="199" y="163"/>
                    <a:pt x="200" y="164"/>
                  </a:cubicBezTo>
                  <a:cubicBezTo>
                    <a:pt x="202" y="166"/>
                    <a:pt x="202" y="168"/>
                    <a:pt x="203" y="171"/>
                  </a:cubicBezTo>
                  <a:cubicBezTo>
                    <a:pt x="203" y="174"/>
                    <a:pt x="202" y="177"/>
                    <a:pt x="201" y="179"/>
                  </a:cubicBezTo>
                  <a:cubicBezTo>
                    <a:pt x="200" y="181"/>
                    <a:pt x="197" y="183"/>
                    <a:pt x="195" y="183"/>
                  </a:cubicBezTo>
                  <a:cubicBezTo>
                    <a:pt x="194" y="184"/>
                    <a:pt x="192" y="184"/>
                    <a:pt x="191" y="184"/>
                  </a:cubicBezTo>
                  <a:cubicBezTo>
                    <a:pt x="190" y="184"/>
                    <a:pt x="189" y="184"/>
                    <a:pt x="189" y="184"/>
                  </a:cubicBezTo>
                  <a:cubicBezTo>
                    <a:pt x="188" y="184"/>
                    <a:pt x="188" y="184"/>
                    <a:pt x="188" y="184"/>
                  </a:cubicBezTo>
                  <a:cubicBezTo>
                    <a:pt x="187" y="183"/>
                    <a:pt x="186" y="182"/>
                    <a:pt x="185" y="181"/>
                  </a:cubicBezTo>
                  <a:cubicBezTo>
                    <a:pt x="185" y="180"/>
                    <a:pt x="184" y="179"/>
                    <a:pt x="184" y="178"/>
                  </a:cubicBezTo>
                  <a:cubicBezTo>
                    <a:pt x="184" y="175"/>
                    <a:pt x="185" y="173"/>
                    <a:pt x="187" y="171"/>
                  </a:cubicBezTo>
                  <a:cubicBezTo>
                    <a:pt x="188" y="170"/>
                    <a:pt x="189" y="169"/>
                    <a:pt x="190" y="169"/>
                  </a:cubicBezTo>
                  <a:cubicBezTo>
                    <a:pt x="194" y="167"/>
                    <a:pt x="194" y="167"/>
                    <a:pt x="194" y="167"/>
                  </a:cubicBezTo>
                  <a:cubicBezTo>
                    <a:pt x="195" y="167"/>
                    <a:pt x="195" y="167"/>
                    <a:pt x="195" y="167"/>
                  </a:cubicBezTo>
                  <a:cubicBezTo>
                    <a:pt x="195" y="165"/>
                    <a:pt x="195" y="165"/>
                    <a:pt x="195" y="165"/>
                  </a:cubicBezTo>
                  <a:cubicBezTo>
                    <a:pt x="195" y="161"/>
                    <a:pt x="195" y="161"/>
                    <a:pt x="195" y="161"/>
                  </a:cubicBezTo>
                  <a:cubicBezTo>
                    <a:pt x="195" y="161"/>
                    <a:pt x="195" y="161"/>
                    <a:pt x="195" y="161"/>
                  </a:cubicBezTo>
                  <a:close/>
                  <a:moveTo>
                    <a:pt x="191" y="165"/>
                  </a:moveTo>
                  <a:cubicBezTo>
                    <a:pt x="191" y="156"/>
                    <a:pt x="191" y="156"/>
                    <a:pt x="191" y="156"/>
                  </a:cubicBezTo>
                  <a:cubicBezTo>
                    <a:pt x="191" y="156"/>
                    <a:pt x="191" y="156"/>
                    <a:pt x="192" y="156"/>
                  </a:cubicBezTo>
                  <a:cubicBezTo>
                    <a:pt x="192" y="156"/>
                    <a:pt x="192" y="156"/>
                    <a:pt x="192" y="156"/>
                  </a:cubicBezTo>
                  <a:cubicBezTo>
                    <a:pt x="192" y="164"/>
                    <a:pt x="192" y="164"/>
                    <a:pt x="192" y="164"/>
                  </a:cubicBezTo>
                  <a:lnTo>
                    <a:pt x="191" y="165"/>
                  </a:lnTo>
                  <a:close/>
                  <a:moveTo>
                    <a:pt x="205" y="139"/>
                  </a:moveTo>
                  <a:cubicBezTo>
                    <a:pt x="204" y="143"/>
                    <a:pt x="203" y="147"/>
                    <a:pt x="201" y="150"/>
                  </a:cubicBezTo>
                  <a:cubicBezTo>
                    <a:pt x="200" y="151"/>
                    <a:pt x="199" y="152"/>
                    <a:pt x="197" y="153"/>
                  </a:cubicBezTo>
                  <a:cubicBezTo>
                    <a:pt x="196" y="153"/>
                    <a:pt x="196" y="153"/>
                    <a:pt x="195" y="153"/>
                  </a:cubicBezTo>
                  <a:cubicBezTo>
                    <a:pt x="194" y="153"/>
                    <a:pt x="194" y="153"/>
                    <a:pt x="193" y="153"/>
                  </a:cubicBezTo>
                  <a:cubicBezTo>
                    <a:pt x="193" y="153"/>
                    <a:pt x="193" y="153"/>
                    <a:pt x="192" y="153"/>
                  </a:cubicBezTo>
                  <a:cubicBezTo>
                    <a:pt x="191" y="153"/>
                    <a:pt x="189" y="152"/>
                    <a:pt x="188" y="150"/>
                  </a:cubicBezTo>
                  <a:cubicBezTo>
                    <a:pt x="187" y="149"/>
                    <a:pt x="186" y="147"/>
                    <a:pt x="186" y="146"/>
                  </a:cubicBezTo>
                  <a:cubicBezTo>
                    <a:pt x="185" y="142"/>
                    <a:pt x="185" y="138"/>
                    <a:pt x="186" y="135"/>
                  </a:cubicBezTo>
                  <a:cubicBezTo>
                    <a:pt x="187" y="133"/>
                    <a:pt x="190" y="131"/>
                    <a:pt x="192" y="130"/>
                  </a:cubicBezTo>
                  <a:cubicBezTo>
                    <a:pt x="195" y="130"/>
                    <a:pt x="195" y="130"/>
                    <a:pt x="195" y="130"/>
                  </a:cubicBezTo>
                  <a:cubicBezTo>
                    <a:pt x="195" y="127"/>
                    <a:pt x="195" y="127"/>
                    <a:pt x="195" y="127"/>
                  </a:cubicBezTo>
                  <a:cubicBezTo>
                    <a:pt x="195" y="112"/>
                    <a:pt x="195" y="112"/>
                    <a:pt x="195" y="112"/>
                  </a:cubicBezTo>
                  <a:cubicBezTo>
                    <a:pt x="195" y="112"/>
                    <a:pt x="196" y="112"/>
                    <a:pt x="196" y="112"/>
                  </a:cubicBezTo>
                  <a:cubicBezTo>
                    <a:pt x="197" y="113"/>
                    <a:pt x="197" y="113"/>
                    <a:pt x="198" y="114"/>
                  </a:cubicBezTo>
                  <a:cubicBezTo>
                    <a:pt x="200" y="115"/>
                    <a:pt x="201" y="116"/>
                    <a:pt x="202" y="117"/>
                  </a:cubicBezTo>
                  <a:cubicBezTo>
                    <a:pt x="204" y="120"/>
                    <a:pt x="206" y="124"/>
                    <a:pt x="206" y="128"/>
                  </a:cubicBezTo>
                  <a:cubicBezTo>
                    <a:pt x="206" y="131"/>
                    <a:pt x="206" y="136"/>
                    <a:pt x="205" y="139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3" name="Google Shape;773;p2"/>
            <p:cNvSpPr/>
            <p:nvPr/>
          </p:nvSpPr>
          <p:spPr>
            <a:xfrm>
              <a:off x="3905942" y="1896406"/>
              <a:ext cx="122400" cy="33660"/>
            </a:xfrm>
            <a:custGeom>
              <a:avLst/>
              <a:gdLst/>
              <a:ahLst/>
              <a:cxnLst/>
              <a:rect l="l" t="t" r="r" b="b"/>
              <a:pathLst>
                <a:path w="77" h="21" extrusionOk="0">
                  <a:moveTo>
                    <a:pt x="59" y="4"/>
                  </a:moveTo>
                  <a:cubicBezTo>
                    <a:pt x="53" y="1"/>
                    <a:pt x="46" y="0"/>
                    <a:pt x="38" y="0"/>
                  </a:cubicBezTo>
                  <a:cubicBezTo>
                    <a:pt x="31" y="0"/>
                    <a:pt x="24" y="1"/>
                    <a:pt x="18" y="4"/>
                  </a:cubicBezTo>
                  <a:cubicBezTo>
                    <a:pt x="11" y="7"/>
                    <a:pt x="5" y="11"/>
                    <a:pt x="0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0" y="16"/>
                    <a:pt x="15" y="13"/>
                    <a:pt x="20" y="11"/>
                  </a:cubicBezTo>
                  <a:cubicBezTo>
                    <a:pt x="26" y="8"/>
                    <a:pt x="32" y="7"/>
                    <a:pt x="38" y="7"/>
                  </a:cubicBezTo>
                  <a:cubicBezTo>
                    <a:pt x="45" y="7"/>
                    <a:pt x="51" y="8"/>
                    <a:pt x="57" y="11"/>
                  </a:cubicBezTo>
                  <a:cubicBezTo>
                    <a:pt x="62" y="13"/>
                    <a:pt x="67" y="16"/>
                    <a:pt x="72" y="21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2" y="11"/>
                    <a:pt x="66" y="7"/>
                    <a:pt x="59" y="4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4" name="Google Shape;774;p2"/>
            <p:cNvSpPr/>
            <p:nvPr/>
          </p:nvSpPr>
          <p:spPr>
            <a:xfrm>
              <a:off x="3928892" y="1937716"/>
              <a:ext cx="76499" cy="22950"/>
            </a:xfrm>
            <a:custGeom>
              <a:avLst/>
              <a:gdLst/>
              <a:ahLst/>
              <a:cxnLst/>
              <a:rect l="l" t="t" r="r" b="b"/>
              <a:pathLst>
                <a:path w="49" h="15" extrusionOk="0">
                  <a:moveTo>
                    <a:pt x="0" y="10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10" y="10"/>
                    <a:pt x="17" y="7"/>
                    <a:pt x="24" y="7"/>
                  </a:cubicBezTo>
                  <a:cubicBezTo>
                    <a:pt x="32" y="7"/>
                    <a:pt x="39" y="10"/>
                    <a:pt x="44" y="1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3" y="4"/>
                    <a:pt x="34" y="0"/>
                    <a:pt x="24" y="0"/>
                  </a:cubicBezTo>
                  <a:cubicBezTo>
                    <a:pt x="15" y="0"/>
                    <a:pt x="6" y="4"/>
                    <a:pt x="0" y="10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5" name="Google Shape;775;p2"/>
            <p:cNvSpPr/>
            <p:nvPr/>
          </p:nvSpPr>
          <p:spPr>
            <a:xfrm>
              <a:off x="3947252" y="1974438"/>
              <a:ext cx="42839" cy="15300"/>
            </a:xfrm>
            <a:custGeom>
              <a:avLst/>
              <a:gdLst/>
              <a:ahLst/>
              <a:cxnLst/>
              <a:rect l="l" t="t" r="r" b="b"/>
              <a:pathLst>
                <a:path w="27" h="10" extrusionOk="0">
                  <a:moveTo>
                    <a:pt x="0" y="5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7" y="8"/>
                    <a:pt x="10" y="7"/>
                    <a:pt x="13" y="7"/>
                  </a:cubicBezTo>
                  <a:cubicBezTo>
                    <a:pt x="16" y="7"/>
                    <a:pt x="19" y="8"/>
                    <a:pt x="22" y="10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2"/>
                    <a:pt x="18" y="0"/>
                    <a:pt x="13" y="0"/>
                  </a:cubicBezTo>
                  <a:cubicBezTo>
                    <a:pt x="8" y="0"/>
                    <a:pt x="3" y="2"/>
                    <a:pt x="0" y="5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6" name="Google Shape;776;p2"/>
            <p:cNvSpPr/>
            <p:nvPr/>
          </p:nvSpPr>
          <p:spPr>
            <a:xfrm>
              <a:off x="3956431" y="2006567"/>
              <a:ext cx="24480" cy="22950"/>
            </a:xfrm>
            <a:prstGeom prst="ellipse">
              <a:avLst/>
            </a:pr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7" name="Google Shape;777;p2"/>
            <p:cNvSpPr/>
            <p:nvPr/>
          </p:nvSpPr>
          <p:spPr>
            <a:xfrm>
              <a:off x="3339849" y="1633246"/>
              <a:ext cx="408507" cy="665553"/>
            </a:xfrm>
            <a:custGeom>
              <a:avLst/>
              <a:gdLst/>
              <a:ahLst/>
              <a:cxnLst/>
              <a:rect l="l" t="t" r="r" b="b"/>
              <a:pathLst>
                <a:path w="259" h="420" extrusionOk="0">
                  <a:moveTo>
                    <a:pt x="150" y="122"/>
                  </a:moveTo>
                  <a:cubicBezTo>
                    <a:pt x="136" y="122"/>
                    <a:pt x="136" y="122"/>
                    <a:pt x="136" y="122"/>
                  </a:cubicBezTo>
                  <a:cubicBezTo>
                    <a:pt x="136" y="98"/>
                    <a:pt x="136" y="98"/>
                    <a:pt x="136" y="98"/>
                  </a:cubicBezTo>
                  <a:cubicBezTo>
                    <a:pt x="145" y="95"/>
                    <a:pt x="151" y="87"/>
                    <a:pt x="151" y="77"/>
                  </a:cubicBezTo>
                  <a:cubicBezTo>
                    <a:pt x="151" y="65"/>
                    <a:pt x="141" y="55"/>
                    <a:pt x="129" y="55"/>
                  </a:cubicBezTo>
                  <a:cubicBezTo>
                    <a:pt x="117" y="55"/>
                    <a:pt x="108" y="65"/>
                    <a:pt x="108" y="77"/>
                  </a:cubicBezTo>
                  <a:cubicBezTo>
                    <a:pt x="108" y="87"/>
                    <a:pt x="114" y="95"/>
                    <a:pt x="123" y="98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109" y="122"/>
                    <a:pt x="109" y="122"/>
                    <a:pt x="109" y="122"/>
                  </a:cubicBezTo>
                  <a:cubicBezTo>
                    <a:pt x="109" y="266"/>
                    <a:pt x="5" y="420"/>
                    <a:pt x="5" y="420"/>
                  </a:cubicBezTo>
                  <a:cubicBezTo>
                    <a:pt x="69" y="420"/>
                    <a:pt x="69" y="420"/>
                    <a:pt x="69" y="420"/>
                  </a:cubicBezTo>
                  <a:cubicBezTo>
                    <a:pt x="104" y="356"/>
                    <a:pt x="104" y="356"/>
                    <a:pt x="104" y="356"/>
                  </a:cubicBezTo>
                  <a:cubicBezTo>
                    <a:pt x="155" y="356"/>
                    <a:pt x="155" y="356"/>
                    <a:pt x="155" y="356"/>
                  </a:cubicBezTo>
                  <a:cubicBezTo>
                    <a:pt x="190" y="420"/>
                    <a:pt x="190" y="420"/>
                    <a:pt x="190" y="420"/>
                  </a:cubicBezTo>
                  <a:cubicBezTo>
                    <a:pt x="254" y="420"/>
                    <a:pt x="254" y="420"/>
                    <a:pt x="254" y="420"/>
                  </a:cubicBezTo>
                  <a:cubicBezTo>
                    <a:pt x="254" y="420"/>
                    <a:pt x="150" y="266"/>
                    <a:pt x="150" y="122"/>
                  </a:cubicBezTo>
                  <a:close/>
                  <a:moveTo>
                    <a:pt x="128" y="142"/>
                  </a:moveTo>
                  <a:cubicBezTo>
                    <a:pt x="131" y="142"/>
                    <a:pt x="131" y="142"/>
                    <a:pt x="131" y="142"/>
                  </a:cubicBezTo>
                  <a:cubicBezTo>
                    <a:pt x="131" y="151"/>
                    <a:pt x="132" y="160"/>
                    <a:pt x="133" y="169"/>
                  </a:cubicBezTo>
                  <a:cubicBezTo>
                    <a:pt x="125" y="174"/>
                    <a:pt x="125" y="174"/>
                    <a:pt x="125" y="174"/>
                  </a:cubicBezTo>
                  <a:cubicBezTo>
                    <a:pt x="126" y="164"/>
                    <a:pt x="127" y="153"/>
                    <a:pt x="128" y="142"/>
                  </a:cubicBezTo>
                  <a:close/>
                  <a:moveTo>
                    <a:pt x="120" y="200"/>
                  </a:moveTo>
                  <a:cubicBezTo>
                    <a:pt x="137" y="190"/>
                    <a:pt x="137" y="190"/>
                    <a:pt x="137" y="190"/>
                  </a:cubicBezTo>
                  <a:cubicBezTo>
                    <a:pt x="138" y="199"/>
                    <a:pt x="140" y="208"/>
                    <a:pt x="142" y="216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20" y="200"/>
                    <a:pt x="120" y="200"/>
                    <a:pt x="120" y="200"/>
                  </a:cubicBezTo>
                  <a:close/>
                  <a:moveTo>
                    <a:pt x="115" y="221"/>
                  </a:moveTo>
                  <a:cubicBezTo>
                    <a:pt x="150" y="246"/>
                    <a:pt x="150" y="246"/>
                    <a:pt x="150" y="246"/>
                  </a:cubicBezTo>
                  <a:cubicBezTo>
                    <a:pt x="99" y="275"/>
                    <a:pt x="99" y="275"/>
                    <a:pt x="99" y="275"/>
                  </a:cubicBezTo>
                  <a:cubicBezTo>
                    <a:pt x="99" y="275"/>
                    <a:pt x="99" y="275"/>
                    <a:pt x="99" y="275"/>
                  </a:cubicBezTo>
                  <a:cubicBezTo>
                    <a:pt x="105" y="258"/>
                    <a:pt x="111" y="240"/>
                    <a:pt x="115" y="221"/>
                  </a:cubicBezTo>
                  <a:close/>
                  <a:moveTo>
                    <a:pt x="57" y="400"/>
                  </a:moveTo>
                  <a:cubicBezTo>
                    <a:pt x="40" y="400"/>
                    <a:pt x="40" y="400"/>
                    <a:pt x="40" y="400"/>
                  </a:cubicBezTo>
                  <a:cubicBezTo>
                    <a:pt x="45" y="392"/>
                    <a:pt x="80" y="358"/>
                    <a:pt x="80" y="358"/>
                  </a:cubicBezTo>
                  <a:lnTo>
                    <a:pt x="57" y="400"/>
                  </a:lnTo>
                  <a:close/>
                  <a:moveTo>
                    <a:pt x="72" y="339"/>
                  </a:moveTo>
                  <a:cubicBezTo>
                    <a:pt x="79" y="325"/>
                    <a:pt x="85" y="310"/>
                    <a:pt x="92" y="294"/>
                  </a:cubicBezTo>
                  <a:cubicBezTo>
                    <a:pt x="118" y="313"/>
                    <a:pt x="118" y="313"/>
                    <a:pt x="118" y="313"/>
                  </a:cubicBezTo>
                  <a:lnTo>
                    <a:pt x="72" y="339"/>
                  </a:lnTo>
                  <a:close/>
                  <a:moveTo>
                    <a:pt x="117" y="336"/>
                  </a:moveTo>
                  <a:cubicBezTo>
                    <a:pt x="135" y="325"/>
                    <a:pt x="135" y="325"/>
                    <a:pt x="135" y="325"/>
                  </a:cubicBezTo>
                  <a:cubicBezTo>
                    <a:pt x="150" y="336"/>
                    <a:pt x="150" y="336"/>
                    <a:pt x="150" y="336"/>
                  </a:cubicBezTo>
                  <a:lnTo>
                    <a:pt x="117" y="336"/>
                  </a:lnTo>
                  <a:close/>
                  <a:moveTo>
                    <a:pt x="117" y="288"/>
                  </a:moveTo>
                  <a:cubicBezTo>
                    <a:pt x="157" y="265"/>
                    <a:pt x="157" y="265"/>
                    <a:pt x="157" y="265"/>
                  </a:cubicBezTo>
                  <a:cubicBezTo>
                    <a:pt x="165" y="291"/>
                    <a:pt x="176" y="316"/>
                    <a:pt x="186" y="337"/>
                  </a:cubicBezTo>
                  <a:lnTo>
                    <a:pt x="117" y="288"/>
                  </a:lnTo>
                  <a:close/>
                  <a:moveTo>
                    <a:pt x="178" y="356"/>
                  </a:moveTo>
                  <a:cubicBezTo>
                    <a:pt x="178" y="356"/>
                    <a:pt x="215" y="393"/>
                    <a:pt x="219" y="400"/>
                  </a:cubicBezTo>
                  <a:cubicBezTo>
                    <a:pt x="202" y="400"/>
                    <a:pt x="202" y="400"/>
                    <a:pt x="202" y="400"/>
                  </a:cubicBezTo>
                  <a:lnTo>
                    <a:pt x="178" y="356"/>
                  </a:lnTo>
                  <a:close/>
                  <a:moveTo>
                    <a:pt x="174" y="80"/>
                  </a:moveTo>
                  <a:cubicBezTo>
                    <a:pt x="176" y="71"/>
                    <a:pt x="173" y="63"/>
                    <a:pt x="166" y="58"/>
                  </a:cubicBezTo>
                  <a:cubicBezTo>
                    <a:pt x="164" y="56"/>
                    <a:pt x="162" y="51"/>
                    <a:pt x="165" y="48"/>
                  </a:cubicBezTo>
                  <a:cubicBezTo>
                    <a:pt x="170" y="42"/>
                    <a:pt x="177" y="47"/>
                    <a:pt x="180" y="49"/>
                  </a:cubicBezTo>
                  <a:cubicBezTo>
                    <a:pt x="188" y="58"/>
                    <a:pt x="192" y="70"/>
                    <a:pt x="190" y="83"/>
                  </a:cubicBezTo>
                  <a:cubicBezTo>
                    <a:pt x="188" y="90"/>
                    <a:pt x="185" y="97"/>
                    <a:pt x="180" y="102"/>
                  </a:cubicBezTo>
                  <a:cubicBezTo>
                    <a:pt x="177" y="104"/>
                    <a:pt x="169" y="108"/>
                    <a:pt x="165" y="103"/>
                  </a:cubicBezTo>
                  <a:cubicBezTo>
                    <a:pt x="161" y="99"/>
                    <a:pt x="165" y="94"/>
                    <a:pt x="167" y="92"/>
                  </a:cubicBezTo>
                  <a:cubicBezTo>
                    <a:pt x="171" y="89"/>
                    <a:pt x="173" y="84"/>
                    <a:pt x="174" y="80"/>
                  </a:cubicBezTo>
                  <a:close/>
                  <a:moveTo>
                    <a:pt x="188" y="25"/>
                  </a:moveTo>
                  <a:cubicBezTo>
                    <a:pt x="188" y="25"/>
                    <a:pt x="188" y="25"/>
                    <a:pt x="188" y="25"/>
                  </a:cubicBezTo>
                  <a:cubicBezTo>
                    <a:pt x="191" y="22"/>
                    <a:pt x="197" y="22"/>
                    <a:pt x="200" y="25"/>
                  </a:cubicBezTo>
                  <a:cubicBezTo>
                    <a:pt x="200" y="25"/>
                    <a:pt x="201" y="25"/>
                    <a:pt x="203" y="28"/>
                  </a:cubicBezTo>
                  <a:cubicBezTo>
                    <a:pt x="218" y="44"/>
                    <a:pt x="226" y="66"/>
                    <a:pt x="221" y="89"/>
                  </a:cubicBezTo>
                  <a:cubicBezTo>
                    <a:pt x="218" y="103"/>
                    <a:pt x="211" y="114"/>
                    <a:pt x="202" y="124"/>
                  </a:cubicBezTo>
                  <a:cubicBezTo>
                    <a:pt x="200" y="126"/>
                    <a:pt x="200" y="126"/>
                    <a:pt x="200" y="126"/>
                  </a:cubicBezTo>
                  <a:cubicBezTo>
                    <a:pt x="197" y="129"/>
                    <a:pt x="191" y="128"/>
                    <a:pt x="188" y="125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5" y="122"/>
                    <a:pt x="185" y="118"/>
                    <a:pt x="188" y="116"/>
                  </a:cubicBezTo>
                  <a:cubicBezTo>
                    <a:pt x="188" y="116"/>
                    <a:pt x="188" y="116"/>
                    <a:pt x="191" y="113"/>
                  </a:cubicBezTo>
                  <a:cubicBezTo>
                    <a:pt x="198" y="106"/>
                    <a:pt x="203" y="97"/>
                    <a:pt x="205" y="86"/>
                  </a:cubicBezTo>
                  <a:cubicBezTo>
                    <a:pt x="209" y="68"/>
                    <a:pt x="203" y="50"/>
                    <a:pt x="191" y="38"/>
                  </a:cubicBezTo>
                  <a:cubicBezTo>
                    <a:pt x="188" y="35"/>
                    <a:pt x="188" y="35"/>
                    <a:pt x="188" y="35"/>
                  </a:cubicBezTo>
                  <a:cubicBezTo>
                    <a:pt x="185" y="33"/>
                    <a:pt x="185" y="28"/>
                    <a:pt x="188" y="25"/>
                  </a:cubicBezTo>
                  <a:close/>
                  <a:moveTo>
                    <a:pt x="211" y="14"/>
                  </a:moveTo>
                  <a:cubicBezTo>
                    <a:pt x="208" y="11"/>
                    <a:pt x="208" y="6"/>
                    <a:pt x="211" y="3"/>
                  </a:cubicBezTo>
                  <a:cubicBezTo>
                    <a:pt x="211" y="3"/>
                    <a:pt x="211" y="3"/>
                    <a:pt x="211" y="3"/>
                  </a:cubicBezTo>
                  <a:cubicBezTo>
                    <a:pt x="215" y="0"/>
                    <a:pt x="220" y="0"/>
                    <a:pt x="223" y="3"/>
                  </a:cubicBezTo>
                  <a:cubicBezTo>
                    <a:pt x="223" y="3"/>
                    <a:pt x="223" y="3"/>
                    <a:pt x="226" y="6"/>
                  </a:cubicBezTo>
                  <a:cubicBezTo>
                    <a:pt x="248" y="29"/>
                    <a:pt x="259" y="62"/>
                    <a:pt x="252" y="96"/>
                  </a:cubicBezTo>
                  <a:cubicBezTo>
                    <a:pt x="248" y="115"/>
                    <a:pt x="238" y="132"/>
                    <a:pt x="225" y="146"/>
                  </a:cubicBezTo>
                  <a:cubicBezTo>
                    <a:pt x="222" y="148"/>
                    <a:pt x="222" y="148"/>
                    <a:pt x="222" y="148"/>
                  </a:cubicBezTo>
                  <a:cubicBezTo>
                    <a:pt x="219" y="151"/>
                    <a:pt x="215" y="151"/>
                    <a:pt x="211" y="148"/>
                  </a:cubicBezTo>
                  <a:cubicBezTo>
                    <a:pt x="211" y="147"/>
                    <a:pt x="211" y="147"/>
                    <a:pt x="211" y="147"/>
                  </a:cubicBezTo>
                  <a:cubicBezTo>
                    <a:pt x="208" y="144"/>
                    <a:pt x="208" y="140"/>
                    <a:pt x="210" y="138"/>
                  </a:cubicBezTo>
                  <a:cubicBezTo>
                    <a:pt x="210" y="138"/>
                    <a:pt x="210" y="138"/>
                    <a:pt x="213" y="136"/>
                  </a:cubicBezTo>
                  <a:cubicBezTo>
                    <a:pt x="224" y="124"/>
                    <a:pt x="233" y="109"/>
                    <a:pt x="236" y="92"/>
                  </a:cubicBezTo>
                  <a:cubicBezTo>
                    <a:pt x="242" y="64"/>
                    <a:pt x="233" y="36"/>
                    <a:pt x="214" y="16"/>
                  </a:cubicBezTo>
                  <a:cubicBezTo>
                    <a:pt x="211" y="14"/>
                    <a:pt x="211" y="14"/>
                    <a:pt x="211" y="14"/>
                  </a:cubicBezTo>
                  <a:close/>
                  <a:moveTo>
                    <a:pt x="33" y="145"/>
                  </a:moveTo>
                  <a:cubicBezTo>
                    <a:pt x="11" y="122"/>
                    <a:pt x="0" y="89"/>
                    <a:pt x="7" y="55"/>
                  </a:cubicBezTo>
                  <a:cubicBezTo>
                    <a:pt x="11" y="36"/>
                    <a:pt x="21" y="18"/>
                    <a:pt x="34" y="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9" y="0"/>
                    <a:pt x="44" y="0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1" y="6"/>
                    <a:pt x="51" y="11"/>
                    <a:pt x="48" y="13"/>
                  </a:cubicBezTo>
                  <a:cubicBezTo>
                    <a:pt x="48" y="13"/>
                    <a:pt x="48" y="13"/>
                    <a:pt x="46" y="15"/>
                  </a:cubicBezTo>
                  <a:cubicBezTo>
                    <a:pt x="34" y="27"/>
                    <a:pt x="26" y="41"/>
                    <a:pt x="22" y="59"/>
                  </a:cubicBezTo>
                  <a:cubicBezTo>
                    <a:pt x="17" y="87"/>
                    <a:pt x="26" y="115"/>
                    <a:pt x="45" y="134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51" y="140"/>
                    <a:pt x="51" y="145"/>
                    <a:pt x="47" y="148"/>
                  </a:cubicBezTo>
                  <a:cubicBezTo>
                    <a:pt x="47" y="148"/>
                    <a:pt x="47" y="148"/>
                    <a:pt x="47" y="148"/>
                  </a:cubicBezTo>
                  <a:cubicBezTo>
                    <a:pt x="44" y="151"/>
                    <a:pt x="39" y="151"/>
                    <a:pt x="36" y="148"/>
                  </a:cubicBezTo>
                  <a:cubicBezTo>
                    <a:pt x="36" y="148"/>
                    <a:pt x="35" y="148"/>
                    <a:pt x="33" y="145"/>
                  </a:cubicBezTo>
                  <a:close/>
                  <a:moveTo>
                    <a:pt x="38" y="62"/>
                  </a:moveTo>
                  <a:cubicBezTo>
                    <a:pt x="41" y="48"/>
                    <a:pt x="47" y="36"/>
                    <a:pt x="56" y="2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2" y="22"/>
                    <a:pt x="67" y="22"/>
                    <a:pt x="71" y="25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74" y="29"/>
                    <a:pt x="74" y="33"/>
                    <a:pt x="71" y="35"/>
                  </a:cubicBezTo>
                  <a:cubicBezTo>
                    <a:pt x="71" y="35"/>
                    <a:pt x="71" y="35"/>
                    <a:pt x="68" y="38"/>
                  </a:cubicBezTo>
                  <a:cubicBezTo>
                    <a:pt x="61" y="45"/>
                    <a:pt x="56" y="54"/>
                    <a:pt x="53" y="65"/>
                  </a:cubicBezTo>
                  <a:cubicBezTo>
                    <a:pt x="50" y="83"/>
                    <a:pt x="56" y="101"/>
                    <a:pt x="68" y="113"/>
                  </a:cubicBezTo>
                  <a:cubicBezTo>
                    <a:pt x="71" y="116"/>
                    <a:pt x="71" y="116"/>
                    <a:pt x="71" y="116"/>
                  </a:cubicBezTo>
                  <a:cubicBezTo>
                    <a:pt x="74" y="118"/>
                    <a:pt x="74" y="122"/>
                    <a:pt x="71" y="125"/>
                  </a:cubicBezTo>
                  <a:cubicBezTo>
                    <a:pt x="70" y="126"/>
                    <a:pt x="70" y="126"/>
                    <a:pt x="70" y="126"/>
                  </a:cubicBezTo>
                  <a:cubicBezTo>
                    <a:pt x="67" y="129"/>
                    <a:pt x="62" y="129"/>
                    <a:pt x="59" y="126"/>
                  </a:cubicBezTo>
                  <a:cubicBezTo>
                    <a:pt x="59" y="126"/>
                    <a:pt x="58" y="126"/>
                    <a:pt x="55" y="123"/>
                  </a:cubicBezTo>
                  <a:cubicBezTo>
                    <a:pt x="40" y="107"/>
                    <a:pt x="33" y="85"/>
                    <a:pt x="38" y="62"/>
                  </a:cubicBezTo>
                  <a:close/>
                  <a:moveTo>
                    <a:pt x="69" y="68"/>
                  </a:moveTo>
                  <a:cubicBezTo>
                    <a:pt x="70" y="61"/>
                    <a:pt x="74" y="54"/>
                    <a:pt x="79" y="49"/>
                  </a:cubicBezTo>
                  <a:cubicBezTo>
                    <a:pt x="82" y="47"/>
                    <a:pt x="89" y="43"/>
                    <a:pt x="94" y="48"/>
                  </a:cubicBezTo>
                  <a:cubicBezTo>
                    <a:pt x="97" y="52"/>
                    <a:pt x="94" y="57"/>
                    <a:pt x="91" y="59"/>
                  </a:cubicBezTo>
                  <a:cubicBezTo>
                    <a:pt x="88" y="62"/>
                    <a:pt x="85" y="66"/>
                    <a:pt x="84" y="71"/>
                  </a:cubicBezTo>
                  <a:cubicBezTo>
                    <a:pt x="83" y="80"/>
                    <a:pt x="86" y="88"/>
                    <a:pt x="92" y="93"/>
                  </a:cubicBezTo>
                  <a:cubicBezTo>
                    <a:pt x="95" y="94"/>
                    <a:pt x="97" y="100"/>
                    <a:pt x="94" y="103"/>
                  </a:cubicBezTo>
                  <a:cubicBezTo>
                    <a:pt x="89" y="109"/>
                    <a:pt x="82" y="104"/>
                    <a:pt x="79" y="101"/>
                  </a:cubicBezTo>
                  <a:cubicBezTo>
                    <a:pt x="70" y="93"/>
                    <a:pt x="66" y="81"/>
                    <a:pt x="69" y="68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8" name="Google Shape;778;p2"/>
            <p:cNvSpPr/>
            <p:nvPr/>
          </p:nvSpPr>
          <p:spPr>
            <a:xfrm>
              <a:off x="3733052" y="1757176"/>
              <a:ext cx="78028" cy="16830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50" y="6"/>
                  </a:moveTo>
                  <a:cubicBezTo>
                    <a:pt x="50" y="9"/>
                    <a:pt x="48" y="11"/>
                    <a:pt x="4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2"/>
                    <a:pt x="50" y="6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9" name="Google Shape;779;p2"/>
            <p:cNvSpPr/>
            <p:nvPr/>
          </p:nvSpPr>
          <p:spPr>
            <a:xfrm>
              <a:off x="3798831" y="1682206"/>
              <a:ext cx="36719" cy="93330"/>
            </a:xfrm>
            <a:custGeom>
              <a:avLst/>
              <a:gdLst/>
              <a:ahLst/>
              <a:cxnLst/>
              <a:rect l="l" t="t" r="r" b="b"/>
              <a:pathLst>
                <a:path w="23" h="59" extrusionOk="0">
                  <a:moveTo>
                    <a:pt x="19" y="1"/>
                  </a:moveTo>
                  <a:cubicBezTo>
                    <a:pt x="22" y="2"/>
                    <a:pt x="23" y="5"/>
                    <a:pt x="22" y="8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7"/>
                    <a:pt x="6" y="59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" y="57"/>
                    <a:pt x="0" y="54"/>
                    <a:pt x="0" y="5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2"/>
                    <a:pt x="17" y="0"/>
                    <a:pt x="19" y="1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0" name="Google Shape;780;p2"/>
            <p:cNvSpPr/>
            <p:nvPr/>
          </p:nvSpPr>
          <p:spPr>
            <a:xfrm>
              <a:off x="3820262" y="1682206"/>
              <a:ext cx="50489" cy="133111"/>
            </a:xfrm>
            <a:custGeom>
              <a:avLst/>
              <a:gdLst/>
              <a:ahLst/>
              <a:cxnLst/>
              <a:rect l="l" t="t" r="r" b="b"/>
              <a:pathLst>
                <a:path w="32" h="84" extrusionOk="0">
                  <a:moveTo>
                    <a:pt x="4" y="1"/>
                  </a:moveTo>
                  <a:cubicBezTo>
                    <a:pt x="6" y="0"/>
                    <a:pt x="10" y="3"/>
                    <a:pt x="11" y="7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8"/>
                    <a:pt x="31" y="82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6" y="84"/>
                    <a:pt x="23" y="82"/>
                    <a:pt x="21" y="7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6"/>
                    <a:pt x="1" y="2"/>
                    <a:pt x="4" y="1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1" name="Google Shape;781;p2"/>
            <p:cNvSpPr/>
            <p:nvPr/>
          </p:nvSpPr>
          <p:spPr>
            <a:xfrm>
              <a:off x="3927360" y="1679145"/>
              <a:ext cx="48959" cy="130052"/>
            </a:xfrm>
            <a:custGeom>
              <a:avLst/>
              <a:gdLst/>
              <a:ahLst/>
              <a:cxnLst/>
              <a:rect l="l" t="t" r="r" b="b"/>
              <a:pathLst>
                <a:path w="31" h="82" extrusionOk="0">
                  <a:moveTo>
                    <a:pt x="4" y="1"/>
                  </a:moveTo>
                  <a:cubicBezTo>
                    <a:pt x="7" y="0"/>
                    <a:pt x="10" y="3"/>
                    <a:pt x="11" y="7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6"/>
                    <a:pt x="30" y="80"/>
                    <a:pt x="28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5" y="82"/>
                    <a:pt x="22" y="80"/>
                    <a:pt x="21" y="7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7"/>
                    <a:pt x="1" y="2"/>
                    <a:pt x="4" y="1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2" name="Google Shape;782;p2"/>
            <p:cNvSpPr/>
            <p:nvPr/>
          </p:nvSpPr>
          <p:spPr>
            <a:xfrm>
              <a:off x="3904410" y="1679145"/>
              <a:ext cx="38250" cy="93330"/>
            </a:xfrm>
            <a:custGeom>
              <a:avLst/>
              <a:gdLst/>
              <a:ahLst/>
              <a:cxnLst/>
              <a:rect l="l" t="t" r="r" b="b"/>
              <a:pathLst>
                <a:path w="24" h="59" extrusionOk="0">
                  <a:moveTo>
                    <a:pt x="20" y="1"/>
                  </a:moveTo>
                  <a:cubicBezTo>
                    <a:pt x="23" y="2"/>
                    <a:pt x="24" y="6"/>
                    <a:pt x="23" y="9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0" y="58"/>
                    <a:pt x="7" y="59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2" y="57"/>
                    <a:pt x="0" y="54"/>
                    <a:pt x="1" y="5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2"/>
                    <a:pt x="18" y="0"/>
                    <a:pt x="20" y="1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3" name="Google Shape;783;p2"/>
            <p:cNvSpPr/>
            <p:nvPr/>
          </p:nvSpPr>
          <p:spPr>
            <a:xfrm>
              <a:off x="3855445" y="1619477"/>
              <a:ext cx="41309" cy="195841"/>
            </a:xfrm>
            <a:custGeom>
              <a:avLst/>
              <a:gdLst/>
              <a:ahLst/>
              <a:cxnLst/>
              <a:rect l="l" t="t" r="r" b="b"/>
              <a:pathLst>
                <a:path w="26" h="124" extrusionOk="0">
                  <a:moveTo>
                    <a:pt x="22" y="1"/>
                  </a:moveTo>
                  <a:cubicBezTo>
                    <a:pt x="25" y="1"/>
                    <a:pt x="26" y="7"/>
                    <a:pt x="25" y="14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9" y="119"/>
                    <a:pt x="6" y="124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1" y="123"/>
                    <a:pt x="0" y="117"/>
                    <a:pt x="1" y="1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5"/>
                    <a:pt x="20" y="0"/>
                    <a:pt x="22" y="1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4" name="Google Shape;784;p2"/>
            <p:cNvSpPr/>
            <p:nvPr/>
          </p:nvSpPr>
          <p:spPr>
            <a:xfrm>
              <a:off x="3961021" y="1656197"/>
              <a:ext cx="35189" cy="153001"/>
            </a:xfrm>
            <a:custGeom>
              <a:avLst/>
              <a:gdLst/>
              <a:ahLst/>
              <a:cxnLst/>
              <a:rect l="l" t="t" r="r" b="b"/>
              <a:pathLst>
                <a:path w="23" h="97" extrusionOk="0">
                  <a:moveTo>
                    <a:pt x="19" y="0"/>
                  </a:moveTo>
                  <a:cubicBezTo>
                    <a:pt x="22" y="1"/>
                    <a:pt x="23" y="6"/>
                    <a:pt x="22" y="11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0" y="93"/>
                    <a:pt x="7" y="97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2" y="95"/>
                    <a:pt x="0" y="91"/>
                    <a:pt x="1" y="8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4"/>
                    <a:pt x="16" y="0"/>
                    <a:pt x="19" y="0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5" name="Google Shape;785;p2"/>
            <p:cNvSpPr/>
            <p:nvPr/>
          </p:nvSpPr>
          <p:spPr>
            <a:xfrm>
              <a:off x="3884573" y="1619474"/>
              <a:ext cx="36719" cy="153001"/>
            </a:xfrm>
            <a:custGeom>
              <a:avLst/>
              <a:gdLst/>
              <a:ahLst/>
              <a:cxnLst/>
              <a:rect l="l" t="t" r="r" b="b"/>
              <a:pathLst>
                <a:path w="23" h="97" extrusionOk="0">
                  <a:moveTo>
                    <a:pt x="4" y="1"/>
                  </a:moveTo>
                  <a:cubicBezTo>
                    <a:pt x="6" y="0"/>
                    <a:pt x="9" y="4"/>
                    <a:pt x="10" y="9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3" y="91"/>
                    <a:pt x="22" y="96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6" y="97"/>
                    <a:pt x="14" y="94"/>
                    <a:pt x="13" y="8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6"/>
                    <a:pt x="1" y="1"/>
                    <a:pt x="4" y="1"/>
                  </a:cubicBezTo>
                  <a:close/>
                </a:path>
              </a:pathLst>
            </a:custGeom>
            <a:solidFill>
              <a:srgbClr val="007D40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5555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86" name="Google Shape;786;p2"/>
          <p:cNvGrpSpPr/>
          <p:nvPr/>
        </p:nvGrpSpPr>
        <p:grpSpPr>
          <a:xfrm>
            <a:off x="4647512" y="964062"/>
            <a:ext cx="6861901" cy="2932473"/>
            <a:chOff x="4218269" y="825947"/>
            <a:chExt cx="6861901" cy="2932472"/>
          </a:xfrm>
        </p:grpSpPr>
        <p:sp>
          <p:nvSpPr>
            <p:cNvPr id="787" name="Google Shape;787;p2"/>
            <p:cNvSpPr/>
            <p:nvPr/>
          </p:nvSpPr>
          <p:spPr>
            <a:xfrm>
              <a:off x="4218269" y="1652421"/>
              <a:ext cx="2106000" cy="2105998"/>
            </a:xfrm>
            <a:prstGeom prst="ellipse">
              <a:avLst/>
            </a:prstGeom>
            <a:solidFill>
              <a:srgbClr val="B7E2B4"/>
            </a:solidFill>
            <a:ln w="76200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179992" indent="-91094" algn="ctr" defTabSz="1219170">
                <a:buClr>
                  <a:srgbClr val="000000"/>
                </a:buClr>
                <a:buSzPts val="1050"/>
              </a:pPr>
              <a:endParaRPr sz="1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8" name="Google Shape;788;p2"/>
            <p:cNvSpPr txBox="1"/>
            <p:nvPr/>
          </p:nvSpPr>
          <p:spPr>
            <a:xfrm>
              <a:off x="6739533" y="1098388"/>
              <a:ext cx="2504351" cy="2992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1219170">
                <a:buClr>
                  <a:srgbClr val="007D40"/>
                </a:buClr>
                <a:buSzPts val="1500"/>
              </a:pPr>
              <a:r>
                <a:rPr lang="sr-Latn-RS" sz="2000" b="1" kern="0" dirty="0">
                  <a:solidFill>
                    <a:srgbClr val="B9E3B6"/>
                  </a:solidFill>
                  <a:latin typeface="Arial"/>
                  <a:cs typeface="Arial"/>
                  <a:sym typeface="Arial"/>
                </a:rPr>
                <a:t>Bezbednost na radu</a:t>
              </a: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789" name="Google Shape;789;p2"/>
            <p:cNvCxnSpPr/>
            <p:nvPr/>
          </p:nvCxnSpPr>
          <p:spPr>
            <a:xfrm rot="10800000" flipH="1">
              <a:off x="5752484" y="1426484"/>
              <a:ext cx="862175" cy="517431"/>
            </a:xfrm>
            <a:prstGeom prst="straightConnector1">
              <a:avLst/>
            </a:prstGeom>
            <a:noFill/>
            <a:ln w="19050" cap="rnd" cmpd="sng">
              <a:solidFill>
                <a:srgbClr val="B9E3B6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790" name="Google Shape;790;p2"/>
            <p:cNvSpPr txBox="1"/>
            <p:nvPr/>
          </p:nvSpPr>
          <p:spPr>
            <a:xfrm>
              <a:off x="6933246" y="1618157"/>
              <a:ext cx="4146924" cy="1807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defTabSz="1219170">
                <a:buClr>
                  <a:srgbClr val="C1DF97"/>
                </a:buClr>
                <a:buSzPts val="975"/>
              </a:pPr>
              <a:r>
                <a:rPr lang="sr-Latn-RS" sz="1300" kern="0" dirty="0">
                  <a:solidFill>
                    <a:srgbClr val="555555"/>
                  </a:solidFill>
                  <a:latin typeface="Arial"/>
                  <a:cs typeface="Arial"/>
                  <a:sym typeface="Arial"/>
                </a:rPr>
                <a:t>Proverena bezbednost objekata 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Standard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i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 Audit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i i sertifikacije</a:t>
              </a: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defTabSz="1219170">
                <a:spcBef>
                  <a:spcPts val="1200"/>
                </a:spcBef>
                <a:buClr>
                  <a:srgbClr val="C1DF97"/>
                </a:buClr>
                <a:buSzPts val="975"/>
              </a:pPr>
              <a:r>
                <a:rPr lang="sr-Latn-RS" sz="1300" kern="0" dirty="0">
                  <a:solidFill>
                    <a:srgbClr val="555555"/>
                  </a:solidFill>
                  <a:latin typeface="Arial"/>
                  <a:cs typeface="Arial"/>
                  <a:sym typeface="Arial"/>
                </a:rPr>
                <a:t>Bezbednost infrastrukture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, Ele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ktrika i Životna sredina 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cs typeface="Arial"/>
                  <a:sym typeface="Arial"/>
                </a:rPr>
                <a:t>Inspekcije i 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consulting </a:t>
              </a: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defTabSz="1219170">
                <a:spcBef>
                  <a:spcPts val="1200"/>
                </a:spcBef>
                <a:buClr>
                  <a:srgbClr val="C1DF97"/>
                </a:buClr>
                <a:buSzPts val="975"/>
              </a:pP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E-mobility 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i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 High Voltage Testi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ranja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, Tr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ening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cs typeface="Arial"/>
                  <a:sym typeface="Arial"/>
                </a:rPr>
                <a:t> i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Consulting</a:t>
              </a: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  <a:p>
              <a:pPr defTabSz="1219170">
                <a:spcBef>
                  <a:spcPts val="1200"/>
                </a:spcBef>
                <a:buClr>
                  <a:srgbClr val="C1DF97"/>
                </a:buClr>
                <a:buSzPts val="975"/>
              </a:pP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Cyber Security </a:t>
              </a:r>
              <a:r>
                <a:rPr lang="sr-Latn-RS" sz="1300" kern="0" dirty="0">
                  <a:solidFill>
                    <a:srgbClr val="555555"/>
                  </a:solidFill>
                  <a:latin typeface="Arial"/>
                  <a:cs typeface="Arial"/>
                  <a:sym typeface="Arial"/>
                </a:rPr>
                <a:t>usluge itd</a:t>
              </a:r>
              <a:r>
                <a:rPr lang="de-DE" sz="1300"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rPr>
                <a:t>. </a:t>
              </a:r>
              <a:endParaRPr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cxnSp>
          <p:nvCxnSpPr>
            <p:cNvPr id="791" name="Google Shape;791;p2"/>
            <p:cNvCxnSpPr/>
            <p:nvPr/>
          </p:nvCxnSpPr>
          <p:spPr>
            <a:xfrm>
              <a:off x="6624361" y="1426484"/>
              <a:ext cx="3456000" cy="0"/>
            </a:xfrm>
            <a:prstGeom prst="straightConnector1">
              <a:avLst/>
            </a:prstGeom>
            <a:noFill/>
            <a:ln w="19050" cap="rnd" cmpd="sng">
              <a:solidFill>
                <a:srgbClr val="B9E3B6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792" name="Google Shape;792;p2"/>
            <p:cNvSpPr/>
            <p:nvPr/>
          </p:nvSpPr>
          <p:spPr>
            <a:xfrm rot="10800000" flipH="1">
              <a:off x="6672694" y="1663363"/>
              <a:ext cx="155959" cy="155959"/>
            </a:xfrm>
            <a:prstGeom prst="ellipse">
              <a:avLst/>
            </a:prstGeom>
            <a:solidFill>
              <a:srgbClr val="B7E2B4"/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179992" indent="-91094" algn="ctr" defTabSz="1219170">
                <a:buClr>
                  <a:srgbClr val="000000"/>
                </a:buClr>
                <a:buSzPts val="1050"/>
              </a:pPr>
              <a:endParaRPr sz="1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3" name="Google Shape;793;p2"/>
            <p:cNvSpPr/>
            <p:nvPr/>
          </p:nvSpPr>
          <p:spPr>
            <a:xfrm rot="10800000" flipH="1">
              <a:off x="6672694" y="2148046"/>
              <a:ext cx="155959" cy="155959"/>
            </a:xfrm>
            <a:prstGeom prst="ellipse">
              <a:avLst/>
            </a:prstGeom>
            <a:solidFill>
              <a:srgbClr val="B7E2B4"/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179992" indent="-91094" algn="ctr" defTabSz="1219170">
                <a:buClr>
                  <a:srgbClr val="000000"/>
                </a:buClr>
                <a:buSzPts val="1050"/>
              </a:pPr>
              <a:endParaRPr sz="1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4" name="Google Shape;794;p2"/>
            <p:cNvSpPr/>
            <p:nvPr/>
          </p:nvSpPr>
          <p:spPr>
            <a:xfrm rot="10800000" flipH="1">
              <a:off x="6686448" y="2576507"/>
              <a:ext cx="155959" cy="155959"/>
            </a:xfrm>
            <a:prstGeom prst="ellipse">
              <a:avLst/>
            </a:prstGeom>
            <a:solidFill>
              <a:srgbClr val="B7E2B4"/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179992" indent="-91094" algn="ctr" defTabSz="1219170">
                <a:buClr>
                  <a:srgbClr val="000000"/>
                </a:buClr>
                <a:buSzPts val="1050"/>
              </a:pPr>
              <a:endParaRPr sz="1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795" name="Google Shape;795;p2"/>
            <p:cNvGrpSpPr/>
            <p:nvPr/>
          </p:nvGrpSpPr>
          <p:grpSpPr>
            <a:xfrm>
              <a:off x="9469872" y="825947"/>
              <a:ext cx="426287" cy="460137"/>
              <a:chOff x="7410307" y="1124637"/>
              <a:chExt cx="699301" cy="754830"/>
            </a:xfrm>
          </p:grpSpPr>
          <p:sp>
            <p:nvSpPr>
              <p:cNvPr id="796" name="Google Shape;796;p2"/>
              <p:cNvSpPr/>
              <p:nvPr/>
            </p:nvSpPr>
            <p:spPr>
              <a:xfrm rot="20795276" flipH="1">
                <a:off x="7662172" y="1305749"/>
                <a:ext cx="202214" cy="298952"/>
              </a:xfrm>
              <a:custGeom>
                <a:avLst/>
                <a:gdLst/>
                <a:ahLst/>
                <a:cxnLst/>
                <a:rect l="l" t="t" r="r" b="b"/>
                <a:pathLst>
                  <a:path w="231" h="280" extrusionOk="0">
                    <a:moveTo>
                      <a:pt x="211" y="143"/>
                    </a:moveTo>
                    <a:cubicBezTo>
                      <a:pt x="211" y="143"/>
                      <a:pt x="191" y="166"/>
                      <a:pt x="165" y="173"/>
                    </a:cubicBezTo>
                    <a:cubicBezTo>
                      <a:pt x="165" y="173"/>
                      <a:pt x="189" y="89"/>
                      <a:pt x="111" y="0"/>
                    </a:cubicBezTo>
                    <a:cubicBezTo>
                      <a:pt x="116" y="46"/>
                      <a:pt x="78" y="68"/>
                      <a:pt x="47" y="100"/>
                    </a:cubicBezTo>
                    <a:cubicBezTo>
                      <a:pt x="44" y="92"/>
                      <a:pt x="38" y="84"/>
                      <a:pt x="38" y="84"/>
                    </a:cubicBezTo>
                    <a:cubicBezTo>
                      <a:pt x="37" y="106"/>
                      <a:pt x="9" y="125"/>
                      <a:pt x="6" y="166"/>
                    </a:cubicBezTo>
                    <a:cubicBezTo>
                      <a:pt x="0" y="246"/>
                      <a:pt x="56" y="269"/>
                      <a:pt x="83" y="276"/>
                    </a:cubicBezTo>
                    <a:cubicBezTo>
                      <a:pt x="83" y="276"/>
                      <a:pt x="8" y="196"/>
                      <a:pt x="118" y="112"/>
                    </a:cubicBezTo>
                    <a:cubicBezTo>
                      <a:pt x="87" y="186"/>
                      <a:pt x="178" y="213"/>
                      <a:pt x="136" y="280"/>
                    </a:cubicBezTo>
                    <a:cubicBezTo>
                      <a:pt x="136" y="280"/>
                      <a:pt x="231" y="236"/>
                      <a:pt x="211" y="143"/>
                    </a:cubicBezTo>
                    <a:close/>
                  </a:path>
                </a:pathLst>
              </a:custGeom>
              <a:solidFill>
                <a:srgbClr val="007D40"/>
              </a:solidFill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1350"/>
                </a:pPr>
                <a:endParaRPr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7" name="Google Shape;797;p2"/>
              <p:cNvSpPr/>
              <p:nvPr/>
            </p:nvSpPr>
            <p:spPr>
              <a:xfrm rot="20285888">
                <a:off x="7887594" y="1129530"/>
                <a:ext cx="222014" cy="284850"/>
              </a:xfrm>
              <a:custGeom>
                <a:avLst/>
                <a:gdLst/>
                <a:ahLst/>
                <a:cxnLst/>
                <a:rect l="l" t="t" r="r" b="b"/>
                <a:pathLst>
                  <a:path w="547" h="703" extrusionOk="0">
                    <a:moveTo>
                      <a:pt x="399" y="0"/>
                    </a:moveTo>
                    <a:cubicBezTo>
                      <a:pt x="490" y="90"/>
                      <a:pt x="547" y="215"/>
                      <a:pt x="547" y="353"/>
                    </a:cubicBezTo>
                    <a:cubicBezTo>
                      <a:pt x="547" y="490"/>
                      <a:pt x="492" y="613"/>
                      <a:pt x="403" y="703"/>
                    </a:cubicBezTo>
                    <a:cubicBezTo>
                      <a:pt x="370" y="670"/>
                      <a:pt x="370" y="670"/>
                      <a:pt x="370" y="670"/>
                    </a:cubicBezTo>
                    <a:cubicBezTo>
                      <a:pt x="450" y="589"/>
                      <a:pt x="500" y="477"/>
                      <a:pt x="500" y="353"/>
                    </a:cubicBezTo>
                    <a:cubicBezTo>
                      <a:pt x="500" y="228"/>
                      <a:pt x="449" y="115"/>
                      <a:pt x="366" y="34"/>
                    </a:cubicBezTo>
                    <a:cubicBezTo>
                      <a:pt x="399" y="0"/>
                      <a:pt x="399" y="0"/>
                      <a:pt x="399" y="0"/>
                    </a:cubicBezTo>
                    <a:close/>
                    <a:moveTo>
                      <a:pt x="50" y="303"/>
                    </a:moveTo>
                    <a:cubicBezTo>
                      <a:pt x="78" y="303"/>
                      <a:pt x="101" y="326"/>
                      <a:pt x="101" y="353"/>
                    </a:cubicBezTo>
                    <a:cubicBezTo>
                      <a:pt x="101" y="381"/>
                      <a:pt x="78" y="404"/>
                      <a:pt x="50" y="404"/>
                    </a:cubicBezTo>
                    <a:cubicBezTo>
                      <a:pt x="22" y="404"/>
                      <a:pt x="0" y="381"/>
                      <a:pt x="0" y="353"/>
                    </a:cubicBezTo>
                    <a:cubicBezTo>
                      <a:pt x="0" y="326"/>
                      <a:pt x="22" y="303"/>
                      <a:pt x="50" y="303"/>
                    </a:cubicBezTo>
                    <a:close/>
                    <a:moveTo>
                      <a:pt x="176" y="226"/>
                    </a:moveTo>
                    <a:cubicBezTo>
                      <a:pt x="209" y="258"/>
                      <a:pt x="229" y="304"/>
                      <a:pt x="229" y="353"/>
                    </a:cubicBezTo>
                    <a:cubicBezTo>
                      <a:pt x="229" y="403"/>
                      <a:pt x="210" y="447"/>
                      <a:pt x="177" y="480"/>
                    </a:cubicBezTo>
                    <a:cubicBezTo>
                      <a:pt x="144" y="447"/>
                      <a:pt x="144" y="447"/>
                      <a:pt x="144" y="447"/>
                    </a:cubicBezTo>
                    <a:cubicBezTo>
                      <a:pt x="168" y="423"/>
                      <a:pt x="183" y="390"/>
                      <a:pt x="183" y="353"/>
                    </a:cubicBezTo>
                    <a:cubicBezTo>
                      <a:pt x="183" y="317"/>
                      <a:pt x="168" y="283"/>
                      <a:pt x="143" y="259"/>
                    </a:cubicBezTo>
                    <a:cubicBezTo>
                      <a:pt x="176" y="226"/>
                      <a:pt x="176" y="226"/>
                      <a:pt x="176" y="226"/>
                    </a:cubicBezTo>
                    <a:close/>
                    <a:moveTo>
                      <a:pt x="288" y="113"/>
                    </a:moveTo>
                    <a:cubicBezTo>
                      <a:pt x="350" y="174"/>
                      <a:pt x="389" y="259"/>
                      <a:pt x="389" y="353"/>
                    </a:cubicBezTo>
                    <a:cubicBezTo>
                      <a:pt x="389" y="446"/>
                      <a:pt x="351" y="531"/>
                      <a:pt x="291" y="592"/>
                    </a:cubicBezTo>
                    <a:cubicBezTo>
                      <a:pt x="258" y="559"/>
                      <a:pt x="258" y="559"/>
                      <a:pt x="258" y="559"/>
                    </a:cubicBezTo>
                    <a:cubicBezTo>
                      <a:pt x="310" y="506"/>
                      <a:pt x="342" y="434"/>
                      <a:pt x="342" y="353"/>
                    </a:cubicBezTo>
                    <a:cubicBezTo>
                      <a:pt x="342" y="272"/>
                      <a:pt x="309" y="199"/>
                      <a:pt x="255" y="146"/>
                    </a:cubicBezTo>
                    <a:cubicBezTo>
                      <a:pt x="288" y="113"/>
                      <a:pt x="288" y="113"/>
                      <a:pt x="288" y="113"/>
                    </a:cubicBezTo>
                    <a:close/>
                  </a:path>
                </a:pathLst>
              </a:custGeom>
              <a:solidFill>
                <a:srgbClr val="007D40"/>
              </a:solidFill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1350"/>
                </a:pPr>
                <a:endParaRPr kern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8" name="Google Shape;798;p2"/>
              <p:cNvSpPr/>
              <p:nvPr/>
            </p:nvSpPr>
            <p:spPr>
              <a:xfrm>
                <a:off x="7423728" y="1124637"/>
                <a:ext cx="200025" cy="396874"/>
              </a:xfrm>
              <a:custGeom>
                <a:avLst/>
                <a:gdLst/>
                <a:ahLst/>
                <a:cxnLst/>
                <a:rect l="l" t="t" r="r" b="b"/>
                <a:pathLst>
                  <a:path w="126" h="250" extrusionOk="0">
                    <a:moveTo>
                      <a:pt x="64" y="0"/>
                    </a:moveTo>
                    <a:lnTo>
                      <a:pt x="100" y="0"/>
                    </a:lnTo>
                    <a:lnTo>
                      <a:pt x="30" y="129"/>
                    </a:lnTo>
                    <a:lnTo>
                      <a:pt x="126" y="100"/>
                    </a:lnTo>
                    <a:lnTo>
                      <a:pt x="74" y="214"/>
                    </a:lnTo>
                    <a:lnTo>
                      <a:pt x="94" y="209"/>
                    </a:lnTo>
                    <a:lnTo>
                      <a:pt x="59" y="250"/>
                    </a:lnTo>
                    <a:lnTo>
                      <a:pt x="52" y="201"/>
                    </a:lnTo>
                    <a:lnTo>
                      <a:pt x="66" y="212"/>
                    </a:lnTo>
                    <a:lnTo>
                      <a:pt x="90" y="127"/>
                    </a:lnTo>
                    <a:lnTo>
                      <a:pt x="0" y="155"/>
                    </a:lnTo>
                    <a:lnTo>
                      <a:pt x="64" y="0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007D40"/>
              </a:solidFill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1350"/>
                </a:pPr>
                <a:endParaRPr kern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99" name="Google Shape;799;p2"/>
              <p:cNvSpPr/>
              <p:nvPr/>
            </p:nvSpPr>
            <p:spPr>
              <a:xfrm>
                <a:off x="7410307" y="1453228"/>
                <a:ext cx="641351" cy="426239"/>
              </a:xfrm>
              <a:custGeom>
                <a:avLst/>
                <a:gdLst/>
                <a:ahLst/>
                <a:cxnLst/>
                <a:rect l="l" t="t" r="r" b="b"/>
                <a:pathLst>
                  <a:path w="278" h="219" extrusionOk="0">
                    <a:moveTo>
                      <a:pt x="11" y="0"/>
                    </a:moveTo>
                    <a:cubicBezTo>
                      <a:pt x="17" y="0"/>
                      <a:pt x="21" y="5"/>
                      <a:pt x="21" y="1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17" y="86"/>
                      <a:pt x="15" y="90"/>
                      <a:pt x="15" y="96"/>
                    </a:cubicBezTo>
                    <a:cubicBezTo>
                      <a:pt x="15" y="101"/>
                      <a:pt x="16" y="106"/>
                      <a:pt x="20" y="109"/>
                    </a:cubicBezTo>
                    <a:cubicBezTo>
                      <a:pt x="31" y="118"/>
                      <a:pt x="73" y="156"/>
                      <a:pt x="73" y="156"/>
                    </a:cubicBezTo>
                    <a:cubicBezTo>
                      <a:pt x="75" y="158"/>
                      <a:pt x="78" y="157"/>
                      <a:pt x="79" y="156"/>
                    </a:cubicBezTo>
                    <a:cubicBezTo>
                      <a:pt x="80" y="154"/>
                      <a:pt x="81" y="151"/>
                      <a:pt x="79" y="150"/>
                    </a:cubicBezTo>
                    <a:cubicBezTo>
                      <a:pt x="79" y="150"/>
                      <a:pt x="27" y="103"/>
                      <a:pt x="27" y="103"/>
                    </a:cubicBezTo>
                    <a:cubicBezTo>
                      <a:pt x="25" y="101"/>
                      <a:pt x="23" y="96"/>
                      <a:pt x="27" y="91"/>
                    </a:cubicBezTo>
                    <a:cubicBezTo>
                      <a:pt x="30" y="87"/>
                      <a:pt x="36" y="87"/>
                      <a:pt x="40" y="89"/>
                    </a:cubicBezTo>
                    <a:cubicBezTo>
                      <a:pt x="40" y="89"/>
                      <a:pt x="105" y="133"/>
                      <a:pt x="131" y="151"/>
                    </a:cubicBezTo>
                    <a:cubicBezTo>
                      <a:pt x="134" y="152"/>
                      <a:pt x="135" y="155"/>
                      <a:pt x="135" y="159"/>
                    </a:cubicBezTo>
                    <a:cubicBezTo>
                      <a:pt x="135" y="159"/>
                      <a:pt x="135" y="159"/>
                      <a:pt x="135" y="159"/>
                    </a:cubicBezTo>
                    <a:cubicBezTo>
                      <a:pt x="135" y="182"/>
                      <a:pt x="135" y="219"/>
                      <a:pt x="135" y="219"/>
                    </a:cubicBezTo>
                    <a:cubicBezTo>
                      <a:pt x="68" y="219"/>
                      <a:pt x="68" y="219"/>
                      <a:pt x="68" y="219"/>
                    </a:cubicBezTo>
                    <a:cubicBezTo>
                      <a:pt x="68" y="219"/>
                      <a:pt x="68" y="216"/>
                      <a:pt x="68" y="203"/>
                    </a:cubicBezTo>
                    <a:cubicBezTo>
                      <a:pt x="68" y="194"/>
                      <a:pt x="64" y="193"/>
                      <a:pt x="61" y="191"/>
                    </a:cubicBezTo>
                    <a:cubicBezTo>
                      <a:pt x="51" y="184"/>
                      <a:pt x="32" y="170"/>
                      <a:pt x="22" y="163"/>
                    </a:cubicBezTo>
                    <a:cubicBezTo>
                      <a:pt x="11" y="156"/>
                      <a:pt x="0" y="146"/>
                      <a:pt x="0" y="11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6"/>
                      <a:pt x="4" y="1"/>
                      <a:pt x="11" y="0"/>
                    </a:cubicBezTo>
                    <a:close/>
                    <a:moveTo>
                      <a:pt x="267" y="0"/>
                    </a:moveTo>
                    <a:cubicBezTo>
                      <a:pt x="261" y="0"/>
                      <a:pt x="257" y="5"/>
                      <a:pt x="256" y="12"/>
                    </a:cubicBezTo>
                    <a:cubicBezTo>
                      <a:pt x="256" y="82"/>
                      <a:pt x="256" y="82"/>
                      <a:pt x="256" y="82"/>
                    </a:cubicBezTo>
                    <a:cubicBezTo>
                      <a:pt x="261" y="86"/>
                      <a:pt x="263" y="90"/>
                      <a:pt x="263" y="96"/>
                    </a:cubicBezTo>
                    <a:cubicBezTo>
                      <a:pt x="263" y="101"/>
                      <a:pt x="262" y="106"/>
                      <a:pt x="258" y="109"/>
                    </a:cubicBezTo>
                    <a:cubicBezTo>
                      <a:pt x="247" y="118"/>
                      <a:pt x="205" y="156"/>
                      <a:pt x="205" y="156"/>
                    </a:cubicBezTo>
                    <a:cubicBezTo>
                      <a:pt x="203" y="158"/>
                      <a:pt x="200" y="157"/>
                      <a:pt x="199" y="156"/>
                    </a:cubicBezTo>
                    <a:cubicBezTo>
                      <a:pt x="198" y="154"/>
                      <a:pt x="197" y="151"/>
                      <a:pt x="199" y="150"/>
                    </a:cubicBezTo>
                    <a:cubicBezTo>
                      <a:pt x="199" y="150"/>
                      <a:pt x="251" y="103"/>
                      <a:pt x="251" y="103"/>
                    </a:cubicBezTo>
                    <a:cubicBezTo>
                      <a:pt x="253" y="101"/>
                      <a:pt x="255" y="96"/>
                      <a:pt x="251" y="91"/>
                    </a:cubicBezTo>
                    <a:cubicBezTo>
                      <a:pt x="248" y="87"/>
                      <a:pt x="242" y="87"/>
                      <a:pt x="238" y="89"/>
                    </a:cubicBezTo>
                    <a:cubicBezTo>
                      <a:pt x="238" y="89"/>
                      <a:pt x="173" y="133"/>
                      <a:pt x="147" y="151"/>
                    </a:cubicBezTo>
                    <a:cubicBezTo>
                      <a:pt x="144" y="152"/>
                      <a:pt x="143" y="155"/>
                      <a:pt x="143" y="159"/>
                    </a:cubicBezTo>
                    <a:cubicBezTo>
                      <a:pt x="143" y="159"/>
                      <a:pt x="143" y="159"/>
                      <a:pt x="143" y="159"/>
                    </a:cubicBezTo>
                    <a:cubicBezTo>
                      <a:pt x="143" y="182"/>
                      <a:pt x="143" y="219"/>
                      <a:pt x="143" y="219"/>
                    </a:cubicBezTo>
                    <a:cubicBezTo>
                      <a:pt x="210" y="219"/>
                      <a:pt x="210" y="219"/>
                      <a:pt x="210" y="219"/>
                    </a:cubicBezTo>
                    <a:cubicBezTo>
                      <a:pt x="210" y="219"/>
                      <a:pt x="210" y="216"/>
                      <a:pt x="210" y="203"/>
                    </a:cubicBezTo>
                    <a:cubicBezTo>
                      <a:pt x="210" y="194"/>
                      <a:pt x="214" y="193"/>
                      <a:pt x="216" y="191"/>
                    </a:cubicBezTo>
                    <a:cubicBezTo>
                      <a:pt x="227" y="184"/>
                      <a:pt x="246" y="170"/>
                      <a:pt x="256" y="163"/>
                    </a:cubicBezTo>
                    <a:cubicBezTo>
                      <a:pt x="267" y="156"/>
                      <a:pt x="278" y="146"/>
                      <a:pt x="278" y="115"/>
                    </a:cubicBezTo>
                    <a:cubicBezTo>
                      <a:pt x="278" y="115"/>
                      <a:pt x="278" y="115"/>
                      <a:pt x="278" y="115"/>
                    </a:cubicBezTo>
                    <a:cubicBezTo>
                      <a:pt x="278" y="12"/>
                      <a:pt x="278" y="12"/>
                      <a:pt x="278" y="12"/>
                    </a:cubicBezTo>
                    <a:cubicBezTo>
                      <a:pt x="278" y="12"/>
                      <a:pt x="278" y="12"/>
                      <a:pt x="278" y="12"/>
                    </a:cubicBezTo>
                    <a:cubicBezTo>
                      <a:pt x="278" y="6"/>
                      <a:pt x="274" y="1"/>
                      <a:pt x="267" y="0"/>
                    </a:cubicBezTo>
                    <a:close/>
                  </a:path>
                </a:pathLst>
              </a:custGeom>
              <a:solidFill>
                <a:srgbClr val="007D40"/>
              </a:solidFill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/>
              <a:p>
                <a:pPr defTabSz="1219170">
                  <a:buClr>
                    <a:srgbClr val="000000"/>
                  </a:buClr>
                  <a:buSzPts val="1350"/>
                </a:pPr>
                <a:endParaRPr kern="0" dirty="0">
                  <a:solidFill>
                    <a:srgbClr val="555555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800" name="Google Shape;800;p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0157821" y="853076"/>
              <a:ext cx="341539" cy="5174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01" name="Google Shape;801;p2"/>
            <p:cNvSpPr/>
            <p:nvPr/>
          </p:nvSpPr>
          <p:spPr>
            <a:xfrm rot="10800000" flipH="1">
              <a:off x="6686448" y="2950431"/>
              <a:ext cx="155959" cy="155959"/>
            </a:xfrm>
            <a:prstGeom prst="ellipse">
              <a:avLst/>
            </a:prstGeom>
            <a:solidFill>
              <a:srgbClr val="B7E2B4"/>
            </a:solidFill>
            <a:ln>
              <a:noFill/>
            </a:ln>
          </p:spPr>
          <p:txBody>
            <a:bodyPr spcFirstLastPara="1" wrap="square" lIns="72000" tIns="72000" rIns="72000" bIns="72000" anchor="ctr" anchorCtr="0">
              <a:noAutofit/>
            </a:bodyPr>
            <a:lstStyle/>
            <a:p>
              <a:pPr marL="179992" indent="-91094" algn="ctr" defTabSz="1219170">
                <a:buClr>
                  <a:srgbClr val="000000"/>
                </a:buClr>
                <a:buSzPts val="1050"/>
              </a:pPr>
              <a:endParaRPr sz="1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02" name="Google Shape;802;p2"/>
          <p:cNvSpPr/>
          <p:nvPr/>
        </p:nvSpPr>
        <p:spPr>
          <a:xfrm>
            <a:off x="226524" y="1249906"/>
            <a:ext cx="6096000" cy="69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defTabSz="1219170">
              <a:buClr>
                <a:srgbClr val="535958"/>
              </a:buClr>
              <a:buSzPts val="1400"/>
            </a:pPr>
            <a:r>
              <a:rPr lang="de-DE" sz="1867" kern="0" dirty="0">
                <a:solidFill>
                  <a:srgbClr val="535958"/>
                </a:solidFill>
                <a:latin typeface="Arial"/>
                <a:ea typeface="Arial"/>
                <a:cs typeface="Arial"/>
                <a:sym typeface="Arial"/>
              </a:rPr>
              <a:t>DEKRA</a:t>
            </a:r>
            <a:r>
              <a:rPr lang="sr-Latn-RS" sz="1867" b="1" kern="0" dirty="0">
                <a:solidFill>
                  <a:srgbClr val="535958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sr-Latn-RS" sz="1867" kern="0" dirty="0">
                <a:solidFill>
                  <a:srgbClr val="535958"/>
                </a:solidFill>
                <a:latin typeface="Arial"/>
                <a:ea typeface="Arial"/>
                <a:cs typeface="Arial"/>
                <a:sym typeface="Arial"/>
              </a:rPr>
              <a:t>misija je da globalno i lokalno doprinese kako bi priroda i društvo postali </a:t>
            </a:r>
            <a:r>
              <a:rPr lang="sr-Latn-RS" sz="1867" b="1" kern="0" dirty="0">
                <a:solidFill>
                  <a:srgbClr val="535958"/>
                </a:solidFill>
                <a:latin typeface="Arial"/>
                <a:ea typeface="Arial"/>
                <a:cs typeface="Arial"/>
                <a:sym typeface="Arial"/>
              </a:rPr>
              <a:t>bezbedniji i održivi</a:t>
            </a:r>
            <a:endParaRPr sz="1867" b="1" kern="0" dirty="0">
              <a:solidFill>
                <a:srgbClr val="18181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03" name="Google Shape;803;p2" descr="Une image contenant ordinateur&#10;&#10;Description générée automatiquement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797919" y="2738140"/>
            <a:ext cx="370443" cy="37044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04" name="Google Shape;804;p2"/>
          <p:cNvGrpSpPr/>
          <p:nvPr/>
        </p:nvGrpSpPr>
        <p:grpSpPr>
          <a:xfrm>
            <a:off x="7685647" y="5706195"/>
            <a:ext cx="4360317" cy="1050648"/>
            <a:chOff x="4977942" y="4073399"/>
            <a:chExt cx="4087797" cy="984982"/>
          </a:xfrm>
        </p:grpSpPr>
        <p:pic>
          <p:nvPicPr>
            <p:cNvPr id="805" name="Google Shape;805;p2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7054854" y="4074497"/>
              <a:ext cx="561324" cy="9838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6" name="Google Shape;806;p2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7698021" y="4078340"/>
              <a:ext cx="1367718" cy="9800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7" name="Google Shape;807;p2" descr="Une image contenant table&#10;&#10;Description générée automatiquement"/>
            <p:cNvPicPr preferRelativeResize="0"/>
            <p:nvPr/>
          </p:nvPicPr>
          <p:blipFill rotWithShape="1">
            <a:blip r:embed="rId8">
              <a:alphaModFix/>
            </a:blip>
            <a:srcRect t="8135" b="18387"/>
            <a:stretch/>
          </p:blipFill>
          <p:spPr>
            <a:xfrm>
              <a:off x="4977942" y="4073399"/>
              <a:ext cx="1984418" cy="98003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808" name="Google Shape;808;p2" descr="Ville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839213" y="2512546"/>
            <a:ext cx="875468" cy="91312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09" name="Google Shape;809;p2"/>
          <p:cNvGrpSpPr/>
          <p:nvPr/>
        </p:nvGrpSpPr>
        <p:grpSpPr>
          <a:xfrm>
            <a:off x="6071303" y="4004063"/>
            <a:ext cx="779253" cy="766632"/>
            <a:chOff x="3339849" y="1619474"/>
            <a:chExt cx="738982" cy="690034"/>
          </a:xfrm>
        </p:grpSpPr>
        <p:sp>
          <p:nvSpPr>
            <p:cNvPr id="810" name="Google Shape;810;p2"/>
            <p:cNvSpPr/>
            <p:nvPr/>
          </p:nvSpPr>
          <p:spPr>
            <a:xfrm>
              <a:off x="3705513" y="2168747"/>
              <a:ext cx="148409" cy="140761"/>
            </a:xfrm>
            <a:custGeom>
              <a:avLst/>
              <a:gdLst/>
              <a:ahLst/>
              <a:cxnLst/>
              <a:rect l="l" t="t" r="r" b="b"/>
              <a:pathLst>
                <a:path w="94" h="89" extrusionOk="0">
                  <a:moveTo>
                    <a:pt x="91" y="61"/>
                  </a:moveTo>
                  <a:cubicBezTo>
                    <a:pt x="91" y="61"/>
                    <a:pt x="91" y="61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1"/>
                  </a:cubicBezTo>
                  <a:cubicBezTo>
                    <a:pt x="24" y="1"/>
                    <a:pt x="22" y="0"/>
                    <a:pt x="20" y="0"/>
                  </a:cubicBezTo>
                  <a:cubicBezTo>
                    <a:pt x="19" y="0"/>
                    <a:pt x="17" y="1"/>
                    <a:pt x="15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2" y="16"/>
                    <a:pt x="2" y="16"/>
                    <a:pt x="1" y="17"/>
                  </a:cubicBezTo>
                  <a:cubicBezTo>
                    <a:pt x="0" y="21"/>
                    <a:pt x="1" y="25"/>
                    <a:pt x="3" y="28"/>
                  </a:cubicBezTo>
                  <a:cubicBezTo>
                    <a:pt x="3" y="28"/>
                    <a:pt x="4" y="28"/>
                    <a:pt x="4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8" y="87"/>
                    <a:pt x="70" y="88"/>
                    <a:pt x="72" y="88"/>
                  </a:cubicBezTo>
                  <a:cubicBezTo>
                    <a:pt x="73" y="89"/>
                    <a:pt x="75" y="89"/>
                    <a:pt x="77" y="88"/>
                  </a:cubicBezTo>
                  <a:cubicBezTo>
                    <a:pt x="79" y="88"/>
                    <a:pt x="80" y="87"/>
                    <a:pt x="82" y="85"/>
                  </a:cubicBezTo>
                  <a:cubicBezTo>
                    <a:pt x="84" y="83"/>
                    <a:pt x="84" y="83"/>
                    <a:pt x="84" y="83"/>
                  </a:cubicBezTo>
                  <a:cubicBezTo>
                    <a:pt x="89" y="77"/>
                    <a:pt x="89" y="77"/>
                    <a:pt x="89" y="77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1" y="75"/>
                    <a:pt x="91" y="75"/>
                    <a:pt x="91" y="75"/>
                  </a:cubicBezTo>
                  <a:cubicBezTo>
                    <a:pt x="91" y="75"/>
                    <a:pt x="92" y="74"/>
                    <a:pt x="92" y="74"/>
                  </a:cubicBezTo>
                  <a:cubicBezTo>
                    <a:pt x="93" y="72"/>
                    <a:pt x="94" y="71"/>
                    <a:pt x="94" y="69"/>
                  </a:cubicBezTo>
                  <a:cubicBezTo>
                    <a:pt x="94" y="67"/>
                    <a:pt x="94" y="65"/>
                    <a:pt x="93" y="64"/>
                  </a:cubicBezTo>
                  <a:cubicBezTo>
                    <a:pt x="92" y="63"/>
                    <a:pt x="92" y="62"/>
                    <a:pt x="91" y="6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1" name="Google Shape;811;p2"/>
            <p:cNvSpPr/>
            <p:nvPr/>
          </p:nvSpPr>
          <p:spPr>
            <a:xfrm>
              <a:off x="3748354" y="1810726"/>
              <a:ext cx="330477" cy="454413"/>
            </a:xfrm>
            <a:custGeom>
              <a:avLst/>
              <a:gdLst/>
              <a:ahLst/>
              <a:cxnLst/>
              <a:rect l="l" t="t" r="r" b="b"/>
              <a:pathLst>
                <a:path w="209" h="287" extrusionOk="0">
                  <a:moveTo>
                    <a:pt x="205" y="115"/>
                  </a:moveTo>
                  <a:cubicBezTo>
                    <a:pt x="203" y="114"/>
                    <a:pt x="202" y="112"/>
                    <a:pt x="200" y="111"/>
                  </a:cubicBezTo>
                  <a:cubicBezTo>
                    <a:pt x="199" y="110"/>
                    <a:pt x="198" y="110"/>
                    <a:pt x="197" y="109"/>
                  </a:cubicBezTo>
                  <a:cubicBezTo>
                    <a:pt x="197" y="109"/>
                    <a:pt x="196" y="109"/>
                    <a:pt x="195" y="108"/>
                  </a:cubicBezTo>
                  <a:cubicBezTo>
                    <a:pt x="195" y="108"/>
                    <a:pt x="195" y="108"/>
                    <a:pt x="195" y="108"/>
                  </a:cubicBezTo>
                  <a:cubicBezTo>
                    <a:pt x="195" y="108"/>
                    <a:pt x="195" y="108"/>
                    <a:pt x="195" y="108"/>
                  </a:cubicBezTo>
                  <a:cubicBezTo>
                    <a:pt x="196" y="108"/>
                    <a:pt x="197" y="108"/>
                    <a:pt x="197" y="107"/>
                  </a:cubicBezTo>
                  <a:cubicBezTo>
                    <a:pt x="198" y="107"/>
                    <a:pt x="199" y="107"/>
                    <a:pt x="201" y="106"/>
                  </a:cubicBezTo>
                  <a:cubicBezTo>
                    <a:pt x="203" y="106"/>
                    <a:pt x="205" y="104"/>
                    <a:pt x="206" y="102"/>
                  </a:cubicBezTo>
                  <a:cubicBezTo>
                    <a:pt x="209" y="98"/>
                    <a:pt x="209" y="93"/>
                    <a:pt x="209" y="89"/>
                  </a:cubicBezTo>
                  <a:cubicBezTo>
                    <a:pt x="209" y="84"/>
                    <a:pt x="208" y="80"/>
                    <a:pt x="205" y="76"/>
                  </a:cubicBezTo>
                  <a:cubicBezTo>
                    <a:pt x="204" y="74"/>
                    <a:pt x="202" y="73"/>
                    <a:pt x="200" y="71"/>
                  </a:cubicBezTo>
                  <a:cubicBezTo>
                    <a:pt x="199" y="71"/>
                    <a:pt x="198" y="70"/>
                    <a:pt x="197" y="70"/>
                  </a:cubicBezTo>
                  <a:cubicBezTo>
                    <a:pt x="197" y="69"/>
                    <a:pt x="196" y="69"/>
                    <a:pt x="196" y="69"/>
                  </a:cubicBezTo>
                  <a:cubicBezTo>
                    <a:pt x="196" y="69"/>
                    <a:pt x="195" y="69"/>
                    <a:pt x="195" y="69"/>
                  </a:cubicBezTo>
                  <a:cubicBezTo>
                    <a:pt x="195" y="27"/>
                    <a:pt x="195" y="27"/>
                    <a:pt x="195" y="27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195" y="8"/>
                    <a:pt x="195" y="8"/>
                    <a:pt x="195" y="8"/>
                  </a:cubicBezTo>
                  <a:cubicBezTo>
                    <a:pt x="195" y="8"/>
                    <a:pt x="195" y="7"/>
                    <a:pt x="195" y="6"/>
                  </a:cubicBezTo>
                  <a:cubicBezTo>
                    <a:pt x="194" y="3"/>
                    <a:pt x="192" y="1"/>
                    <a:pt x="189" y="0"/>
                  </a:cubicBezTo>
                  <a:cubicBezTo>
                    <a:pt x="188" y="0"/>
                    <a:pt x="188" y="0"/>
                    <a:pt x="187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8" y="0"/>
                  </a:cubicBezTo>
                  <a:cubicBezTo>
                    <a:pt x="87" y="0"/>
                    <a:pt x="85" y="1"/>
                    <a:pt x="84" y="2"/>
                  </a:cubicBezTo>
                  <a:cubicBezTo>
                    <a:pt x="83" y="3"/>
                    <a:pt x="82" y="4"/>
                    <a:pt x="82" y="5"/>
                  </a:cubicBezTo>
                  <a:cubicBezTo>
                    <a:pt x="81" y="6"/>
                    <a:pt x="81" y="7"/>
                    <a:pt x="81" y="7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79" y="35"/>
                    <a:pt x="78" y="36"/>
                    <a:pt x="77" y="37"/>
                  </a:cubicBezTo>
                  <a:cubicBezTo>
                    <a:pt x="76" y="37"/>
                    <a:pt x="76" y="38"/>
                    <a:pt x="75" y="38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2" y="104"/>
                    <a:pt x="22" y="104"/>
                    <a:pt x="22" y="104"/>
                  </a:cubicBezTo>
                  <a:cubicBezTo>
                    <a:pt x="22" y="105"/>
                    <a:pt x="21" y="106"/>
                    <a:pt x="20" y="107"/>
                  </a:cubicBezTo>
                  <a:cubicBezTo>
                    <a:pt x="18" y="109"/>
                    <a:pt x="17" y="111"/>
                    <a:pt x="16" y="113"/>
                  </a:cubicBezTo>
                  <a:cubicBezTo>
                    <a:pt x="13" y="118"/>
                    <a:pt x="11" y="122"/>
                    <a:pt x="9" y="128"/>
                  </a:cubicBezTo>
                  <a:cubicBezTo>
                    <a:pt x="9" y="130"/>
                    <a:pt x="8" y="133"/>
                    <a:pt x="8" y="136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215"/>
                    <a:pt x="8" y="215"/>
                    <a:pt x="8" y="215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40" y="262"/>
                    <a:pt x="40" y="262"/>
                    <a:pt x="40" y="262"/>
                  </a:cubicBezTo>
                  <a:cubicBezTo>
                    <a:pt x="59" y="279"/>
                    <a:pt x="59" y="279"/>
                    <a:pt x="59" y="279"/>
                  </a:cubicBezTo>
                  <a:cubicBezTo>
                    <a:pt x="64" y="283"/>
                    <a:pt x="64" y="283"/>
                    <a:pt x="64" y="283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7" y="287"/>
                    <a:pt x="67" y="287"/>
                    <a:pt x="67" y="287"/>
                  </a:cubicBezTo>
                  <a:cubicBezTo>
                    <a:pt x="68" y="287"/>
                    <a:pt x="68" y="287"/>
                    <a:pt x="68" y="287"/>
                  </a:cubicBezTo>
                  <a:cubicBezTo>
                    <a:pt x="68" y="287"/>
                    <a:pt x="68" y="287"/>
                    <a:pt x="68" y="287"/>
                  </a:cubicBezTo>
                  <a:cubicBezTo>
                    <a:pt x="70" y="286"/>
                    <a:pt x="70" y="286"/>
                    <a:pt x="70" y="286"/>
                  </a:cubicBezTo>
                  <a:cubicBezTo>
                    <a:pt x="72" y="286"/>
                    <a:pt x="72" y="286"/>
                    <a:pt x="72" y="286"/>
                  </a:cubicBezTo>
                  <a:cubicBezTo>
                    <a:pt x="76" y="284"/>
                    <a:pt x="80" y="282"/>
                    <a:pt x="84" y="281"/>
                  </a:cubicBezTo>
                  <a:cubicBezTo>
                    <a:pt x="92" y="277"/>
                    <a:pt x="100" y="273"/>
                    <a:pt x="107" y="268"/>
                  </a:cubicBezTo>
                  <a:cubicBezTo>
                    <a:pt x="115" y="264"/>
                    <a:pt x="122" y="258"/>
                    <a:pt x="128" y="252"/>
                  </a:cubicBezTo>
                  <a:cubicBezTo>
                    <a:pt x="134" y="246"/>
                    <a:pt x="140" y="239"/>
                    <a:pt x="144" y="231"/>
                  </a:cubicBezTo>
                  <a:cubicBezTo>
                    <a:pt x="148" y="224"/>
                    <a:pt x="151" y="215"/>
                    <a:pt x="152" y="207"/>
                  </a:cubicBezTo>
                  <a:cubicBezTo>
                    <a:pt x="180" y="207"/>
                    <a:pt x="180" y="207"/>
                    <a:pt x="180" y="207"/>
                  </a:cubicBezTo>
                  <a:cubicBezTo>
                    <a:pt x="184" y="207"/>
                    <a:pt x="184" y="207"/>
                    <a:pt x="184" y="207"/>
                  </a:cubicBezTo>
                  <a:cubicBezTo>
                    <a:pt x="186" y="207"/>
                    <a:pt x="186" y="207"/>
                    <a:pt x="186" y="207"/>
                  </a:cubicBezTo>
                  <a:cubicBezTo>
                    <a:pt x="187" y="207"/>
                    <a:pt x="187" y="207"/>
                    <a:pt x="187" y="207"/>
                  </a:cubicBezTo>
                  <a:cubicBezTo>
                    <a:pt x="187" y="207"/>
                    <a:pt x="188" y="207"/>
                    <a:pt x="188" y="207"/>
                  </a:cubicBezTo>
                  <a:cubicBezTo>
                    <a:pt x="191" y="206"/>
                    <a:pt x="194" y="204"/>
                    <a:pt x="195" y="201"/>
                  </a:cubicBezTo>
                  <a:cubicBezTo>
                    <a:pt x="195" y="200"/>
                    <a:pt x="195" y="200"/>
                    <a:pt x="195" y="199"/>
                  </a:cubicBezTo>
                  <a:cubicBezTo>
                    <a:pt x="195" y="198"/>
                    <a:pt x="195" y="198"/>
                    <a:pt x="195" y="198"/>
                  </a:cubicBezTo>
                  <a:cubicBezTo>
                    <a:pt x="195" y="197"/>
                    <a:pt x="195" y="197"/>
                    <a:pt x="195" y="197"/>
                  </a:cubicBezTo>
                  <a:cubicBezTo>
                    <a:pt x="195" y="193"/>
                    <a:pt x="195" y="193"/>
                    <a:pt x="195" y="193"/>
                  </a:cubicBezTo>
                  <a:cubicBezTo>
                    <a:pt x="195" y="187"/>
                    <a:pt x="195" y="187"/>
                    <a:pt x="195" y="187"/>
                  </a:cubicBezTo>
                  <a:cubicBezTo>
                    <a:pt x="196" y="187"/>
                    <a:pt x="196" y="187"/>
                    <a:pt x="196" y="187"/>
                  </a:cubicBezTo>
                  <a:cubicBezTo>
                    <a:pt x="198" y="186"/>
                    <a:pt x="199" y="185"/>
                    <a:pt x="200" y="184"/>
                  </a:cubicBezTo>
                  <a:cubicBezTo>
                    <a:pt x="202" y="183"/>
                    <a:pt x="203" y="182"/>
                    <a:pt x="204" y="181"/>
                  </a:cubicBezTo>
                  <a:cubicBezTo>
                    <a:pt x="206" y="178"/>
                    <a:pt x="206" y="174"/>
                    <a:pt x="206" y="171"/>
                  </a:cubicBezTo>
                  <a:cubicBezTo>
                    <a:pt x="206" y="169"/>
                    <a:pt x="206" y="168"/>
                    <a:pt x="205" y="166"/>
                  </a:cubicBezTo>
                  <a:cubicBezTo>
                    <a:pt x="205" y="164"/>
                    <a:pt x="204" y="163"/>
                    <a:pt x="203" y="162"/>
                  </a:cubicBezTo>
                  <a:cubicBezTo>
                    <a:pt x="202" y="160"/>
                    <a:pt x="200" y="159"/>
                    <a:pt x="199" y="158"/>
                  </a:cubicBezTo>
                  <a:cubicBezTo>
                    <a:pt x="198" y="158"/>
                    <a:pt x="197" y="158"/>
                    <a:pt x="196" y="157"/>
                  </a:cubicBezTo>
                  <a:cubicBezTo>
                    <a:pt x="196" y="157"/>
                    <a:pt x="196" y="157"/>
                    <a:pt x="195" y="157"/>
                  </a:cubicBezTo>
                  <a:cubicBezTo>
                    <a:pt x="195" y="157"/>
                    <a:pt x="195" y="157"/>
                    <a:pt x="195" y="157"/>
                  </a:cubicBezTo>
                  <a:cubicBezTo>
                    <a:pt x="196" y="156"/>
                    <a:pt x="197" y="156"/>
                    <a:pt x="198" y="156"/>
                  </a:cubicBezTo>
                  <a:cubicBezTo>
                    <a:pt x="201" y="155"/>
                    <a:pt x="203" y="154"/>
                    <a:pt x="204" y="152"/>
                  </a:cubicBezTo>
                  <a:cubicBezTo>
                    <a:pt x="205" y="150"/>
                    <a:pt x="206" y="148"/>
                    <a:pt x="207" y="146"/>
                  </a:cubicBezTo>
                  <a:cubicBezTo>
                    <a:pt x="208" y="144"/>
                    <a:pt x="208" y="142"/>
                    <a:pt x="208" y="140"/>
                  </a:cubicBezTo>
                  <a:cubicBezTo>
                    <a:pt x="209" y="136"/>
                    <a:pt x="209" y="132"/>
                    <a:pt x="209" y="127"/>
                  </a:cubicBezTo>
                  <a:cubicBezTo>
                    <a:pt x="209" y="125"/>
                    <a:pt x="209" y="123"/>
                    <a:pt x="208" y="121"/>
                  </a:cubicBezTo>
                  <a:cubicBezTo>
                    <a:pt x="207" y="119"/>
                    <a:pt x="206" y="117"/>
                    <a:pt x="205" y="115"/>
                  </a:cubicBezTo>
                  <a:close/>
                  <a:moveTo>
                    <a:pt x="191" y="85"/>
                  </a:moveTo>
                  <a:cubicBezTo>
                    <a:pt x="191" y="85"/>
                    <a:pt x="192" y="85"/>
                    <a:pt x="192" y="85"/>
                  </a:cubicBezTo>
                  <a:cubicBezTo>
                    <a:pt x="192" y="85"/>
                    <a:pt x="193" y="84"/>
                    <a:pt x="193" y="84"/>
                  </a:cubicBezTo>
                  <a:cubicBezTo>
                    <a:pt x="195" y="84"/>
                    <a:pt x="195" y="84"/>
                    <a:pt x="195" y="84"/>
                  </a:cubicBezTo>
                  <a:cubicBezTo>
                    <a:pt x="195" y="83"/>
                    <a:pt x="195" y="83"/>
                    <a:pt x="195" y="83"/>
                  </a:cubicBezTo>
                  <a:cubicBezTo>
                    <a:pt x="195" y="78"/>
                    <a:pt x="195" y="78"/>
                    <a:pt x="195" y="78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6" y="73"/>
                    <a:pt x="196" y="73"/>
                    <a:pt x="196" y="73"/>
                  </a:cubicBezTo>
                  <a:cubicBezTo>
                    <a:pt x="197" y="73"/>
                    <a:pt x="198" y="74"/>
                    <a:pt x="198" y="74"/>
                  </a:cubicBezTo>
                  <a:cubicBezTo>
                    <a:pt x="200" y="75"/>
                    <a:pt x="201" y="77"/>
                    <a:pt x="203" y="78"/>
                  </a:cubicBezTo>
                  <a:cubicBezTo>
                    <a:pt x="205" y="81"/>
                    <a:pt x="206" y="85"/>
                    <a:pt x="206" y="89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6" y="90"/>
                    <a:pt x="206" y="90"/>
                    <a:pt x="206" y="90"/>
                  </a:cubicBezTo>
                  <a:cubicBezTo>
                    <a:pt x="206" y="90"/>
                    <a:pt x="206" y="90"/>
                    <a:pt x="206" y="90"/>
                  </a:cubicBezTo>
                  <a:cubicBezTo>
                    <a:pt x="206" y="90"/>
                    <a:pt x="206" y="90"/>
                    <a:pt x="206" y="91"/>
                  </a:cubicBezTo>
                  <a:cubicBezTo>
                    <a:pt x="206" y="91"/>
                    <a:pt x="206" y="91"/>
                    <a:pt x="206" y="92"/>
                  </a:cubicBezTo>
                  <a:cubicBezTo>
                    <a:pt x="206" y="93"/>
                    <a:pt x="206" y="94"/>
                    <a:pt x="205" y="95"/>
                  </a:cubicBezTo>
                  <a:cubicBezTo>
                    <a:pt x="205" y="97"/>
                    <a:pt x="204" y="98"/>
                    <a:pt x="203" y="100"/>
                  </a:cubicBezTo>
                  <a:cubicBezTo>
                    <a:pt x="202" y="101"/>
                    <a:pt x="201" y="103"/>
                    <a:pt x="199" y="103"/>
                  </a:cubicBezTo>
                  <a:cubicBezTo>
                    <a:pt x="198" y="104"/>
                    <a:pt x="197" y="104"/>
                    <a:pt x="197" y="104"/>
                  </a:cubicBezTo>
                  <a:cubicBezTo>
                    <a:pt x="196" y="104"/>
                    <a:pt x="196" y="104"/>
                    <a:pt x="195" y="104"/>
                  </a:cubicBezTo>
                  <a:cubicBezTo>
                    <a:pt x="195" y="104"/>
                    <a:pt x="195" y="104"/>
                    <a:pt x="194" y="104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3" y="104"/>
                    <a:pt x="193" y="104"/>
                    <a:pt x="193" y="104"/>
                  </a:cubicBezTo>
                  <a:cubicBezTo>
                    <a:pt x="193" y="104"/>
                    <a:pt x="193" y="104"/>
                    <a:pt x="193" y="104"/>
                  </a:cubicBezTo>
                  <a:cubicBezTo>
                    <a:pt x="192" y="105"/>
                    <a:pt x="191" y="104"/>
                    <a:pt x="190" y="104"/>
                  </a:cubicBezTo>
                  <a:cubicBezTo>
                    <a:pt x="189" y="104"/>
                    <a:pt x="189" y="103"/>
                    <a:pt x="188" y="102"/>
                  </a:cubicBezTo>
                  <a:cubicBezTo>
                    <a:pt x="187" y="100"/>
                    <a:pt x="187" y="97"/>
                    <a:pt x="187" y="95"/>
                  </a:cubicBezTo>
                  <a:cubicBezTo>
                    <a:pt x="187" y="92"/>
                    <a:pt x="187" y="90"/>
                    <a:pt x="189" y="88"/>
                  </a:cubicBezTo>
                  <a:cubicBezTo>
                    <a:pt x="189" y="87"/>
                    <a:pt x="190" y="86"/>
                    <a:pt x="191" y="85"/>
                  </a:cubicBezTo>
                  <a:close/>
                  <a:moveTo>
                    <a:pt x="192" y="108"/>
                  </a:moveTo>
                  <a:cubicBezTo>
                    <a:pt x="192" y="126"/>
                    <a:pt x="192" y="126"/>
                    <a:pt x="192" y="126"/>
                  </a:cubicBezTo>
                  <a:cubicBezTo>
                    <a:pt x="191" y="126"/>
                    <a:pt x="191" y="126"/>
                    <a:pt x="191" y="127"/>
                  </a:cubicBezTo>
                  <a:cubicBezTo>
                    <a:pt x="191" y="108"/>
                    <a:pt x="191" y="108"/>
                    <a:pt x="191" y="108"/>
                  </a:cubicBezTo>
                  <a:cubicBezTo>
                    <a:pt x="191" y="108"/>
                    <a:pt x="191" y="108"/>
                    <a:pt x="192" y="108"/>
                  </a:cubicBezTo>
                  <a:close/>
                  <a:moveTo>
                    <a:pt x="139" y="228"/>
                  </a:moveTo>
                  <a:cubicBezTo>
                    <a:pt x="135" y="235"/>
                    <a:pt x="130" y="242"/>
                    <a:pt x="124" y="248"/>
                  </a:cubicBezTo>
                  <a:cubicBezTo>
                    <a:pt x="118" y="254"/>
                    <a:pt x="111" y="259"/>
                    <a:pt x="104" y="263"/>
                  </a:cubicBezTo>
                  <a:cubicBezTo>
                    <a:pt x="97" y="268"/>
                    <a:pt x="89" y="272"/>
                    <a:pt x="82" y="275"/>
                  </a:cubicBezTo>
                  <a:cubicBezTo>
                    <a:pt x="78" y="277"/>
                    <a:pt x="74" y="279"/>
                    <a:pt x="70" y="280"/>
                  </a:cubicBezTo>
                  <a:cubicBezTo>
                    <a:pt x="69" y="280"/>
                    <a:pt x="69" y="280"/>
                    <a:pt x="69" y="280"/>
                  </a:cubicBezTo>
                  <a:cubicBezTo>
                    <a:pt x="68" y="279"/>
                    <a:pt x="68" y="279"/>
                    <a:pt x="68" y="279"/>
                  </a:cubicBezTo>
                  <a:cubicBezTo>
                    <a:pt x="63" y="275"/>
                    <a:pt x="63" y="275"/>
                    <a:pt x="63" y="275"/>
                  </a:cubicBezTo>
                  <a:cubicBezTo>
                    <a:pt x="44" y="257"/>
                    <a:pt x="44" y="257"/>
                    <a:pt x="44" y="257"/>
                  </a:cubicBezTo>
                  <a:cubicBezTo>
                    <a:pt x="8" y="224"/>
                    <a:pt x="8" y="224"/>
                    <a:pt x="8" y="224"/>
                  </a:cubicBezTo>
                  <a:cubicBezTo>
                    <a:pt x="14" y="217"/>
                    <a:pt x="14" y="217"/>
                    <a:pt x="14" y="217"/>
                  </a:cubicBezTo>
                  <a:cubicBezTo>
                    <a:pt x="14" y="158"/>
                    <a:pt x="14" y="158"/>
                    <a:pt x="14" y="158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3"/>
                    <a:pt x="14" y="131"/>
                    <a:pt x="15" y="129"/>
                  </a:cubicBezTo>
                  <a:cubicBezTo>
                    <a:pt x="16" y="125"/>
                    <a:pt x="18" y="121"/>
                    <a:pt x="21" y="117"/>
                  </a:cubicBezTo>
                  <a:cubicBezTo>
                    <a:pt x="22" y="115"/>
                    <a:pt x="23" y="113"/>
                    <a:pt x="25" y="111"/>
                  </a:cubicBezTo>
                  <a:cubicBezTo>
                    <a:pt x="25" y="110"/>
                    <a:pt x="26" y="109"/>
                    <a:pt x="27" y="108"/>
                  </a:cubicBezTo>
                  <a:cubicBezTo>
                    <a:pt x="28" y="107"/>
                    <a:pt x="28" y="107"/>
                    <a:pt x="28" y="107"/>
                  </a:cubicBezTo>
                  <a:cubicBezTo>
                    <a:pt x="29" y="106"/>
                    <a:pt x="29" y="106"/>
                    <a:pt x="29" y="106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1" y="42"/>
                    <a:pt x="81" y="41"/>
                    <a:pt x="81" y="41"/>
                  </a:cubicBezTo>
                  <a:cubicBezTo>
                    <a:pt x="81" y="41"/>
                    <a:pt x="82" y="40"/>
                    <a:pt x="83" y="40"/>
                  </a:cubicBezTo>
                  <a:cubicBezTo>
                    <a:pt x="84" y="40"/>
                    <a:pt x="84" y="40"/>
                    <a:pt x="85" y="39"/>
                  </a:cubicBezTo>
                  <a:cubicBezTo>
                    <a:pt x="86" y="39"/>
                    <a:pt x="86" y="39"/>
                    <a:pt x="87" y="39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88" y="39"/>
                    <a:pt x="88" y="40"/>
                    <a:pt x="89" y="40"/>
                  </a:cubicBezTo>
                  <a:cubicBezTo>
                    <a:pt x="89" y="41"/>
                    <a:pt x="90" y="41"/>
                    <a:pt x="90" y="42"/>
                  </a:cubicBezTo>
                  <a:cubicBezTo>
                    <a:pt x="91" y="44"/>
                    <a:pt x="91" y="46"/>
                    <a:pt x="92" y="48"/>
                  </a:cubicBezTo>
                  <a:cubicBezTo>
                    <a:pt x="93" y="51"/>
                    <a:pt x="93" y="56"/>
                    <a:pt x="93" y="60"/>
                  </a:cubicBezTo>
                  <a:cubicBezTo>
                    <a:pt x="93" y="64"/>
                    <a:pt x="92" y="68"/>
                    <a:pt x="91" y="72"/>
                  </a:cubicBezTo>
                  <a:cubicBezTo>
                    <a:pt x="90" y="74"/>
                    <a:pt x="89" y="76"/>
                    <a:pt x="89" y="77"/>
                  </a:cubicBezTo>
                  <a:cubicBezTo>
                    <a:pt x="88" y="78"/>
                    <a:pt x="88" y="79"/>
                    <a:pt x="87" y="80"/>
                  </a:cubicBezTo>
                  <a:cubicBezTo>
                    <a:pt x="87" y="80"/>
                    <a:pt x="86" y="81"/>
                    <a:pt x="86" y="81"/>
                  </a:cubicBezTo>
                  <a:cubicBezTo>
                    <a:pt x="86" y="81"/>
                    <a:pt x="86" y="82"/>
                    <a:pt x="85" y="82"/>
                  </a:cubicBezTo>
                  <a:cubicBezTo>
                    <a:pt x="82" y="85"/>
                    <a:pt x="79" y="89"/>
                    <a:pt x="76" y="92"/>
                  </a:cubicBezTo>
                  <a:cubicBezTo>
                    <a:pt x="71" y="99"/>
                    <a:pt x="65" y="106"/>
                    <a:pt x="60" y="113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70" y="109"/>
                    <a:pt x="75" y="102"/>
                    <a:pt x="81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1" y="149"/>
                    <a:pt x="81" y="149"/>
                    <a:pt x="81" y="149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81" y="194"/>
                    <a:pt x="81" y="194"/>
                    <a:pt x="81" y="194"/>
                  </a:cubicBezTo>
                  <a:cubicBezTo>
                    <a:pt x="81" y="198"/>
                    <a:pt x="81" y="198"/>
                    <a:pt x="81" y="198"/>
                  </a:cubicBezTo>
                  <a:cubicBezTo>
                    <a:pt x="81" y="198"/>
                    <a:pt x="81" y="199"/>
                    <a:pt x="81" y="199"/>
                  </a:cubicBezTo>
                  <a:cubicBezTo>
                    <a:pt x="81" y="200"/>
                    <a:pt x="81" y="200"/>
                    <a:pt x="81" y="200"/>
                  </a:cubicBezTo>
                  <a:cubicBezTo>
                    <a:pt x="81" y="201"/>
                    <a:pt x="82" y="202"/>
                    <a:pt x="82" y="203"/>
                  </a:cubicBezTo>
                  <a:cubicBezTo>
                    <a:pt x="83" y="204"/>
                    <a:pt x="84" y="205"/>
                    <a:pt x="85" y="206"/>
                  </a:cubicBezTo>
                  <a:cubicBezTo>
                    <a:pt x="86" y="206"/>
                    <a:pt x="87" y="207"/>
                    <a:pt x="88" y="207"/>
                  </a:cubicBezTo>
                  <a:cubicBezTo>
                    <a:pt x="88" y="207"/>
                    <a:pt x="88" y="207"/>
                    <a:pt x="89" y="207"/>
                  </a:cubicBezTo>
                  <a:cubicBezTo>
                    <a:pt x="89" y="207"/>
                    <a:pt x="89" y="207"/>
                    <a:pt x="89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146" y="207"/>
                    <a:pt x="146" y="207"/>
                    <a:pt x="146" y="207"/>
                  </a:cubicBezTo>
                  <a:cubicBezTo>
                    <a:pt x="145" y="214"/>
                    <a:pt x="143" y="222"/>
                    <a:pt x="139" y="228"/>
                  </a:cubicBezTo>
                  <a:close/>
                  <a:moveTo>
                    <a:pt x="187" y="189"/>
                  </a:moveTo>
                  <a:cubicBezTo>
                    <a:pt x="89" y="189"/>
                    <a:pt x="89" y="189"/>
                    <a:pt x="89" y="189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89" y="86"/>
                    <a:pt x="89" y="86"/>
                    <a:pt x="89" y="86"/>
                  </a:cubicBezTo>
                  <a:cubicBezTo>
                    <a:pt x="90" y="86"/>
                    <a:pt x="90" y="85"/>
                    <a:pt x="91" y="85"/>
                  </a:cubicBezTo>
                  <a:cubicBezTo>
                    <a:pt x="91" y="84"/>
                    <a:pt x="91" y="84"/>
                    <a:pt x="92" y="83"/>
                  </a:cubicBezTo>
                  <a:cubicBezTo>
                    <a:pt x="93" y="82"/>
                    <a:pt x="93" y="81"/>
                    <a:pt x="94" y="80"/>
                  </a:cubicBezTo>
                  <a:cubicBezTo>
                    <a:pt x="95" y="78"/>
                    <a:pt x="96" y="76"/>
                    <a:pt x="96" y="74"/>
                  </a:cubicBezTo>
                  <a:cubicBezTo>
                    <a:pt x="98" y="69"/>
                    <a:pt x="99" y="65"/>
                    <a:pt x="99" y="60"/>
                  </a:cubicBezTo>
                  <a:cubicBezTo>
                    <a:pt x="99" y="55"/>
                    <a:pt x="99" y="51"/>
                    <a:pt x="98" y="46"/>
                  </a:cubicBezTo>
                  <a:cubicBezTo>
                    <a:pt x="97" y="44"/>
                    <a:pt x="97" y="42"/>
                    <a:pt x="95" y="39"/>
                  </a:cubicBezTo>
                  <a:cubicBezTo>
                    <a:pt x="95" y="38"/>
                    <a:pt x="94" y="37"/>
                    <a:pt x="93" y="36"/>
                  </a:cubicBezTo>
                  <a:cubicBezTo>
                    <a:pt x="93" y="35"/>
                    <a:pt x="92" y="35"/>
                    <a:pt x="91" y="34"/>
                  </a:cubicBezTo>
                  <a:cubicBezTo>
                    <a:pt x="91" y="34"/>
                    <a:pt x="90" y="34"/>
                    <a:pt x="89" y="34"/>
                  </a:cubicBezTo>
                  <a:cubicBezTo>
                    <a:pt x="89" y="10"/>
                    <a:pt x="89" y="10"/>
                    <a:pt x="89" y="10"/>
                  </a:cubicBezTo>
                  <a:cubicBezTo>
                    <a:pt x="187" y="10"/>
                    <a:pt x="187" y="10"/>
                    <a:pt x="187" y="10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6" y="85"/>
                    <a:pt x="186" y="85"/>
                    <a:pt x="186" y="86"/>
                  </a:cubicBezTo>
                  <a:cubicBezTo>
                    <a:pt x="184" y="89"/>
                    <a:pt x="183" y="92"/>
                    <a:pt x="183" y="95"/>
                  </a:cubicBezTo>
                  <a:cubicBezTo>
                    <a:pt x="183" y="96"/>
                    <a:pt x="183" y="98"/>
                    <a:pt x="184" y="99"/>
                  </a:cubicBezTo>
                  <a:cubicBezTo>
                    <a:pt x="184" y="101"/>
                    <a:pt x="184" y="102"/>
                    <a:pt x="185" y="104"/>
                  </a:cubicBezTo>
                  <a:cubicBezTo>
                    <a:pt x="186" y="104"/>
                    <a:pt x="186" y="105"/>
                    <a:pt x="187" y="106"/>
                  </a:cubicBezTo>
                  <a:cubicBezTo>
                    <a:pt x="187" y="129"/>
                    <a:pt x="187" y="129"/>
                    <a:pt x="187" y="129"/>
                  </a:cubicBezTo>
                  <a:cubicBezTo>
                    <a:pt x="185" y="130"/>
                    <a:pt x="184" y="132"/>
                    <a:pt x="183" y="134"/>
                  </a:cubicBezTo>
                  <a:cubicBezTo>
                    <a:pt x="181" y="138"/>
                    <a:pt x="181" y="143"/>
                    <a:pt x="182" y="147"/>
                  </a:cubicBezTo>
                  <a:cubicBezTo>
                    <a:pt x="183" y="149"/>
                    <a:pt x="184" y="151"/>
                    <a:pt x="186" y="153"/>
                  </a:cubicBezTo>
                  <a:cubicBezTo>
                    <a:pt x="186" y="153"/>
                    <a:pt x="187" y="154"/>
                    <a:pt x="187" y="154"/>
                  </a:cubicBezTo>
                  <a:cubicBezTo>
                    <a:pt x="187" y="166"/>
                    <a:pt x="187" y="166"/>
                    <a:pt x="187" y="166"/>
                  </a:cubicBezTo>
                  <a:cubicBezTo>
                    <a:pt x="186" y="167"/>
                    <a:pt x="185" y="168"/>
                    <a:pt x="184" y="169"/>
                  </a:cubicBezTo>
                  <a:cubicBezTo>
                    <a:pt x="183" y="170"/>
                    <a:pt x="182" y="171"/>
                    <a:pt x="181" y="173"/>
                  </a:cubicBezTo>
                  <a:cubicBezTo>
                    <a:pt x="181" y="174"/>
                    <a:pt x="181" y="176"/>
                    <a:pt x="181" y="178"/>
                  </a:cubicBezTo>
                  <a:cubicBezTo>
                    <a:pt x="181" y="180"/>
                    <a:pt x="181" y="181"/>
                    <a:pt x="182" y="183"/>
                  </a:cubicBezTo>
                  <a:cubicBezTo>
                    <a:pt x="183" y="185"/>
                    <a:pt x="184" y="186"/>
                    <a:pt x="186" y="187"/>
                  </a:cubicBezTo>
                  <a:cubicBezTo>
                    <a:pt x="186" y="187"/>
                    <a:pt x="187" y="187"/>
                    <a:pt x="187" y="188"/>
                  </a:cubicBezTo>
                  <a:lnTo>
                    <a:pt x="187" y="189"/>
                  </a:lnTo>
                  <a:close/>
                  <a:moveTo>
                    <a:pt x="195" y="161"/>
                  </a:moveTo>
                  <a:cubicBezTo>
                    <a:pt x="196" y="161"/>
                    <a:pt x="197" y="161"/>
                    <a:pt x="197" y="161"/>
                  </a:cubicBezTo>
                  <a:cubicBezTo>
                    <a:pt x="198" y="162"/>
                    <a:pt x="199" y="163"/>
                    <a:pt x="200" y="164"/>
                  </a:cubicBezTo>
                  <a:cubicBezTo>
                    <a:pt x="202" y="166"/>
                    <a:pt x="202" y="168"/>
                    <a:pt x="203" y="171"/>
                  </a:cubicBezTo>
                  <a:cubicBezTo>
                    <a:pt x="203" y="174"/>
                    <a:pt x="202" y="177"/>
                    <a:pt x="201" y="179"/>
                  </a:cubicBezTo>
                  <a:cubicBezTo>
                    <a:pt x="200" y="181"/>
                    <a:pt x="197" y="183"/>
                    <a:pt x="195" y="183"/>
                  </a:cubicBezTo>
                  <a:cubicBezTo>
                    <a:pt x="194" y="184"/>
                    <a:pt x="192" y="184"/>
                    <a:pt x="191" y="184"/>
                  </a:cubicBezTo>
                  <a:cubicBezTo>
                    <a:pt x="190" y="184"/>
                    <a:pt x="189" y="184"/>
                    <a:pt x="189" y="184"/>
                  </a:cubicBezTo>
                  <a:cubicBezTo>
                    <a:pt x="188" y="184"/>
                    <a:pt x="188" y="184"/>
                    <a:pt x="188" y="184"/>
                  </a:cubicBezTo>
                  <a:cubicBezTo>
                    <a:pt x="187" y="183"/>
                    <a:pt x="186" y="182"/>
                    <a:pt x="185" y="181"/>
                  </a:cubicBezTo>
                  <a:cubicBezTo>
                    <a:pt x="185" y="180"/>
                    <a:pt x="184" y="179"/>
                    <a:pt x="184" y="178"/>
                  </a:cubicBezTo>
                  <a:cubicBezTo>
                    <a:pt x="184" y="175"/>
                    <a:pt x="185" y="173"/>
                    <a:pt x="187" y="171"/>
                  </a:cubicBezTo>
                  <a:cubicBezTo>
                    <a:pt x="188" y="170"/>
                    <a:pt x="189" y="169"/>
                    <a:pt x="190" y="169"/>
                  </a:cubicBezTo>
                  <a:cubicBezTo>
                    <a:pt x="194" y="167"/>
                    <a:pt x="194" y="167"/>
                    <a:pt x="194" y="167"/>
                  </a:cubicBezTo>
                  <a:cubicBezTo>
                    <a:pt x="195" y="167"/>
                    <a:pt x="195" y="167"/>
                    <a:pt x="195" y="167"/>
                  </a:cubicBezTo>
                  <a:cubicBezTo>
                    <a:pt x="195" y="165"/>
                    <a:pt x="195" y="165"/>
                    <a:pt x="195" y="165"/>
                  </a:cubicBezTo>
                  <a:cubicBezTo>
                    <a:pt x="195" y="161"/>
                    <a:pt x="195" y="161"/>
                    <a:pt x="195" y="161"/>
                  </a:cubicBezTo>
                  <a:cubicBezTo>
                    <a:pt x="195" y="161"/>
                    <a:pt x="195" y="161"/>
                    <a:pt x="195" y="161"/>
                  </a:cubicBezTo>
                  <a:close/>
                  <a:moveTo>
                    <a:pt x="191" y="165"/>
                  </a:moveTo>
                  <a:cubicBezTo>
                    <a:pt x="191" y="156"/>
                    <a:pt x="191" y="156"/>
                    <a:pt x="191" y="156"/>
                  </a:cubicBezTo>
                  <a:cubicBezTo>
                    <a:pt x="191" y="156"/>
                    <a:pt x="191" y="156"/>
                    <a:pt x="192" y="156"/>
                  </a:cubicBezTo>
                  <a:cubicBezTo>
                    <a:pt x="192" y="156"/>
                    <a:pt x="192" y="156"/>
                    <a:pt x="192" y="156"/>
                  </a:cubicBezTo>
                  <a:cubicBezTo>
                    <a:pt x="192" y="164"/>
                    <a:pt x="192" y="164"/>
                    <a:pt x="192" y="164"/>
                  </a:cubicBezTo>
                  <a:lnTo>
                    <a:pt x="191" y="165"/>
                  </a:lnTo>
                  <a:close/>
                  <a:moveTo>
                    <a:pt x="205" y="139"/>
                  </a:moveTo>
                  <a:cubicBezTo>
                    <a:pt x="204" y="143"/>
                    <a:pt x="203" y="147"/>
                    <a:pt x="201" y="150"/>
                  </a:cubicBezTo>
                  <a:cubicBezTo>
                    <a:pt x="200" y="151"/>
                    <a:pt x="199" y="152"/>
                    <a:pt x="197" y="153"/>
                  </a:cubicBezTo>
                  <a:cubicBezTo>
                    <a:pt x="196" y="153"/>
                    <a:pt x="196" y="153"/>
                    <a:pt x="195" y="153"/>
                  </a:cubicBezTo>
                  <a:cubicBezTo>
                    <a:pt x="194" y="153"/>
                    <a:pt x="194" y="153"/>
                    <a:pt x="193" y="153"/>
                  </a:cubicBezTo>
                  <a:cubicBezTo>
                    <a:pt x="193" y="153"/>
                    <a:pt x="193" y="153"/>
                    <a:pt x="192" y="153"/>
                  </a:cubicBezTo>
                  <a:cubicBezTo>
                    <a:pt x="191" y="153"/>
                    <a:pt x="189" y="152"/>
                    <a:pt x="188" y="150"/>
                  </a:cubicBezTo>
                  <a:cubicBezTo>
                    <a:pt x="187" y="149"/>
                    <a:pt x="186" y="147"/>
                    <a:pt x="186" y="146"/>
                  </a:cubicBezTo>
                  <a:cubicBezTo>
                    <a:pt x="185" y="142"/>
                    <a:pt x="185" y="138"/>
                    <a:pt x="186" y="135"/>
                  </a:cubicBezTo>
                  <a:cubicBezTo>
                    <a:pt x="187" y="133"/>
                    <a:pt x="190" y="131"/>
                    <a:pt x="192" y="130"/>
                  </a:cubicBezTo>
                  <a:cubicBezTo>
                    <a:pt x="195" y="130"/>
                    <a:pt x="195" y="130"/>
                    <a:pt x="195" y="130"/>
                  </a:cubicBezTo>
                  <a:cubicBezTo>
                    <a:pt x="195" y="127"/>
                    <a:pt x="195" y="127"/>
                    <a:pt x="195" y="127"/>
                  </a:cubicBezTo>
                  <a:cubicBezTo>
                    <a:pt x="195" y="112"/>
                    <a:pt x="195" y="112"/>
                    <a:pt x="195" y="112"/>
                  </a:cubicBezTo>
                  <a:cubicBezTo>
                    <a:pt x="195" y="112"/>
                    <a:pt x="196" y="112"/>
                    <a:pt x="196" y="112"/>
                  </a:cubicBezTo>
                  <a:cubicBezTo>
                    <a:pt x="197" y="113"/>
                    <a:pt x="197" y="113"/>
                    <a:pt x="198" y="114"/>
                  </a:cubicBezTo>
                  <a:cubicBezTo>
                    <a:pt x="200" y="115"/>
                    <a:pt x="201" y="116"/>
                    <a:pt x="202" y="117"/>
                  </a:cubicBezTo>
                  <a:cubicBezTo>
                    <a:pt x="204" y="120"/>
                    <a:pt x="206" y="124"/>
                    <a:pt x="206" y="128"/>
                  </a:cubicBezTo>
                  <a:cubicBezTo>
                    <a:pt x="206" y="131"/>
                    <a:pt x="206" y="136"/>
                    <a:pt x="205" y="139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2" name="Google Shape;812;p2"/>
            <p:cNvSpPr/>
            <p:nvPr/>
          </p:nvSpPr>
          <p:spPr>
            <a:xfrm>
              <a:off x="3905942" y="1896406"/>
              <a:ext cx="122400" cy="33660"/>
            </a:xfrm>
            <a:custGeom>
              <a:avLst/>
              <a:gdLst/>
              <a:ahLst/>
              <a:cxnLst/>
              <a:rect l="l" t="t" r="r" b="b"/>
              <a:pathLst>
                <a:path w="77" h="21" extrusionOk="0">
                  <a:moveTo>
                    <a:pt x="59" y="4"/>
                  </a:moveTo>
                  <a:cubicBezTo>
                    <a:pt x="53" y="1"/>
                    <a:pt x="46" y="0"/>
                    <a:pt x="38" y="0"/>
                  </a:cubicBezTo>
                  <a:cubicBezTo>
                    <a:pt x="31" y="0"/>
                    <a:pt x="24" y="1"/>
                    <a:pt x="18" y="4"/>
                  </a:cubicBezTo>
                  <a:cubicBezTo>
                    <a:pt x="11" y="7"/>
                    <a:pt x="5" y="11"/>
                    <a:pt x="0" y="1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0" y="16"/>
                    <a:pt x="15" y="13"/>
                    <a:pt x="20" y="11"/>
                  </a:cubicBezTo>
                  <a:cubicBezTo>
                    <a:pt x="26" y="8"/>
                    <a:pt x="32" y="7"/>
                    <a:pt x="38" y="7"/>
                  </a:cubicBezTo>
                  <a:cubicBezTo>
                    <a:pt x="45" y="7"/>
                    <a:pt x="51" y="8"/>
                    <a:pt x="57" y="11"/>
                  </a:cubicBezTo>
                  <a:cubicBezTo>
                    <a:pt x="62" y="13"/>
                    <a:pt x="67" y="16"/>
                    <a:pt x="72" y="21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2" y="11"/>
                    <a:pt x="66" y="7"/>
                    <a:pt x="59" y="4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3" name="Google Shape;813;p2"/>
            <p:cNvSpPr/>
            <p:nvPr/>
          </p:nvSpPr>
          <p:spPr>
            <a:xfrm>
              <a:off x="3928892" y="1937716"/>
              <a:ext cx="76499" cy="22950"/>
            </a:xfrm>
            <a:custGeom>
              <a:avLst/>
              <a:gdLst/>
              <a:ahLst/>
              <a:cxnLst/>
              <a:rect l="l" t="t" r="r" b="b"/>
              <a:pathLst>
                <a:path w="49" h="15" extrusionOk="0">
                  <a:moveTo>
                    <a:pt x="0" y="10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10" y="10"/>
                    <a:pt x="17" y="7"/>
                    <a:pt x="24" y="7"/>
                  </a:cubicBezTo>
                  <a:cubicBezTo>
                    <a:pt x="32" y="7"/>
                    <a:pt x="39" y="10"/>
                    <a:pt x="44" y="1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3" y="4"/>
                    <a:pt x="34" y="0"/>
                    <a:pt x="24" y="0"/>
                  </a:cubicBezTo>
                  <a:cubicBezTo>
                    <a:pt x="15" y="0"/>
                    <a:pt x="6" y="4"/>
                    <a:pt x="0" y="1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4" name="Google Shape;814;p2"/>
            <p:cNvSpPr/>
            <p:nvPr/>
          </p:nvSpPr>
          <p:spPr>
            <a:xfrm>
              <a:off x="3947252" y="1974438"/>
              <a:ext cx="42839" cy="15300"/>
            </a:xfrm>
            <a:custGeom>
              <a:avLst/>
              <a:gdLst/>
              <a:ahLst/>
              <a:cxnLst/>
              <a:rect l="l" t="t" r="r" b="b"/>
              <a:pathLst>
                <a:path w="27" h="10" extrusionOk="0">
                  <a:moveTo>
                    <a:pt x="0" y="5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7" y="8"/>
                    <a:pt x="10" y="7"/>
                    <a:pt x="13" y="7"/>
                  </a:cubicBezTo>
                  <a:cubicBezTo>
                    <a:pt x="16" y="7"/>
                    <a:pt x="19" y="8"/>
                    <a:pt x="22" y="10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2"/>
                    <a:pt x="18" y="0"/>
                    <a:pt x="13" y="0"/>
                  </a:cubicBezTo>
                  <a:cubicBezTo>
                    <a:pt x="8" y="0"/>
                    <a:pt x="3" y="2"/>
                    <a:pt x="0" y="5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5" name="Google Shape;815;p2"/>
            <p:cNvSpPr/>
            <p:nvPr/>
          </p:nvSpPr>
          <p:spPr>
            <a:xfrm>
              <a:off x="3956431" y="2006567"/>
              <a:ext cx="24480" cy="22950"/>
            </a:xfrm>
            <a:prstGeom prst="ellipse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6" name="Google Shape;816;p2"/>
            <p:cNvSpPr/>
            <p:nvPr/>
          </p:nvSpPr>
          <p:spPr>
            <a:xfrm>
              <a:off x="3339849" y="1633246"/>
              <a:ext cx="408507" cy="665553"/>
            </a:xfrm>
            <a:custGeom>
              <a:avLst/>
              <a:gdLst/>
              <a:ahLst/>
              <a:cxnLst/>
              <a:rect l="l" t="t" r="r" b="b"/>
              <a:pathLst>
                <a:path w="259" h="420" extrusionOk="0">
                  <a:moveTo>
                    <a:pt x="150" y="122"/>
                  </a:moveTo>
                  <a:cubicBezTo>
                    <a:pt x="136" y="122"/>
                    <a:pt x="136" y="122"/>
                    <a:pt x="136" y="122"/>
                  </a:cubicBezTo>
                  <a:cubicBezTo>
                    <a:pt x="136" y="98"/>
                    <a:pt x="136" y="98"/>
                    <a:pt x="136" y="98"/>
                  </a:cubicBezTo>
                  <a:cubicBezTo>
                    <a:pt x="145" y="95"/>
                    <a:pt x="151" y="87"/>
                    <a:pt x="151" y="77"/>
                  </a:cubicBezTo>
                  <a:cubicBezTo>
                    <a:pt x="151" y="65"/>
                    <a:pt x="141" y="55"/>
                    <a:pt x="129" y="55"/>
                  </a:cubicBezTo>
                  <a:cubicBezTo>
                    <a:pt x="117" y="55"/>
                    <a:pt x="108" y="65"/>
                    <a:pt x="108" y="77"/>
                  </a:cubicBezTo>
                  <a:cubicBezTo>
                    <a:pt x="108" y="87"/>
                    <a:pt x="114" y="95"/>
                    <a:pt x="123" y="98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109" y="122"/>
                    <a:pt x="109" y="122"/>
                    <a:pt x="109" y="122"/>
                  </a:cubicBezTo>
                  <a:cubicBezTo>
                    <a:pt x="109" y="266"/>
                    <a:pt x="5" y="420"/>
                    <a:pt x="5" y="420"/>
                  </a:cubicBezTo>
                  <a:cubicBezTo>
                    <a:pt x="69" y="420"/>
                    <a:pt x="69" y="420"/>
                    <a:pt x="69" y="420"/>
                  </a:cubicBezTo>
                  <a:cubicBezTo>
                    <a:pt x="104" y="356"/>
                    <a:pt x="104" y="356"/>
                    <a:pt x="104" y="356"/>
                  </a:cubicBezTo>
                  <a:cubicBezTo>
                    <a:pt x="155" y="356"/>
                    <a:pt x="155" y="356"/>
                    <a:pt x="155" y="356"/>
                  </a:cubicBezTo>
                  <a:cubicBezTo>
                    <a:pt x="190" y="420"/>
                    <a:pt x="190" y="420"/>
                    <a:pt x="190" y="420"/>
                  </a:cubicBezTo>
                  <a:cubicBezTo>
                    <a:pt x="254" y="420"/>
                    <a:pt x="254" y="420"/>
                    <a:pt x="254" y="420"/>
                  </a:cubicBezTo>
                  <a:cubicBezTo>
                    <a:pt x="254" y="420"/>
                    <a:pt x="150" y="266"/>
                    <a:pt x="150" y="122"/>
                  </a:cubicBezTo>
                  <a:close/>
                  <a:moveTo>
                    <a:pt x="128" y="142"/>
                  </a:moveTo>
                  <a:cubicBezTo>
                    <a:pt x="131" y="142"/>
                    <a:pt x="131" y="142"/>
                    <a:pt x="131" y="142"/>
                  </a:cubicBezTo>
                  <a:cubicBezTo>
                    <a:pt x="131" y="151"/>
                    <a:pt x="132" y="160"/>
                    <a:pt x="133" y="169"/>
                  </a:cubicBezTo>
                  <a:cubicBezTo>
                    <a:pt x="125" y="174"/>
                    <a:pt x="125" y="174"/>
                    <a:pt x="125" y="174"/>
                  </a:cubicBezTo>
                  <a:cubicBezTo>
                    <a:pt x="126" y="164"/>
                    <a:pt x="127" y="153"/>
                    <a:pt x="128" y="142"/>
                  </a:cubicBezTo>
                  <a:close/>
                  <a:moveTo>
                    <a:pt x="120" y="200"/>
                  </a:moveTo>
                  <a:cubicBezTo>
                    <a:pt x="137" y="190"/>
                    <a:pt x="137" y="190"/>
                    <a:pt x="137" y="190"/>
                  </a:cubicBezTo>
                  <a:cubicBezTo>
                    <a:pt x="138" y="199"/>
                    <a:pt x="140" y="208"/>
                    <a:pt x="142" y="216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20" y="200"/>
                    <a:pt x="120" y="200"/>
                    <a:pt x="120" y="200"/>
                  </a:cubicBezTo>
                  <a:close/>
                  <a:moveTo>
                    <a:pt x="115" y="221"/>
                  </a:moveTo>
                  <a:cubicBezTo>
                    <a:pt x="150" y="246"/>
                    <a:pt x="150" y="246"/>
                    <a:pt x="150" y="246"/>
                  </a:cubicBezTo>
                  <a:cubicBezTo>
                    <a:pt x="99" y="275"/>
                    <a:pt x="99" y="275"/>
                    <a:pt x="99" y="275"/>
                  </a:cubicBezTo>
                  <a:cubicBezTo>
                    <a:pt x="99" y="275"/>
                    <a:pt x="99" y="275"/>
                    <a:pt x="99" y="275"/>
                  </a:cubicBezTo>
                  <a:cubicBezTo>
                    <a:pt x="105" y="258"/>
                    <a:pt x="111" y="240"/>
                    <a:pt x="115" y="221"/>
                  </a:cubicBezTo>
                  <a:close/>
                  <a:moveTo>
                    <a:pt x="57" y="400"/>
                  </a:moveTo>
                  <a:cubicBezTo>
                    <a:pt x="40" y="400"/>
                    <a:pt x="40" y="400"/>
                    <a:pt x="40" y="400"/>
                  </a:cubicBezTo>
                  <a:cubicBezTo>
                    <a:pt x="45" y="392"/>
                    <a:pt x="80" y="358"/>
                    <a:pt x="80" y="358"/>
                  </a:cubicBezTo>
                  <a:lnTo>
                    <a:pt x="57" y="400"/>
                  </a:lnTo>
                  <a:close/>
                  <a:moveTo>
                    <a:pt x="72" y="339"/>
                  </a:moveTo>
                  <a:cubicBezTo>
                    <a:pt x="79" y="325"/>
                    <a:pt x="85" y="310"/>
                    <a:pt x="92" y="294"/>
                  </a:cubicBezTo>
                  <a:cubicBezTo>
                    <a:pt x="118" y="313"/>
                    <a:pt x="118" y="313"/>
                    <a:pt x="118" y="313"/>
                  </a:cubicBezTo>
                  <a:lnTo>
                    <a:pt x="72" y="339"/>
                  </a:lnTo>
                  <a:close/>
                  <a:moveTo>
                    <a:pt x="117" y="336"/>
                  </a:moveTo>
                  <a:cubicBezTo>
                    <a:pt x="135" y="325"/>
                    <a:pt x="135" y="325"/>
                    <a:pt x="135" y="325"/>
                  </a:cubicBezTo>
                  <a:cubicBezTo>
                    <a:pt x="150" y="336"/>
                    <a:pt x="150" y="336"/>
                    <a:pt x="150" y="336"/>
                  </a:cubicBezTo>
                  <a:lnTo>
                    <a:pt x="117" y="336"/>
                  </a:lnTo>
                  <a:close/>
                  <a:moveTo>
                    <a:pt x="117" y="288"/>
                  </a:moveTo>
                  <a:cubicBezTo>
                    <a:pt x="157" y="265"/>
                    <a:pt x="157" y="265"/>
                    <a:pt x="157" y="265"/>
                  </a:cubicBezTo>
                  <a:cubicBezTo>
                    <a:pt x="165" y="291"/>
                    <a:pt x="176" y="316"/>
                    <a:pt x="186" y="337"/>
                  </a:cubicBezTo>
                  <a:lnTo>
                    <a:pt x="117" y="288"/>
                  </a:lnTo>
                  <a:close/>
                  <a:moveTo>
                    <a:pt x="178" y="356"/>
                  </a:moveTo>
                  <a:cubicBezTo>
                    <a:pt x="178" y="356"/>
                    <a:pt x="215" y="393"/>
                    <a:pt x="219" y="400"/>
                  </a:cubicBezTo>
                  <a:cubicBezTo>
                    <a:pt x="202" y="400"/>
                    <a:pt x="202" y="400"/>
                    <a:pt x="202" y="400"/>
                  </a:cubicBezTo>
                  <a:lnTo>
                    <a:pt x="178" y="356"/>
                  </a:lnTo>
                  <a:close/>
                  <a:moveTo>
                    <a:pt x="174" y="80"/>
                  </a:moveTo>
                  <a:cubicBezTo>
                    <a:pt x="176" y="71"/>
                    <a:pt x="173" y="63"/>
                    <a:pt x="166" y="58"/>
                  </a:cubicBezTo>
                  <a:cubicBezTo>
                    <a:pt x="164" y="56"/>
                    <a:pt x="162" y="51"/>
                    <a:pt x="165" y="48"/>
                  </a:cubicBezTo>
                  <a:cubicBezTo>
                    <a:pt x="170" y="42"/>
                    <a:pt x="177" y="47"/>
                    <a:pt x="180" y="49"/>
                  </a:cubicBezTo>
                  <a:cubicBezTo>
                    <a:pt x="188" y="58"/>
                    <a:pt x="192" y="70"/>
                    <a:pt x="190" y="83"/>
                  </a:cubicBezTo>
                  <a:cubicBezTo>
                    <a:pt x="188" y="90"/>
                    <a:pt x="185" y="97"/>
                    <a:pt x="180" y="102"/>
                  </a:cubicBezTo>
                  <a:cubicBezTo>
                    <a:pt x="177" y="104"/>
                    <a:pt x="169" y="108"/>
                    <a:pt x="165" y="103"/>
                  </a:cubicBezTo>
                  <a:cubicBezTo>
                    <a:pt x="161" y="99"/>
                    <a:pt x="165" y="94"/>
                    <a:pt x="167" y="92"/>
                  </a:cubicBezTo>
                  <a:cubicBezTo>
                    <a:pt x="171" y="89"/>
                    <a:pt x="173" y="84"/>
                    <a:pt x="174" y="80"/>
                  </a:cubicBezTo>
                  <a:close/>
                  <a:moveTo>
                    <a:pt x="188" y="25"/>
                  </a:moveTo>
                  <a:cubicBezTo>
                    <a:pt x="188" y="25"/>
                    <a:pt x="188" y="25"/>
                    <a:pt x="188" y="25"/>
                  </a:cubicBezTo>
                  <a:cubicBezTo>
                    <a:pt x="191" y="22"/>
                    <a:pt x="197" y="22"/>
                    <a:pt x="200" y="25"/>
                  </a:cubicBezTo>
                  <a:cubicBezTo>
                    <a:pt x="200" y="25"/>
                    <a:pt x="201" y="25"/>
                    <a:pt x="203" y="28"/>
                  </a:cubicBezTo>
                  <a:cubicBezTo>
                    <a:pt x="218" y="44"/>
                    <a:pt x="226" y="66"/>
                    <a:pt x="221" y="89"/>
                  </a:cubicBezTo>
                  <a:cubicBezTo>
                    <a:pt x="218" y="103"/>
                    <a:pt x="211" y="114"/>
                    <a:pt x="202" y="124"/>
                  </a:cubicBezTo>
                  <a:cubicBezTo>
                    <a:pt x="200" y="126"/>
                    <a:pt x="200" y="126"/>
                    <a:pt x="200" y="126"/>
                  </a:cubicBezTo>
                  <a:cubicBezTo>
                    <a:pt x="197" y="129"/>
                    <a:pt x="191" y="128"/>
                    <a:pt x="188" y="125"/>
                  </a:cubicBezTo>
                  <a:cubicBezTo>
                    <a:pt x="188" y="125"/>
                    <a:pt x="188" y="125"/>
                    <a:pt x="188" y="125"/>
                  </a:cubicBezTo>
                  <a:cubicBezTo>
                    <a:pt x="185" y="122"/>
                    <a:pt x="185" y="118"/>
                    <a:pt x="188" y="116"/>
                  </a:cubicBezTo>
                  <a:cubicBezTo>
                    <a:pt x="188" y="116"/>
                    <a:pt x="188" y="116"/>
                    <a:pt x="191" y="113"/>
                  </a:cubicBezTo>
                  <a:cubicBezTo>
                    <a:pt x="198" y="106"/>
                    <a:pt x="203" y="97"/>
                    <a:pt x="205" y="86"/>
                  </a:cubicBezTo>
                  <a:cubicBezTo>
                    <a:pt x="209" y="68"/>
                    <a:pt x="203" y="50"/>
                    <a:pt x="191" y="38"/>
                  </a:cubicBezTo>
                  <a:cubicBezTo>
                    <a:pt x="188" y="35"/>
                    <a:pt x="188" y="35"/>
                    <a:pt x="188" y="35"/>
                  </a:cubicBezTo>
                  <a:cubicBezTo>
                    <a:pt x="185" y="33"/>
                    <a:pt x="185" y="28"/>
                    <a:pt x="188" y="25"/>
                  </a:cubicBezTo>
                  <a:close/>
                  <a:moveTo>
                    <a:pt x="211" y="14"/>
                  </a:moveTo>
                  <a:cubicBezTo>
                    <a:pt x="208" y="11"/>
                    <a:pt x="208" y="6"/>
                    <a:pt x="211" y="3"/>
                  </a:cubicBezTo>
                  <a:cubicBezTo>
                    <a:pt x="211" y="3"/>
                    <a:pt x="211" y="3"/>
                    <a:pt x="211" y="3"/>
                  </a:cubicBezTo>
                  <a:cubicBezTo>
                    <a:pt x="215" y="0"/>
                    <a:pt x="220" y="0"/>
                    <a:pt x="223" y="3"/>
                  </a:cubicBezTo>
                  <a:cubicBezTo>
                    <a:pt x="223" y="3"/>
                    <a:pt x="223" y="3"/>
                    <a:pt x="226" y="6"/>
                  </a:cubicBezTo>
                  <a:cubicBezTo>
                    <a:pt x="248" y="29"/>
                    <a:pt x="259" y="62"/>
                    <a:pt x="252" y="96"/>
                  </a:cubicBezTo>
                  <a:cubicBezTo>
                    <a:pt x="248" y="115"/>
                    <a:pt x="238" y="132"/>
                    <a:pt x="225" y="146"/>
                  </a:cubicBezTo>
                  <a:cubicBezTo>
                    <a:pt x="222" y="148"/>
                    <a:pt x="222" y="148"/>
                    <a:pt x="222" y="148"/>
                  </a:cubicBezTo>
                  <a:cubicBezTo>
                    <a:pt x="219" y="151"/>
                    <a:pt x="215" y="151"/>
                    <a:pt x="211" y="148"/>
                  </a:cubicBezTo>
                  <a:cubicBezTo>
                    <a:pt x="211" y="147"/>
                    <a:pt x="211" y="147"/>
                    <a:pt x="211" y="147"/>
                  </a:cubicBezTo>
                  <a:cubicBezTo>
                    <a:pt x="208" y="144"/>
                    <a:pt x="208" y="140"/>
                    <a:pt x="210" y="138"/>
                  </a:cubicBezTo>
                  <a:cubicBezTo>
                    <a:pt x="210" y="138"/>
                    <a:pt x="210" y="138"/>
                    <a:pt x="213" y="136"/>
                  </a:cubicBezTo>
                  <a:cubicBezTo>
                    <a:pt x="224" y="124"/>
                    <a:pt x="233" y="109"/>
                    <a:pt x="236" y="92"/>
                  </a:cubicBezTo>
                  <a:cubicBezTo>
                    <a:pt x="242" y="64"/>
                    <a:pt x="233" y="36"/>
                    <a:pt x="214" y="16"/>
                  </a:cubicBezTo>
                  <a:cubicBezTo>
                    <a:pt x="211" y="14"/>
                    <a:pt x="211" y="14"/>
                    <a:pt x="211" y="14"/>
                  </a:cubicBezTo>
                  <a:close/>
                  <a:moveTo>
                    <a:pt x="33" y="145"/>
                  </a:moveTo>
                  <a:cubicBezTo>
                    <a:pt x="11" y="122"/>
                    <a:pt x="0" y="89"/>
                    <a:pt x="7" y="55"/>
                  </a:cubicBezTo>
                  <a:cubicBezTo>
                    <a:pt x="11" y="36"/>
                    <a:pt x="21" y="18"/>
                    <a:pt x="34" y="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9" y="0"/>
                    <a:pt x="44" y="0"/>
                    <a:pt x="47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51" y="6"/>
                    <a:pt x="51" y="11"/>
                    <a:pt x="48" y="13"/>
                  </a:cubicBezTo>
                  <a:cubicBezTo>
                    <a:pt x="48" y="13"/>
                    <a:pt x="48" y="13"/>
                    <a:pt x="46" y="15"/>
                  </a:cubicBezTo>
                  <a:cubicBezTo>
                    <a:pt x="34" y="27"/>
                    <a:pt x="26" y="41"/>
                    <a:pt x="22" y="59"/>
                  </a:cubicBezTo>
                  <a:cubicBezTo>
                    <a:pt x="17" y="87"/>
                    <a:pt x="26" y="115"/>
                    <a:pt x="45" y="134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51" y="140"/>
                    <a:pt x="51" y="145"/>
                    <a:pt x="47" y="148"/>
                  </a:cubicBezTo>
                  <a:cubicBezTo>
                    <a:pt x="47" y="148"/>
                    <a:pt x="47" y="148"/>
                    <a:pt x="47" y="148"/>
                  </a:cubicBezTo>
                  <a:cubicBezTo>
                    <a:pt x="44" y="151"/>
                    <a:pt x="39" y="151"/>
                    <a:pt x="36" y="148"/>
                  </a:cubicBezTo>
                  <a:cubicBezTo>
                    <a:pt x="36" y="148"/>
                    <a:pt x="35" y="148"/>
                    <a:pt x="33" y="145"/>
                  </a:cubicBezTo>
                  <a:close/>
                  <a:moveTo>
                    <a:pt x="38" y="62"/>
                  </a:moveTo>
                  <a:cubicBezTo>
                    <a:pt x="41" y="48"/>
                    <a:pt x="47" y="36"/>
                    <a:pt x="56" y="2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62" y="22"/>
                    <a:pt x="67" y="22"/>
                    <a:pt x="71" y="25"/>
                  </a:cubicBezTo>
                  <a:cubicBezTo>
                    <a:pt x="71" y="26"/>
                    <a:pt x="71" y="26"/>
                    <a:pt x="71" y="26"/>
                  </a:cubicBezTo>
                  <a:cubicBezTo>
                    <a:pt x="74" y="29"/>
                    <a:pt x="74" y="33"/>
                    <a:pt x="71" y="35"/>
                  </a:cubicBezTo>
                  <a:cubicBezTo>
                    <a:pt x="71" y="35"/>
                    <a:pt x="71" y="35"/>
                    <a:pt x="68" y="38"/>
                  </a:cubicBezTo>
                  <a:cubicBezTo>
                    <a:pt x="61" y="45"/>
                    <a:pt x="56" y="54"/>
                    <a:pt x="53" y="65"/>
                  </a:cubicBezTo>
                  <a:cubicBezTo>
                    <a:pt x="50" y="83"/>
                    <a:pt x="56" y="101"/>
                    <a:pt x="68" y="113"/>
                  </a:cubicBezTo>
                  <a:cubicBezTo>
                    <a:pt x="71" y="116"/>
                    <a:pt x="71" y="116"/>
                    <a:pt x="71" y="116"/>
                  </a:cubicBezTo>
                  <a:cubicBezTo>
                    <a:pt x="74" y="118"/>
                    <a:pt x="74" y="122"/>
                    <a:pt x="71" y="125"/>
                  </a:cubicBezTo>
                  <a:cubicBezTo>
                    <a:pt x="70" y="126"/>
                    <a:pt x="70" y="126"/>
                    <a:pt x="70" y="126"/>
                  </a:cubicBezTo>
                  <a:cubicBezTo>
                    <a:pt x="67" y="129"/>
                    <a:pt x="62" y="129"/>
                    <a:pt x="59" y="126"/>
                  </a:cubicBezTo>
                  <a:cubicBezTo>
                    <a:pt x="59" y="126"/>
                    <a:pt x="58" y="126"/>
                    <a:pt x="55" y="123"/>
                  </a:cubicBezTo>
                  <a:cubicBezTo>
                    <a:pt x="40" y="107"/>
                    <a:pt x="33" y="85"/>
                    <a:pt x="38" y="62"/>
                  </a:cubicBezTo>
                  <a:close/>
                  <a:moveTo>
                    <a:pt x="69" y="68"/>
                  </a:moveTo>
                  <a:cubicBezTo>
                    <a:pt x="70" y="61"/>
                    <a:pt x="74" y="54"/>
                    <a:pt x="79" y="49"/>
                  </a:cubicBezTo>
                  <a:cubicBezTo>
                    <a:pt x="82" y="47"/>
                    <a:pt x="89" y="43"/>
                    <a:pt x="94" y="48"/>
                  </a:cubicBezTo>
                  <a:cubicBezTo>
                    <a:pt x="97" y="52"/>
                    <a:pt x="94" y="57"/>
                    <a:pt x="91" y="59"/>
                  </a:cubicBezTo>
                  <a:cubicBezTo>
                    <a:pt x="88" y="62"/>
                    <a:pt x="85" y="66"/>
                    <a:pt x="84" y="71"/>
                  </a:cubicBezTo>
                  <a:cubicBezTo>
                    <a:pt x="83" y="80"/>
                    <a:pt x="86" y="88"/>
                    <a:pt x="92" y="93"/>
                  </a:cubicBezTo>
                  <a:cubicBezTo>
                    <a:pt x="95" y="94"/>
                    <a:pt x="97" y="100"/>
                    <a:pt x="94" y="103"/>
                  </a:cubicBezTo>
                  <a:cubicBezTo>
                    <a:pt x="89" y="109"/>
                    <a:pt x="82" y="104"/>
                    <a:pt x="79" y="101"/>
                  </a:cubicBezTo>
                  <a:cubicBezTo>
                    <a:pt x="70" y="93"/>
                    <a:pt x="66" y="81"/>
                    <a:pt x="69" y="6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7" name="Google Shape;817;p2"/>
            <p:cNvSpPr/>
            <p:nvPr/>
          </p:nvSpPr>
          <p:spPr>
            <a:xfrm>
              <a:off x="3733052" y="1757176"/>
              <a:ext cx="78028" cy="16830"/>
            </a:xfrm>
            <a:custGeom>
              <a:avLst/>
              <a:gdLst/>
              <a:ahLst/>
              <a:cxnLst/>
              <a:rect l="l" t="t" r="r" b="b"/>
              <a:pathLst>
                <a:path w="50" h="11" extrusionOk="0">
                  <a:moveTo>
                    <a:pt x="50" y="6"/>
                  </a:moveTo>
                  <a:cubicBezTo>
                    <a:pt x="50" y="9"/>
                    <a:pt x="48" y="11"/>
                    <a:pt x="4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0"/>
                    <a:pt x="50" y="2"/>
                    <a:pt x="50" y="6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8" name="Google Shape;818;p2"/>
            <p:cNvSpPr/>
            <p:nvPr/>
          </p:nvSpPr>
          <p:spPr>
            <a:xfrm>
              <a:off x="3798831" y="1682206"/>
              <a:ext cx="36719" cy="93330"/>
            </a:xfrm>
            <a:custGeom>
              <a:avLst/>
              <a:gdLst/>
              <a:ahLst/>
              <a:cxnLst/>
              <a:rect l="l" t="t" r="r" b="b"/>
              <a:pathLst>
                <a:path w="23" h="59" extrusionOk="0">
                  <a:moveTo>
                    <a:pt x="19" y="1"/>
                  </a:moveTo>
                  <a:cubicBezTo>
                    <a:pt x="22" y="2"/>
                    <a:pt x="23" y="5"/>
                    <a:pt x="22" y="8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7"/>
                    <a:pt x="6" y="59"/>
                    <a:pt x="3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1" y="57"/>
                    <a:pt x="0" y="54"/>
                    <a:pt x="0" y="5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2"/>
                    <a:pt x="17" y="0"/>
                    <a:pt x="19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9" name="Google Shape;819;p2"/>
            <p:cNvSpPr/>
            <p:nvPr/>
          </p:nvSpPr>
          <p:spPr>
            <a:xfrm>
              <a:off x="3820262" y="1682206"/>
              <a:ext cx="50489" cy="133111"/>
            </a:xfrm>
            <a:custGeom>
              <a:avLst/>
              <a:gdLst/>
              <a:ahLst/>
              <a:cxnLst/>
              <a:rect l="l" t="t" r="r" b="b"/>
              <a:pathLst>
                <a:path w="32" h="84" extrusionOk="0">
                  <a:moveTo>
                    <a:pt x="4" y="1"/>
                  </a:moveTo>
                  <a:cubicBezTo>
                    <a:pt x="6" y="0"/>
                    <a:pt x="10" y="3"/>
                    <a:pt x="11" y="7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8"/>
                    <a:pt x="31" y="82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6" y="84"/>
                    <a:pt x="23" y="82"/>
                    <a:pt x="21" y="7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6"/>
                    <a:pt x="1" y="2"/>
                    <a:pt x="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0" name="Google Shape;820;p2"/>
            <p:cNvSpPr/>
            <p:nvPr/>
          </p:nvSpPr>
          <p:spPr>
            <a:xfrm>
              <a:off x="3927360" y="1679145"/>
              <a:ext cx="48959" cy="130052"/>
            </a:xfrm>
            <a:custGeom>
              <a:avLst/>
              <a:gdLst/>
              <a:ahLst/>
              <a:cxnLst/>
              <a:rect l="l" t="t" r="r" b="b"/>
              <a:pathLst>
                <a:path w="31" h="82" extrusionOk="0">
                  <a:moveTo>
                    <a:pt x="4" y="1"/>
                  </a:moveTo>
                  <a:cubicBezTo>
                    <a:pt x="7" y="0"/>
                    <a:pt x="10" y="3"/>
                    <a:pt x="11" y="7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6"/>
                    <a:pt x="30" y="80"/>
                    <a:pt x="28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5" y="82"/>
                    <a:pt x="22" y="80"/>
                    <a:pt x="21" y="7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7"/>
                    <a:pt x="1" y="2"/>
                    <a:pt x="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1" name="Google Shape;821;p2"/>
            <p:cNvSpPr/>
            <p:nvPr/>
          </p:nvSpPr>
          <p:spPr>
            <a:xfrm>
              <a:off x="3904410" y="1679145"/>
              <a:ext cx="38250" cy="93330"/>
            </a:xfrm>
            <a:custGeom>
              <a:avLst/>
              <a:gdLst/>
              <a:ahLst/>
              <a:cxnLst/>
              <a:rect l="l" t="t" r="r" b="b"/>
              <a:pathLst>
                <a:path w="24" h="59" extrusionOk="0">
                  <a:moveTo>
                    <a:pt x="20" y="1"/>
                  </a:moveTo>
                  <a:cubicBezTo>
                    <a:pt x="23" y="2"/>
                    <a:pt x="24" y="6"/>
                    <a:pt x="23" y="9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0" y="58"/>
                    <a:pt x="7" y="59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2" y="57"/>
                    <a:pt x="0" y="54"/>
                    <a:pt x="1" y="51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2"/>
                    <a:pt x="18" y="0"/>
                    <a:pt x="20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2" name="Google Shape;822;p2"/>
            <p:cNvSpPr/>
            <p:nvPr/>
          </p:nvSpPr>
          <p:spPr>
            <a:xfrm>
              <a:off x="3855445" y="1619477"/>
              <a:ext cx="41309" cy="195841"/>
            </a:xfrm>
            <a:custGeom>
              <a:avLst/>
              <a:gdLst/>
              <a:ahLst/>
              <a:cxnLst/>
              <a:rect l="l" t="t" r="r" b="b"/>
              <a:pathLst>
                <a:path w="26" h="124" extrusionOk="0">
                  <a:moveTo>
                    <a:pt x="22" y="1"/>
                  </a:moveTo>
                  <a:cubicBezTo>
                    <a:pt x="25" y="1"/>
                    <a:pt x="26" y="7"/>
                    <a:pt x="25" y="14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9" y="119"/>
                    <a:pt x="6" y="124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1" y="123"/>
                    <a:pt x="0" y="117"/>
                    <a:pt x="1" y="1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5"/>
                    <a:pt x="20" y="0"/>
                    <a:pt x="22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3" name="Google Shape;823;p2"/>
            <p:cNvSpPr/>
            <p:nvPr/>
          </p:nvSpPr>
          <p:spPr>
            <a:xfrm>
              <a:off x="3961021" y="1656197"/>
              <a:ext cx="35189" cy="153001"/>
            </a:xfrm>
            <a:custGeom>
              <a:avLst/>
              <a:gdLst/>
              <a:ahLst/>
              <a:cxnLst/>
              <a:rect l="l" t="t" r="r" b="b"/>
              <a:pathLst>
                <a:path w="23" h="97" extrusionOk="0">
                  <a:moveTo>
                    <a:pt x="19" y="0"/>
                  </a:moveTo>
                  <a:cubicBezTo>
                    <a:pt x="22" y="1"/>
                    <a:pt x="23" y="6"/>
                    <a:pt x="22" y="11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0" y="93"/>
                    <a:pt x="7" y="97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2" y="95"/>
                    <a:pt x="0" y="91"/>
                    <a:pt x="1" y="8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4"/>
                    <a:pt x="16" y="0"/>
                    <a:pt x="19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24" name="Google Shape;824;p2"/>
            <p:cNvSpPr/>
            <p:nvPr/>
          </p:nvSpPr>
          <p:spPr>
            <a:xfrm>
              <a:off x="3884573" y="1619474"/>
              <a:ext cx="36719" cy="153001"/>
            </a:xfrm>
            <a:custGeom>
              <a:avLst/>
              <a:gdLst/>
              <a:ahLst/>
              <a:cxnLst/>
              <a:rect l="l" t="t" r="r" b="b"/>
              <a:pathLst>
                <a:path w="23" h="97" extrusionOk="0">
                  <a:moveTo>
                    <a:pt x="4" y="1"/>
                  </a:moveTo>
                  <a:cubicBezTo>
                    <a:pt x="6" y="0"/>
                    <a:pt x="9" y="4"/>
                    <a:pt x="10" y="9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3" y="91"/>
                    <a:pt x="22" y="96"/>
                    <a:pt x="19" y="97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16" y="97"/>
                    <a:pt x="14" y="94"/>
                    <a:pt x="13" y="8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6"/>
                    <a:pt x="1" y="1"/>
                    <a:pt x="4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 defTabSz="1219170">
                <a:buClr>
                  <a:srgbClr val="000000"/>
                </a:buClr>
                <a:buSzPts val="1350"/>
              </a:pPr>
              <a:endParaRPr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E6E8DE-FA49-474B-9C19-D54C0E87ECD6}" type="slidenum">
              <a:rPr kumimoji="0" lang="fr-FR" altLang="fr-FR" sz="900" b="0" i="0" u="none" strike="noStrike" kern="1200" cap="none" spc="0" normalizeH="0" baseline="0" noProof="0" smtClean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altLang="fr-FR" sz="900" b="0" i="0" u="none" strike="noStrike" kern="1200" cap="none" spc="0" normalizeH="0" baseline="0" noProof="0">
              <a:ln>
                <a:noFill/>
              </a:ln>
              <a:solidFill>
                <a:srgbClr val="5555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31019" y="323731"/>
            <a:ext cx="7686310" cy="4489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cionalni sistem životnog cik</a:t>
            </a:r>
            <a:r>
              <a:rPr kumimoji="0" lang="sr-Latn-R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a vozila</a:t>
            </a:r>
            <a:r>
              <a:rPr kumimoji="0" lang="sr-Latn-R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kao krajnji cilj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3287" y="1034144"/>
            <a:ext cx="6292863" cy="3907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TextBox 17"/>
          <p:cNvSpPr txBox="1"/>
          <p:nvPr/>
        </p:nvSpPr>
        <p:spPr bwMode="gray">
          <a:xfrm>
            <a:off x="4871876" y="2512135"/>
            <a:ext cx="235976" cy="2064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*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555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 bwMode="gray">
          <a:xfrm>
            <a:off x="4871876" y="4665400"/>
            <a:ext cx="235976" cy="20647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7D40"/>
              </a:buClr>
              <a:buSzTx/>
              <a:buFontTx/>
              <a:buNone/>
              <a:tabLst/>
              <a:defRPr/>
            </a:pPr>
            <a:r>
              <a:rPr kumimoji="0" lang="sr-Latn-RS" sz="1400" b="0" i="0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*</a:t>
            </a:r>
            <a:endParaRPr kumimoji="0" lang="en-US" sz="1400" b="0" i="0" u="none" strike="noStrike" kern="1200" cap="none" spc="0" normalizeH="0" baseline="0" noProof="0" dirty="0" err="1">
              <a:ln>
                <a:noFill/>
              </a:ln>
              <a:solidFill>
                <a:srgbClr val="55555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45E844-5B8B-AD56-0BCD-A4D85BB1D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26150" y="947057"/>
            <a:ext cx="5125020" cy="503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7287817-3417-503D-51AF-A3D0C59746A4}"/>
              </a:ext>
            </a:extLst>
          </p:cNvPr>
          <p:cNvSpPr txBox="1"/>
          <p:nvPr/>
        </p:nvSpPr>
        <p:spPr bwMode="gray">
          <a:xfrm>
            <a:off x="331019" y="5089071"/>
            <a:ext cx="6292863" cy="78921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2400" dirty="0">
                <a:solidFill>
                  <a:srgbClr val="FF0000"/>
                </a:solidFill>
              </a:rPr>
              <a:t>A šta je to različito i još dodatno za HiVo?</a:t>
            </a:r>
          </a:p>
        </p:txBody>
      </p:sp>
    </p:spTree>
  </p:cSld>
  <p:clrMapOvr>
    <a:masterClrMapping/>
  </p:clrMapOvr>
  <p:transition spd="med" advTm="15000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ép 6">
            <a:extLst>
              <a:ext uri="{FF2B5EF4-FFF2-40B4-BE49-F238E27FC236}">
                <a16:creationId xmlns:a16="http://schemas.microsoft.com/office/drawing/2014/main" id="{F8A64AFF-3F69-4071-B5DB-AEF36D1A9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13" name="Symbol zastępczy tekstu 12">
            <a:extLst>
              <a:ext uri="{FF2B5EF4-FFF2-40B4-BE49-F238E27FC236}">
                <a16:creationId xmlns:a16="http://schemas.microsoft.com/office/drawing/2014/main" id="{DEA77EEE-A5C6-43FD-A538-B52C5FD12F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673082-F094-41F5-A539-FC5A0CDD8B22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ytuł 10">
            <a:extLst>
              <a:ext uri="{FF2B5EF4-FFF2-40B4-BE49-F238E27FC236}">
                <a16:creationId xmlns:a16="http://schemas.microsoft.com/office/drawing/2014/main" id="{C799FA4E-EAE7-43BA-B025-44A946CB3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236" y="299421"/>
            <a:ext cx="3224427" cy="2008485"/>
          </a:xfrm>
        </p:spPr>
        <p:txBody>
          <a:bodyPr/>
          <a:lstStyle/>
          <a:p>
            <a:r>
              <a:rPr lang="en-US" sz="2800" b="1" dirty="0">
                <a:solidFill>
                  <a:schemeClr val="bg1"/>
                </a:solidFill>
              </a:rPr>
              <a:t>Let’s get started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sr-Latn-RS" sz="2800" dirty="0">
                <a:solidFill>
                  <a:schemeClr val="bg1"/>
                </a:solidFill>
              </a:rPr>
              <a:t>Pa da počnemo</a:t>
            </a:r>
            <a:br>
              <a:rPr lang="pl-PL" sz="2800" dirty="0"/>
            </a:br>
            <a:br>
              <a:rPr lang="pl-PL" sz="2800" dirty="0"/>
            </a:br>
            <a:br>
              <a:rPr lang="pl-PL" sz="2800" dirty="0"/>
            </a:br>
            <a:endParaRPr lang="pl-PL" dirty="0"/>
          </a:p>
        </p:txBody>
      </p:sp>
      <p:sp>
        <p:nvSpPr>
          <p:cNvPr id="14" name="Symbol zastępczy tekstu 13">
            <a:extLst>
              <a:ext uri="{FF2B5EF4-FFF2-40B4-BE49-F238E27FC236}">
                <a16:creationId xmlns:a16="http://schemas.microsoft.com/office/drawing/2014/main" id="{FE2A3DDE-7AB2-463C-B364-3380B870C5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3609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2">
            <a:extLst>
              <a:ext uri="{FF2B5EF4-FFF2-40B4-BE49-F238E27FC236}">
                <a16:creationId xmlns:a16="http://schemas.microsoft.com/office/drawing/2014/main" id="{C0995235-AC22-441F-955E-9E6C57A7E8BC}"/>
              </a:ext>
            </a:extLst>
          </p:cNvPr>
          <p:cNvSpPr/>
          <p:nvPr/>
        </p:nvSpPr>
        <p:spPr bwMode="gray">
          <a:xfrm>
            <a:off x="0" y="4087093"/>
            <a:ext cx="12192000" cy="2064520"/>
          </a:xfrm>
          <a:prstGeom prst="rect">
            <a:avLst/>
          </a:prstGeom>
          <a:solidFill>
            <a:srgbClr val="F2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marL="239994" indent="-239994" algn="ctr" defTabSz="1219140">
              <a:spcBef>
                <a:spcPts val="800"/>
              </a:spcBef>
              <a:spcAft>
                <a:spcPts val="800"/>
              </a:spcAft>
              <a:buFont typeface="Wingdings" panose="05000000000000000000" pitchFamily="2" charset="2"/>
              <a:buChar char="§"/>
              <a:defRPr/>
            </a:pPr>
            <a:endParaRPr lang="fr-FR" sz="1867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96" name="Rechteck 95"/>
          <p:cNvSpPr/>
          <p:nvPr/>
        </p:nvSpPr>
        <p:spPr>
          <a:xfrm>
            <a:off x="1594" y="1620005"/>
            <a:ext cx="693175" cy="58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de-DE" sz="337">
              <a:solidFill>
                <a:srgbClr val="F2F2F2"/>
              </a:solidFill>
              <a:latin typeface="Arial"/>
            </a:endParaRPr>
          </a:p>
        </p:txBody>
      </p:sp>
      <p:sp>
        <p:nvSpPr>
          <p:cNvPr id="71" name="Titre 3">
            <a:extLst>
              <a:ext uri="{FF2B5EF4-FFF2-40B4-BE49-F238E27FC236}">
                <a16:creationId xmlns:a16="http://schemas.microsoft.com/office/drawing/2014/main" id="{88136F24-13CF-4A3A-A40C-F899FF7DF74B}"/>
              </a:ext>
            </a:extLst>
          </p:cNvPr>
          <p:cNvSpPr txBox="1">
            <a:spLocks/>
          </p:cNvSpPr>
          <p:nvPr/>
        </p:nvSpPr>
        <p:spPr bwMode="gray">
          <a:xfrm>
            <a:off x="383117" y="478369"/>
            <a:ext cx="10922192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R="0" lvl="0" indent="0" defTabSz="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cs typeface="Helvetica" panose="020B0604020202020204" pitchFamily="34" charset="0"/>
              </a:defRPr>
            </a:lvl1pPr>
            <a:lvl2pPr marL="457200" defTabSz="914400"/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r>
              <a:rPr lang="sr-Latn-RS" sz="2800" dirty="0">
                <a:solidFill>
                  <a:srgbClr val="007D40"/>
                </a:solidFill>
              </a:rPr>
              <a:t>Testiranje HiVo vozila i prateće opreme za punjenje</a:t>
            </a:r>
            <a:endParaRPr lang="fr-FR" sz="2800" dirty="0">
              <a:solidFill>
                <a:srgbClr val="007D40"/>
              </a:solidFill>
            </a:endParaRPr>
          </a:p>
        </p:txBody>
      </p:sp>
      <p:pic>
        <p:nvPicPr>
          <p:cNvPr id="74" name="Image 17">
            <a:extLst>
              <a:ext uri="{FF2B5EF4-FFF2-40B4-BE49-F238E27FC236}">
                <a16:creationId xmlns:a16="http://schemas.microsoft.com/office/drawing/2014/main" id="{952AB86A-8A8E-4291-9C6F-521E5EA32E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5651" y="2658884"/>
            <a:ext cx="7747541" cy="3790624"/>
          </a:xfrm>
          <a:prstGeom prst="rect">
            <a:avLst/>
          </a:prstGeom>
        </p:spPr>
      </p:pic>
      <p:cxnSp>
        <p:nvCxnSpPr>
          <p:cNvPr id="77" name="Connecteur droit 26">
            <a:extLst>
              <a:ext uri="{FF2B5EF4-FFF2-40B4-BE49-F238E27FC236}">
                <a16:creationId xmlns:a16="http://schemas.microsoft.com/office/drawing/2014/main" id="{65552BB0-C4E8-43F1-85C6-BB3ADD96B3A9}"/>
              </a:ext>
            </a:extLst>
          </p:cNvPr>
          <p:cNvCxnSpPr>
            <a:cxnSpLocks/>
          </p:cNvCxnSpPr>
          <p:nvPr/>
        </p:nvCxnSpPr>
        <p:spPr bwMode="gray">
          <a:xfrm>
            <a:off x="5245100" y="1615602"/>
            <a:ext cx="3251200" cy="15331"/>
          </a:xfrm>
          <a:prstGeom prst="line">
            <a:avLst/>
          </a:prstGeom>
          <a:ln w="19050" cap="rnd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ZoneTexte 27">
            <a:extLst>
              <a:ext uri="{FF2B5EF4-FFF2-40B4-BE49-F238E27FC236}">
                <a16:creationId xmlns:a16="http://schemas.microsoft.com/office/drawing/2014/main" id="{5A4C3C70-3A5B-4F1D-B549-C6B557CBBE03}"/>
              </a:ext>
            </a:extLst>
          </p:cNvPr>
          <p:cNvSpPr txBox="1"/>
          <p:nvPr/>
        </p:nvSpPr>
        <p:spPr bwMode="gray">
          <a:xfrm>
            <a:off x="5352376" y="1196580"/>
            <a:ext cx="4731424" cy="41902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9140">
              <a:spcBef>
                <a:spcPts val="800"/>
              </a:spcBef>
              <a:spcAft>
                <a:spcPts val="800"/>
              </a:spcAft>
              <a:buClr>
                <a:srgbClr val="007D40"/>
              </a:buClr>
              <a:defRPr/>
            </a:pPr>
            <a:r>
              <a:rPr lang="sr-Latn-RS" sz="1733" dirty="0">
                <a:solidFill>
                  <a:srgbClr val="007D40"/>
                </a:solidFill>
                <a:latin typeface="Arial"/>
              </a:rPr>
              <a:t>Inicijalna i periodična testiranja punjača</a:t>
            </a:r>
            <a:endParaRPr lang="fr-FR" sz="1733" dirty="0">
              <a:solidFill>
                <a:srgbClr val="007D40"/>
              </a:solidFill>
              <a:latin typeface="Arial"/>
            </a:endParaRPr>
          </a:p>
        </p:txBody>
      </p:sp>
      <p:sp>
        <p:nvSpPr>
          <p:cNvPr id="83" name="ZoneTexte 33">
            <a:extLst>
              <a:ext uri="{FF2B5EF4-FFF2-40B4-BE49-F238E27FC236}">
                <a16:creationId xmlns:a16="http://schemas.microsoft.com/office/drawing/2014/main" id="{B9BC20FA-F47A-49EE-893D-5AE7ACCFB733}"/>
              </a:ext>
            </a:extLst>
          </p:cNvPr>
          <p:cNvSpPr txBox="1"/>
          <p:nvPr/>
        </p:nvSpPr>
        <p:spPr bwMode="gray">
          <a:xfrm>
            <a:off x="5245100" y="1678445"/>
            <a:ext cx="6428091" cy="2072427"/>
          </a:xfrm>
          <a:prstGeom prst="rect">
            <a:avLst/>
          </a:prstGeom>
          <a:noFill/>
        </p:spPr>
        <p:txBody>
          <a:bodyPr wrap="square" lIns="121920" tIns="60960" rIns="121920" bIns="60960" anchor="t">
            <a:spAutoFit/>
          </a:bodyPr>
          <a:lstStyle/>
          <a:p>
            <a:pPr marL="143996" indent="-143996" defTabSz="1219140">
              <a:buClr>
                <a:srgbClr val="007D40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Ispitivanje </a:t>
            </a:r>
            <a:r>
              <a:rPr lang="en-US" sz="1600" dirty="0" err="1"/>
              <a:t>električne</a:t>
            </a:r>
            <a:r>
              <a:rPr lang="en-US" sz="1600" dirty="0"/>
              <a:t> </a:t>
            </a:r>
            <a:r>
              <a:rPr lang="en-US" sz="1600" dirty="0" err="1"/>
              <a:t>sigurnosti</a:t>
            </a:r>
            <a:endParaRPr lang="sr-Latn-RS" sz="1600" dirty="0"/>
          </a:p>
          <a:p>
            <a:pPr marL="143996" indent="-143996" defTabSz="1219140">
              <a:buClr>
                <a:srgbClr val="007D40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/>
              <a:t>Zaštita</a:t>
            </a:r>
            <a:r>
              <a:rPr lang="en-US" sz="1600" dirty="0"/>
              <a:t> od </a:t>
            </a:r>
            <a:r>
              <a:rPr lang="en-US" sz="1600" dirty="0" err="1"/>
              <a:t>prenapona</a:t>
            </a:r>
            <a:endParaRPr lang="sr-Latn-RS" sz="1600" dirty="0"/>
          </a:p>
          <a:p>
            <a:pPr marL="143996" indent="-143996" defTabSz="1219140">
              <a:buClr>
                <a:srgbClr val="007D40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/>
              <a:t>Zaštita</a:t>
            </a:r>
            <a:r>
              <a:rPr lang="en-US" sz="1600" dirty="0"/>
              <a:t> od </a:t>
            </a:r>
            <a:r>
              <a:rPr lang="en-US" sz="1600" dirty="0" err="1"/>
              <a:t>kratkog</a:t>
            </a:r>
            <a:r>
              <a:rPr lang="en-US" sz="1600" dirty="0"/>
              <a:t> </a:t>
            </a:r>
            <a:r>
              <a:rPr lang="en-US" sz="1600" dirty="0" err="1"/>
              <a:t>spoja</a:t>
            </a:r>
            <a:endParaRPr lang="sr-Latn-RS" sz="1600" dirty="0"/>
          </a:p>
          <a:p>
            <a:pPr marL="143996" indent="-143996" defTabSz="1219140">
              <a:buClr>
                <a:srgbClr val="007D40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/>
              <a:t>Zaštita</a:t>
            </a:r>
            <a:r>
              <a:rPr lang="en-US" sz="1600" dirty="0"/>
              <a:t> STOP u </a:t>
            </a:r>
            <a:r>
              <a:rPr lang="en-US" sz="1600" dirty="0" err="1"/>
              <a:t>nuždi</a:t>
            </a:r>
            <a:endParaRPr lang="sr-Latn-RS" sz="1600" dirty="0"/>
          </a:p>
          <a:p>
            <a:pPr marL="143996" indent="-143996" defTabSz="1219140">
              <a:buClr>
                <a:srgbClr val="007D40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/>
              <a:t>Ispitivanje </a:t>
            </a:r>
            <a:r>
              <a:rPr lang="sr-Latn-RS" sz="1600" dirty="0"/>
              <a:t>saobraznosti/usagalšenosti</a:t>
            </a:r>
          </a:p>
          <a:p>
            <a:pPr marL="143996" indent="-143996" defTabSz="1219140">
              <a:buClr>
                <a:srgbClr val="007D40"/>
              </a:buClr>
              <a:buFont typeface="Arial" panose="020B0604020202020204" pitchFamily="34" charset="0"/>
              <a:buChar char="•"/>
              <a:defRPr/>
            </a:pPr>
            <a:r>
              <a:rPr lang="sr-Latn-RS" sz="1600" dirty="0"/>
              <a:t>I</a:t>
            </a:r>
            <a:r>
              <a:rPr lang="en-US" sz="1600" dirty="0" err="1"/>
              <a:t>zjednačavanje</a:t>
            </a:r>
            <a:r>
              <a:rPr lang="en-US" sz="1600" dirty="0"/>
              <a:t> </a:t>
            </a:r>
            <a:r>
              <a:rPr lang="en-US" sz="1600" dirty="0" err="1"/>
              <a:t>potencijala</a:t>
            </a:r>
            <a:endParaRPr lang="sr-Latn-RS" sz="1600" dirty="0"/>
          </a:p>
          <a:p>
            <a:pPr marL="143996" indent="-143996" defTabSz="1219140">
              <a:buClr>
                <a:srgbClr val="007D40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 err="1"/>
              <a:t>Funkcionalno</a:t>
            </a:r>
            <a:r>
              <a:rPr lang="en-US" sz="1600" dirty="0"/>
              <a:t> </a:t>
            </a:r>
            <a:r>
              <a:rPr lang="en-US" sz="1600" dirty="0" err="1"/>
              <a:t>ispitivanje</a:t>
            </a:r>
            <a:r>
              <a:rPr lang="en-US" sz="1600" dirty="0"/>
              <a:t> </a:t>
            </a:r>
            <a:r>
              <a:rPr lang="en-US" sz="1600" dirty="0" err="1"/>
              <a:t>sa</a:t>
            </a:r>
            <a:r>
              <a:rPr lang="en-US" sz="1600" dirty="0"/>
              <a:t> </a:t>
            </a:r>
            <a:r>
              <a:rPr lang="en-US" sz="1600" dirty="0" err="1"/>
              <a:t>simulacijom</a:t>
            </a:r>
            <a:r>
              <a:rPr lang="en-US" sz="1600" dirty="0"/>
              <a:t> </a:t>
            </a:r>
            <a:r>
              <a:rPr lang="en-US" sz="1600" dirty="0" err="1"/>
              <a:t>kvara</a:t>
            </a:r>
            <a:br>
              <a:rPr lang="en-US" sz="2400" dirty="0"/>
            </a:br>
            <a:endParaRPr lang="en-US" sz="1467" dirty="0">
              <a:solidFill>
                <a:srgbClr val="555555"/>
              </a:solidFill>
              <a:latin typeface="Arial"/>
              <a:cs typeface="Arial"/>
            </a:endParaRPr>
          </a:p>
        </p:txBody>
      </p:sp>
      <p:pic>
        <p:nvPicPr>
          <p:cNvPr id="92" name="Graphique 36">
            <a:extLst>
              <a:ext uri="{FF2B5EF4-FFF2-40B4-BE49-F238E27FC236}">
                <a16:creationId xmlns:a16="http://schemas.microsoft.com/office/drawing/2014/main" id="{5A69FBF8-DAFF-4F85-BB26-6A7B8F6845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40740" y="1630933"/>
            <a:ext cx="1487432" cy="4444996"/>
          </a:xfrm>
          <a:prstGeom prst="rect">
            <a:avLst/>
          </a:prstGeom>
        </p:spPr>
      </p:pic>
      <p:pic>
        <p:nvPicPr>
          <p:cNvPr id="99" name="Graphique 47">
            <a:extLst>
              <a:ext uri="{FF2B5EF4-FFF2-40B4-BE49-F238E27FC236}">
                <a16:creationId xmlns:a16="http://schemas.microsoft.com/office/drawing/2014/main" id="{A925CAF9-04B8-4D4C-98A4-7BC5F66092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44950" y="3040088"/>
            <a:ext cx="428461" cy="478240"/>
          </a:xfrm>
          <a:prstGeom prst="rect">
            <a:avLst/>
          </a:prstGeom>
        </p:spPr>
      </p:pic>
      <p:pic>
        <p:nvPicPr>
          <p:cNvPr id="100" name="Graphique 49">
            <a:extLst>
              <a:ext uri="{FF2B5EF4-FFF2-40B4-BE49-F238E27FC236}">
                <a16:creationId xmlns:a16="http://schemas.microsoft.com/office/drawing/2014/main" id="{A0AF2600-3FD9-4CB6-95D5-F3A84A0724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44433" y="1856881"/>
            <a:ext cx="402444" cy="519748"/>
          </a:xfrm>
          <a:prstGeom prst="rect">
            <a:avLst/>
          </a:prstGeom>
        </p:spPr>
      </p:pic>
      <p:pic>
        <p:nvPicPr>
          <p:cNvPr id="101" name="Graphique 51">
            <a:extLst>
              <a:ext uri="{FF2B5EF4-FFF2-40B4-BE49-F238E27FC236}">
                <a16:creationId xmlns:a16="http://schemas.microsoft.com/office/drawing/2014/main" id="{3068E746-574F-44BA-85ED-A2363D1BF1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313023" y="5326244"/>
            <a:ext cx="403668" cy="505528"/>
          </a:xfrm>
          <a:prstGeom prst="rect">
            <a:avLst/>
          </a:prstGeom>
        </p:spPr>
      </p:pic>
      <p:pic>
        <p:nvPicPr>
          <p:cNvPr id="102" name="Graphique 53">
            <a:extLst>
              <a:ext uri="{FF2B5EF4-FFF2-40B4-BE49-F238E27FC236}">
                <a16:creationId xmlns:a16="http://schemas.microsoft.com/office/drawing/2014/main" id="{56E89875-7D32-456A-B543-ACA47934C15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16784" y="4193703"/>
            <a:ext cx="457739" cy="45773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203ADAF-8ED4-DD53-17E4-F3A0BA95C769}"/>
              </a:ext>
            </a:extLst>
          </p:cNvPr>
          <p:cNvSpPr txBox="1"/>
          <p:nvPr/>
        </p:nvSpPr>
        <p:spPr>
          <a:xfrm>
            <a:off x="139700" y="1615602"/>
            <a:ext cx="2205249" cy="21242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467" dirty="0">
                <a:solidFill>
                  <a:srgbClr val="585858"/>
                </a:solidFill>
                <a:latin typeface="Arial" panose="020B0604020202020204" pitchFamily="34" charset="0"/>
              </a:rPr>
              <a:t>Dodatna specijalizvoana 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stiranja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 </a:t>
            </a:r>
            <a:r>
              <a:rPr lang="sr-Latn-RS" sz="1467" dirty="0">
                <a:solidFill>
                  <a:srgbClr val="585858"/>
                </a:solidFill>
                <a:latin typeface="Arial" panose="020B0604020202020204" pitchFamily="34" charset="0"/>
              </a:rPr>
              <a:t>s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rtifi</a:t>
            </a:r>
            <a:r>
              <a:rPr kumimoji="0" lang="sr-Latn-R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acij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za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ve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rste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sr-Latn-RS" sz="1467" dirty="0">
                <a:solidFill>
                  <a:srgbClr val="585858"/>
                </a:solidFill>
                <a:latin typeface="Arial" panose="020B0604020202020204" pitchFamily="34" charset="0"/>
              </a:rPr>
              <a:t>komponenti kao i za celinu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lektričnih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ozila</a:t>
            </a:r>
            <a:r>
              <a:rPr lang="sr-Latn-RS" sz="1467" dirty="0">
                <a:solidFill>
                  <a:srgbClr val="585858"/>
                </a:solidFill>
                <a:latin typeface="Arial" panose="020B0604020202020204" pitchFamily="34" charset="0"/>
              </a:rPr>
              <a:t>, te prateće infrstrukture, sistema Vx, zatim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ućn</a:t>
            </a:r>
            <a:r>
              <a:rPr lang="sr-Latn-RS" sz="1467" dirty="0">
                <a:solidFill>
                  <a:srgbClr val="585858"/>
                </a:solidFill>
                <a:latin typeface="Arial" panose="020B0604020202020204" pitchFamily="34" charset="0"/>
              </a:rPr>
              <a:t>ih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dustrijsk</a:t>
            </a:r>
            <a:r>
              <a:rPr kumimoji="0" lang="sr-Latn-R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h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šenja</a:t>
            </a: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za </a:t>
            </a:r>
            <a:r>
              <a:rPr kumimoji="0" lang="en-US" sz="1467" b="0" i="0" u="none" strike="noStrike" kern="1200" cap="none" spc="0" normalizeH="0" baseline="0" noProof="0" dirty="0" err="1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njenje</a:t>
            </a:r>
            <a:r>
              <a:rPr kumimoji="0" lang="sr-Latn-RS" sz="1467" b="0" i="0" u="none" strike="noStrike" kern="120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td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85F4EA-6441-F522-7CFD-1EA501D82881}"/>
              </a:ext>
            </a:extLst>
          </p:cNvPr>
          <p:cNvSpPr txBox="1"/>
          <p:nvPr/>
        </p:nvSpPr>
        <p:spPr>
          <a:xfrm>
            <a:off x="285750" y="1416050"/>
            <a:ext cx="2305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4024467003"/>
      </p:ext>
    </p:extLst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7" descr="Ein Bild, das Text, Schild, verschieden enthält.&#10;&#10;Automatisch generierte Beschreibung">
            <a:extLst>
              <a:ext uri="{FF2B5EF4-FFF2-40B4-BE49-F238E27FC236}">
                <a16:creationId xmlns:a16="http://schemas.microsoft.com/office/drawing/2014/main" id="{E551C3C3-804C-447A-878E-64C3A32114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56"/>
          <a:stretch/>
        </p:blipFill>
        <p:spPr>
          <a:xfrm>
            <a:off x="923553" y="996671"/>
            <a:ext cx="10381756" cy="5217861"/>
          </a:xfrm>
          <a:prstGeom prst="rect">
            <a:avLst/>
          </a:prstGeom>
        </p:spPr>
      </p:pic>
      <p:sp>
        <p:nvSpPr>
          <p:cNvPr id="21" name="Titre 3">
            <a:extLst>
              <a:ext uri="{FF2B5EF4-FFF2-40B4-BE49-F238E27FC236}">
                <a16:creationId xmlns:a16="http://schemas.microsoft.com/office/drawing/2014/main" id="{9870F3A4-7885-42A0-A89A-80372900247C}"/>
              </a:ext>
            </a:extLst>
          </p:cNvPr>
          <p:cNvSpPr txBox="1">
            <a:spLocks/>
          </p:cNvSpPr>
          <p:nvPr/>
        </p:nvSpPr>
        <p:spPr bwMode="gray">
          <a:xfrm>
            <a:off x="383118" y="365726"/>
            <a:ext cx="965135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R="0" lvl="0" indent="0" defTabSz="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cs typeface="Helvetica" panose="020B0604020202020204" pitchFamily="34" charset="0"/>
              </a:defRPr>
            </a:lvl1pPr>
            <a:lvl2pPr marL="457200" defTabSz="914400"/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pPr defTabSz="457189"/>
            <a:r>
              <a:rPr lang="sr-Latn-RS" sz="2800" dirty="0">
                <a:solidFill>
                  <a:srgbClr val="007D40"/>
                </a:solidFill>
              </a:rPr>
              <a:t>Testiranje i sertifikacija opreme za punjenje HiVo</a:t>
            </a:r>
            <a:endParaRPr lang="fr-FR" sz="2800" dirty="0">
              <a:solidFill>
                <a:srgbClr val="007D40"/>
              </a:solidFill>
            </a:endParaRPr>
          </a:p>
        </p:txBody>
      </p:sp>
      <p:sp>
        <p:nvSpPr>
          <p:cNvPr id="25" name="ZoneTexte 15">
            <a:extLst>
              <a:ext uri="{FF2B5EF4-FFF2-40B4-BE49-F238E27FC236}">
                <a16:creationId xmlns:a16="http://schemas.microsoft.com/office/drawing/2014/main" id="{C7F86B10-B050-400B-83CA-F2227DF32B9B}"/>
              </a:ext>
            </a:extLst>
          </p:cNvPr>
          <p:cNvSpPr txBox="1"/>
          <p:nvPr/>
        </p:nvSpPr>
        <p:spPr bwMode="gray">
          <a:xfrm>
            <a:off x="5275063" y="6375450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219140"/>
            <a:r>
              <a:rPr lang="en-US" sz="1200" dirty="0">
                <a:solidFill>
                  <a:srgbClr val="3C3C3C"/>
                </a:solidFill>
                <a:latin typeface="FuturaStd-Book"/>
              </a:rPr>
              <a:t>Find out more on </a:t>
            </a:r>
            <a:r>
              <a:rPr lang="en-US" sz="1200" dirty="0">
                <a:solidFill>
                  <a:srgbClr val="3C3C3C"/>
                </a:solidFill>
                <a:latin typeface="FuturaStd-Heavy"/>
              </a:rPr>
              <a:t>dekra-product-safety.com/</a:t>
            </a:r>
            <a:r>
              <a:rPr lang="en-US" sz="1200" dirty="0" err="1">
                <a:solidFill>
                  <a:srgbClr val="3C3C3C"/>
                </a:solidFill>
                <a:latin typeface="FuturaStd-Heavy"/>
              </a:rPr>
              <a:t>en</a:t>
            </a:r>
            <a:r>
              <a:rPr lang="en-US" sz="1200" dirty="0">
                <a:solidFill>
                  <a:srgbClr val="3C3C3C"/>
                </a:solidFill>
                <a:latin typeface="FuturaStd-Heavy"/>
              </a:rPr>
              <a:t>/e-mobility </a:t>
            </a:r>
            <a:endParaRPr lang="en-US" sz="1200" dirty="0">
              <a:solidFill>
                <a:srgbClr val="3C3C3C"/>
              </a:solidFill>
              <a:latin typeface="Arial"/>
            </a:endParaRP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AE49F9A1-AA5D-4C7A-9B3C-59E816719366}"/>
              </a:ext>
            </a:extLst>
          </p:cNvPr>
          <p:cNvSpPr txBox="1">
            <a:spLocks/>
          </p:cNvSpPr>
          <p:nvPr/>
        </p:nvSpPr>
        <p:spPr>
          <a:xfrm>
            <a:off x="383118" y="6332960"/>
            <a:ext cx="407247" cy="18256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/>
            <a:fld id="{95862BB2-6545-43FB-8344-C215873BF11C}" type="slidenum">
              <a:rPr lang="de-DE" sz="1067">
                <a:solidFill>
                  <a:srgbClr val="F2F2F2">
                    <a:lumMod val="50000"/>
                  </a:srgbClr>
                </a:solidFill>
                <a:latin typeface="Arial"/>
              </a:rPr>
              <a:pPr defTabSz="914377"/>
              <a:t>7</a:t>
            </a:fld>
            <a:endParaRPr lang="de-DE" sz="1067" dirty="0">
              <a:solidFill>
                <a:srgbClr val="F2F2F2">
                  <a:lumMod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8774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713C5D2-94F1-4173-8C85-F441AED066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40"/>
            <a:fld id="{95862BB2-6545-43FB-8344-C215873BF11C}" type="slidenum">
              <a:rPr lang="de-DE">
                <a:solidFill>
                  <a:srgbClr val="F2F2F2">
                    <a:lumMod val="50000"/>
                  </a:srgbClr>
                </a:solidFill>
                <a:latin typeface="Arial"/>
              </a:rPr>
              <a:pPr defTabSz="1219140"/>
              <a:t>8</a:t>
            </a:fld>
            <a:endParaRPr lang="de-DE">
              <a:solidFill>
                <a:srgbClr val="F2F2F2">
                  <a:lumMod val="50000"/>
                </a:srgbClr>
              </a:solidFill>
              <a:latin typeface="Arial"/>
            </a:endParaRPr>
          </a:p>
        </p:txBody>
      </p:sp>
      <p:grpSp>
        <p:nvGrpSpPr>
          <p:cNvPr id="6" name="Groupe 1">
            <a:extLst>
              <a:ext uri="{FF2B5EF4-FFF2-40B4-BE49-F238E27FC236}">
                <a16:creationId xmlns:a16="http://schemas.microsoft.com/office/drawing/2014/main" id="{B1BC9AA6-2C56-4058-9E8A-83D2C3A0DBE9}"/>
              </a:ext>
            </a:extLst>
          </p:cNvPr>
          <p:cNvGrpSpPr>
            <a:grpSpLocks noChangeAspect="1"/>
          </p:cNvGrpSpPr>
          <p:nvPr/>
        </p:nvGrpSpPr>
        <p:grpSpPr>
          <a:xfrm>
            <a:off x="344080" y="1943605"/>
            <a:ext cx="11462129" cy="3267871"/>
            <a:chOff x="664456" y="1457703"/>
            <a:chExt cx="7815088" cy="2228093"/>
          </a:xfrm>
        </p:grpSpPr>
        <p:pic>
          <p:nvPicPr>
            <p:cNvPr id="7" name="Image 24">
              <a:extLst>
                <a:ext uri="{FF2B5EF4-FFF2-40B4-BE49-F238E27FC236}">
                  <a16:creationId xmlns:a16="http://schemas.microsoft.com/office/drawing/2014/main" id="{0624966B-6B71-4FFE-9BBA-75C4A5A5C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4456" y="1457703"/>
              <a:ext cx="7815088" cy="2228093"/>
            </a:xfrm>
            <a:prstGeom prst="rect">
              <a:avLst/>
            </a:prstGeom>
          </p:spPr>
        </p:pic>
        <p:pic>
          <p:nvPicPr>
            <p:cNvPr id="8" name="Image 33">
              <a:extLst>
                <a:ext uri="{FF2B5EF4-FFF2-40B4-BE49-F238E27FC236}">
                  <a16:creationId xmlns:a16="http://schemas.microsoft.com/office/drawing/2014/main" id="{A5C7F87E-27F0-481E-9E31-28C0A39823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383" b="7724"/>
            <a:stretch/>
          </p:blipFill>
          <p:spPr>
            <a:xfrm>
              <a:off x="823913" y="1852611"/>
              <a:ext cx="1599410" cy="1100137"/>
            </a:xfrm>
            <a:prstGeom prst="rect">
              <a:avLst/>
            </a:prstGeom>
          </p:spPr>
        </p:pic>
        <p:pic>
          <p:nvPicPr>
            <p:cNvPr id="9" name="Image 35" descr="Une image contenant extérieur, transport&#10;&#10;Description générée automatiquement">
              <a:extLst>
                <a:ext uri="{FF2B5EF4-FFF2-40B4-BE49-F238E27FC236}">
                  <a16:creationId xmlns:a16="http://schemas.microsoft.com/office/drawing/2014/main" id="{BCA09A77-B2D4-4815-A2BB-1168BD5BA9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901" t="5669" r="1294" b="2223"/>
            <a:stretch/>
          </p:blipFill>
          <p:spPr>
            <a:xfrm>
              <a:off x="6761711" y="1852611"/>
              <a:ext cx="1599409" cy="1100138"/>
            </a:xfrm>
            <a:prstGeom prst="rect">
              <a:avLst/>
            </a:prstGeom>
          </p:spPr>
        </p:pic>
        <p:pic>
          <p:nvPicPr>
            <p:cNvPr id="10" name="Image 37" descr="Une image contenant texte, bâtiment, extérieur, route&#10;&#10;Description générée automatiquement">
              <a:extLst>
                <a:ext uri="{FF2B5EF4-FFF2-40B4-BE49-F238E27FC236}">
                  <a16:creationId xmlns:a16="http://schemas.microsoft.com/office/drawing/2014/main" id="{9F47A44B-2C1C-4C0A-A23A-1BEE5CF7B8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540" b="7229"/>
            <a:stretch/>
          </p:blipFill>
          <p:spPr>
            <a:xfrm>
              <a:off x="4779456" y="1852611"/>
              <a:ext cx="1601512" cy="1100137"/>
            </a:xfrm>
            <a:prstGeom prst="rect">
              <a:avLst/>
            </a:prstGeom>
          </p:spPr>
        </p:pic>
        <p:pic>
          <p:nvPicPr>
            <p:cNvPr id="11" name="Image 39" descr="Une image contenant texte&#10;&#10;Description générée automatiquement">
              <a:extLst>
                <a:ext uri="{FF2B5EF4-FFF2-40B4-BE49-F238E27FC236}">
                  <a16:creationId xmlns:a16="http://schemas.microsoft.com/office/drawing/2014/main" id="{5A5FDFD6-53E5-47FE-9F1C-8BFDE3F684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472" t="-1" b="7042"/>
            <a:stretch/>
          </p:blipFill>
          <p:spPr>
            <a:xfrm>
              <a:off x="2801685" y="1852611"/>
              <a:ext cx="1599409" cy="1100137"/>
            </a:xfrm>
            <a:prstGeom prst="rect">
              <a:avLst/>
            </a:prstGeom>
          </p:spPr>
        </p:pic>
        <p:sp>
          <p:nvSpPr>
            <p:cNvPr id="12" name="ZoneTexte 40">
              <a:extLst>
                <a:ext uri="{FF2B5EF4-FFF2-40B4-BE49-F238E27FC236}">
                  <a16:creationId xmlns:a16="http://schemas.microsoft.com/office/drawing/2014/main" id="{F3E161CD-3344-44D4-99E4-681603D6B09D}"/>
                </a:ext>
              </a:extLst>
            </p:cNvPr>
            <p:cNvSpPr txBox="1"/>
            <p:nvPr/>
          </p:nvSpPr>
          <p:spPr bwMode="gray">
            <a:xfrm>
              <a:off x="1512528" y="1620314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FFFFFF"/>
                  </a:solidFill>
                  <a:latin typeface="Arial"/>
                </a:rPr>
                <a:t>AC</a:t>
              </a:r>
              <a:endParaRPr lang="en-US" sz="1467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" name="ZoneTexte 41">
              <a:extLst>
                <a:ext uri="{FF2B5EF4-FFF2-40B4-BE49-F238E27FC236}">
                  <a16:creationId xmlns:a16="http://schemas.microsoft.com/office/drawing/2014/main" id="{45F66D5A-D988-4434-AA7C-743B3AEB7B68}"/>
                </a:ext>
              </a:extLst>
            </p:cNvPr>
            <p:cNvSpPr txBox="1"/>
            <p:nvPr/>
          </p:nvSpPr>
          <p:spPr bwMode="gray">
            <a:xfrm>
              <a:off x="3493584" y="1620315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FFFFFF"/>
                  </a:solidFill>
                  <a:latin typeface="Arial"/>
                </a:rPr>
                <a:t>DC</a:t>
              </a:r>
              <a:endParaRPr lang="en-US" sz="1467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" name="ZoneTexte 42">
              <a:extLst>
                <a:ext uri="{FF2B5EF4-FFF2-40B4-BE49-F238E27FC236}">
                  <a16:creationId xmlns:a16="http://schemas.microsoft.com/office/drawing/2014/main" id="{C64BA39B-BFE4-426C-96A5-9A11B9F40B50}"/>
                </a:ext>
              </a:extLst>
            </p:cNvPr>
            <p:cNvSpPr txBox="1"/>
            <p:nvPr/>
          </p:nvSpPr>
          <p:spPr bwMode="gray">
            <a:xfrm>
              <a:off x="5474640" y="1620313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FFFFFF"/>
                  </a:solidFill>
                  <a:latin typeface="Arial"/>
                </a:rPr>
                <a:t>DC lower power</a:t>
              </a:r>
              <a:endParaRPr lang="en-US" sz="1467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" name="ZoneTexte 43">
              <a:extLst>
                <a:ext uri="{FF2B5EF4-FFF2-40B4-BE49-F238E27FC236}">
                  <a16:creationId xmlns:a16="http://schemas.microsoft.com/office/drawing/2014/main" id="{B17E5FA6-6337-4FAE-8755-36606567579B}"/>
                </a:ext>
              </a:extLst>
            </p:cNvPr>
            <p:cNvSpPr txBox="1"/>
            <p:nvPr/>
          </p:nvSpPr>
          <p:spPr bwMode="gray">
            <a:xfrm>
              <a:off x="7455696" y="1620314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FFFFFF"/>
                  </a:solidFill>
                  <a:latin typeface="Arial"/>
                </a:rPr>
                <a:t>DC high power</a:t>
              </a:r>
              <a:endParaRPr lang="en-US" sz="1467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6" name="ZoneTexte 44">
              <a:extLst>
                <a:ext uri="{FF2B5EF4-FFF2-40B4-BE49-F238E27FC236}">
                  <a16:creationId xmlns:a16="http://schemas.microsoft.com/office/drawing/2014/main" id="{40FEA685-8B4D-4704-A011-8D7E9F790F29}"/>
                </a:ext>
              </a:extLst>
            </p:cNvPr>
            <p:cNvSpPr txBox="1"/>
            <p:nvPr/>
          </p:nvSpPr>
          <p:spPr bwMode="gray">
            <a:xfrm>
              <a:off x="1210245" y="3113929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007D40"/>
                  </a:solidFill>
                  <a:latin typeface="Arial"/>
                </a:rPr>
                <a:t>3-22kW</a:t>
              </a:r>
              <a:endParaRPr lang="en-US" sz="1467">
                <a:solidFill>
                  <a:srgbClr val="007D40"/>
                </a:solidFill>
                <a:latin typeface="Arial"/>
              </a:endParaRPr>
            </a:p>
          </p:txBody>
        </p:sp>
        <p:sp>
          <p:nvSpPr>
            <p:cNvPr id="17" name="ZoneTexte 45">
              <a:extLst>
                <a:ext uri="{FF2B5EF4-FFF2-40B4-BE49-F238E27FC236}">
                  <a16:creationId xmlns:a16="http://schemas.microsoft.com/office/drawing/2014/main" id="{AFE03E0A-EFA1-42E7-AA9F-78EA0FE052BA}"/>
                </a:ext>
              </a:extLst>
            </p:cNvPr>
            <p:cNvSpPr txBox="1"/>
            <p:nvPr/>
          </p:nvSpPr>
          <p:spPr bwMode="gray">
            <a:xfrm>
              <a:off x="3188016" y="3116541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007D40"/>
                  </a:solidFill>
                  <a:latin typeface="Arial"/>
                </a:rPr>
                <a:t>20-25kW</a:t>
              </a:r>
              <a:endParaRPr lang="en-US" sz="1467">
                <a:solidFill>
                  <a:srgbClr val="007D40"/>
                </a:solidFill>
                <a:latin typeface="Arial"/>
              </a:endParaRPr>
            </a:p>
          </p:txBody>
        </p:sp>
        <p:sp>
          <p:nvSpPr>
            <p:cNvPr id="18" name="ZoneTexte 46">
              <a:extLst>
                <a:ext uri="{FF2B5EF4-FFF2-40B4-BE49-F238E27FC236}">
                  <a16:creationId xmlns:a16="http://schemas.microsoft.com/office/drawing/2014/main" id="{B06E5396-C93F-4D55-BCAA-4305AE592AE5}"/>
                </a:ext>
              </a:extLst>
            </p:cNvPr>
            <p:cNvSpPr txBox="1"/>
            <p:nvPr/>
          </p:nvSpPr>
          <p:spPr bwMode="gray">
            <a:xfrm>
              <a:off x="5166839" y="3113929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007D40"/>
                  </a:solidFill>
                  <a:latin typeface="Arial"/>
                </a:rPr>
                <a:t>50kW</a:t>
              </a:r>
              <a:endParaRPr lang="en-US" sz="1467">
                <a:solidFill>
                  <a:srgbClr val="007D40"/>
                </a:solidFill>
                <a:latin typeface="Arial"/>
              </a:endParaRPr>
            </a:p>
          </p:txBody>
        </p:sp>
        <p:sp>
          <p:nvSpPr>
            <p:cNvPr id="19" name="ZoneTexte 47">
              <a:extLst>
                <a:ext uri="{FF2B5EF4-FFF2-40B4-BE49-F238E27FC236}">
                  <a16:creationId xmlns:a16="http://schemas.microsoft.com/office/drawing/2014/main" id="{A9A130C4-CD0D-4F2D-86D3-9F7A0B81F043}"/>
                </a:ext>
              </a:extLst>
            </p:cNvPr>
            <p:cNvSpPr txBox="1"/>
            <p:nvPr/>
          </p:nvSpPr>
          <p:spPr bwMode="gray">
            <a:xfrm>
              <a:off x="7148042" y="3113929"/>
              <a:ext cx="826746" cy="136895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ctr" defTabSz="1219140">
                <a:spcBef>
                  <a:spcPts val="800"/>
                </a:spcBef>
                <a:spcAft>
                  <a:spcPts val="800"/>
                </a:spcAft>
                <a:buClr>
                  <a:srgbClr val="007D40"/>
                </a:buClr>
                <a:defRPr/>
              </a:pPr>
              <a:r>
                <a:rPr lang="en-US" sz="1467" b="1">
                  <a:solidFill>
                    <a:srgbClr val="007D40"/>
                  </a:solidFill>
                  <a:latin typeface="Arial"/>
                </a:rPr>
                <a:t>150-350kW+</a:t>
              </a:r>
              <a:endParaRPr lang="en-US" sz="1467">
                <a:solidFill>
                  <a:srgbClr val="007D40"/>
                </a:solidFill>
                <a:latin typeface="Arial"/>
              </a:endParaRPr>
            </a:p>
          </p:txBody>
        </p:sp>
      </p:grpSp>
      <p:sp>
        <p:nvSpPr>
          <p:cNvPr id="20" name="Titre 3">
            <a:extLst>
              <a:ext uri="{FF2B5EF4-FFF2-40B4-BE49-F238E27FC236}">
                <a16:creationId xmlns:a16="http://schemas.microsoft.com/office/drawing/2014/main" id="{F6AA0628-94F2-40F1-B8A6-91B035B66B89}"/>
              </a:ext>
            </a:extLst>
          </p:cNvPr>
          <p:cNvSpPr txBox="1">
            <a:spLocks/>
          </p:cNvSpPr>
          <p:nvPr/>
        </p:nvSpPr>
        <p:spPr bwMode="gray">
          <a:xfrm>
            <a:off x="383118" y="365076"/>
            <a:ext cx="1042342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R="0" lvl="0" indent="0" defTabSz="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cs typeface="Helvetica" panose="020B0604020202020204" pitchFamily="34" charset="0"/>
              </a:defRPr>
            </a:lvl1pPr>
            <a:lvl2pPr marL="457200" defTabSz="914400"/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pPr defTabSz="457189"/>
            <a:r>
              <a:rPr lang="sr-Latn-RS" sz="2800" dirty="0">
                <a:solidFill>
                  <a:srgbClr val="007D40"/>
                </a:solidFill>
              </a:rPr>
              <a:t>Testiranje punjača za HiVo</a:t>
            </a:r>
            <a:endParaRPr lang="fr-FR" sz="2800" dirty="0">
              <a:solidFill>
                <a:srgbClr val="007D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2944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voiture, personne&#10;&#10;Description générée automatiquement">
            <a:extLst>
              <a:ext uri="{FF2B5EF4-FFF2-40B4-BE49-F238E27FC236}">
                <a16:creationId xmlns:a16="http://schemas.microsoft.com/office/drawing/2014/main" id="{1C968E17-3A74-FF32-57B3-4F44EAE425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59" b="2671"/>
          <a:stretch/>
        </p:blipFill>
        <p:spPr>
          <a:xfrm>
            <a:off x="20" y="1"/>
            <a:ext cx="12191980" cy="7081156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-1" y="299357"/>
            <a:ext cx="6297387" cy="11103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600" dirty="0">
                <a:solidFill>
                  <a:srgbClr val="007D40"/>
                </a:solidFill>
                <a:latin typeface="Arial"/>
              </a:rPr>
              <a:t>DEKRA </a:t>
            </a:r>
          </a:p>
          <a:p>
            <a:pPr algn="ctr" defTabSz="914377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sr-Latn-RS" sz="3600" dirty="0">
                <a:solidFill>
                  <a:srgbClr val="007D40"/>
                </a:solidFill>
                <a:latin typeface="Arial"/>
              </a:rPr>
              <a:t>Brzi test baterije u vozilu  </a:t>
            </a:r>
            <a:endParaRPr lang="en-US" sz="3600" dirty="0">
              <a:solidFill>
                <a:srgbClr val="007D4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7047819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DEKRA_Master_new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KRA_PowerPoint-Master-2019-16-9_EN-2  -  Schreibgeschützt" id="{59FFFECD-1642-40CA-831C-FDCB7A7A72CE}" vid="{5F9FE98F-5D07-4994-AAB7-D991DE841F81}"/>
    </a:ext>
  </a:extLst>
</a:theme>
</file>

<file path=ppt/theme/theme2.xml><?xml version="1.0" encoding="utf-8"?>
<a:theme xmlns:a="http://schemas.openxmlformats.org/drawingml/2006/main" name="DEKRA_Master_neu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kra_Master_16-9_v10.pptx" id="{876943AF-4A3A-4B4D-B311-A9B583472379}" vid="{411B7875-6049-4587-8944-230669F92165}"/>
    </a:ext>
  </a:extLst>
</a:theme>
</file>

<file path=ppt/theme/theme3.xml><?xml version="1.0" encoding="utf-8"?>
<a:theme xmlns:a="http://schemas.openxmlformats.org/drawingml/2006/main" name="1_DEKRA Digital Slide Master No.2">
  <a:themeElements>
    <a:clrScheme name="DEKRA Digital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3FCC88"/>
      </a:accent1>
      <a:accent2>
        <a:srgbClr val="FFE600"/>
      </a:accent2>
      <a:accent3>
        <a:srgbClr val="AAF0AF"/>
      </a:accent3>
      <a:accent4>
        <a:srgbClr val="007D40"/>
      </a:accent4>
      <a:accent5>
        <a:srgbClr val="000000"/>
      </a:accent5>
      <a:accent6>
        <a:srgbClr val="757070"/>
      </a:accent6>
      <a:hlink>
        <a:srgbClr val="AAF0AF"/>
      </a:hlink>
      <a:folHlink>
        <a:srgbClr val="007D4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Vianova demo theme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00D9AA"/>
      </a:accent1>
      <a:accent2>
        <a:srgbClr val="9900FF"/>
      </a:accent2>
      <a:accent3>
        <a:srgbClr val="24384B"/>
      </a:accent3>
      <a:accent4>
        <a:srgbClr val="78909C"/>
      </a:accent4>
      <a:accent5>
        <a:srgbClr val="FF00FF"/>
      </a:accent5>
      <a:accent6>
        <a:srgbClr val="78909C"/>
      </a:accent6>
      <a:hlink>
        <a:srgbClr val="FF00FF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1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ème1" id="{3DA13AAA-CAB1-437D-A56C-E36DBCFBD3DD}" vid="{8C4BBDBA-67F6-4868-83DB-AA6E6EBE5896}"/>
    </a:ext>
  </a:extLst>
</a:theme>
</file>

<file path=ppt/theme/theme6.xml><?xml version="1.0" encoding="utf-8"?>
<a:theme xmlns:a="http://schemas.openxmlformats.org/drawingml/2006/main" name="1_Office">
  <a:themeElements>
    <a:clrScheme name="DEKRA 2022">
      <a:dk1>
        <a:srgbClr val="3C3C3C"/>
      </a:dk1>
      <a:lt1>
        <a:srgbClr val="F2F2F2"/>
      </a:lt1>
      <a:dk2>
        <a:srgbClr val="2D2D2D"/>
      </a:dk2>
      <a:lt2>
        <a:srgbClr val="BFBFBF"/>
      </a:lt2>
      <a:accent1>
        <a:srgbClr val="57AB27"/>
      </a:accent1>
      <a:accent2>
        <a:srgbClr val="007D40"/>
      </a:accent2>
      <a:accent3>
        <a:srgbClr val="007D40"/>
      </a:accent3>
      <a:accent4>
        <a:srgbClr val="1A6E3C"/>
      </a:accent4>
      <a:accent5>
        <a:srgbClr val="57AB27"/>
      </a:accent5>
      <a:accent6>
        <a:srgbClr val="57AB27"/>
      </a:accent6>
      <a:hlink>
        <a:srgbClr val="0563C1"/>
      </a:hlink>
      <a:folHlink>
        <a:srgbClr val="954F72"/>
      </a:folHlink>
    </a:clrScheme>
    <a:fontScheme name="DEKRA MSOff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Office">
  <a:themeElements>
    <a:clrScheme name="DEKRA 2022">
      <a:dk1>
        <a:srgbClr val="3C3C3C"/>
      </a:dk1>
      <a:lt1>
        <a:srgbClr val="F2F2F2"/>
      </a:lt1>
      <a:dk2>
        <a:srgbClr val="2D2D2D"/>
      </a:dk2>
      <a:lt2>
        <a:srgbClr val="BFBFBF"/>
      </a:lt2>
      <a:accent1>
        <a:srgbClr val="57AB27"/>
      </a:accent1>
      <a:accent2>
        <a:srgbClr val="007D40"/>
      </a:accent2>
      <a:accent3>
        <a:srgbClr val="007D40"/>
      </a:accent3>
      <a:accent4>
        <a:srgbClr val="1A6E3C"/>
      </a:accent4>
      <a:accent5>
        <a:srgbClr val="57AB27"/>
      </a:accent5>
      <a:accent6>
        <a:srgbClr val="57AB27"/>
      </a:accent6>
      <a:hlink>
        <a:srgbClr val="0563C1"/>
      </a:hlink>
      <a:folHlink>
        <a:srgbClr val="954F72"/>
      </a:folHlink>
    </a:clrScheme>
    <a:fontScheme name="DEKRA MSOff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DEKRA_Master_neu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kra_Master_16-9_v10.pptx" id="{876943AF-4A3A-4B4D-B311-A9B583472379}" vid="{411B7875-6049-4587-8944-230669F92165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77C41B8638DD40826AA665E4033201" ma:contentTypeVersion="7" ma:contentTypeDescription="Create a new document." ma:contentTypeScope="" ma:versionID="b6485709b7261c9270c83bfc749fa59d">
  <xsd:schema xmlns:xsd="http://www.w3.org/2001/XMLSchema" xmlns:xs="http://www.w3.org/2001/XMLSchema" xmlns:p="http://schemas.microsoft.com/office/2006/metadata/properties" xmlns:ns2="800b16d2-9ecd-4783-a3d9-3cb400a631fa" xmlns:ns3="2a467737-a28b-4068-a727-b52a5a034bdd" targetNamespace="http://schemas.microsoft.com/office/2006/metadata/properties" ma:root="true" ma:fieldsID="80055828e786a86015fd4b2d4162c529" ns2:_="" ns3:_="">
    <xsd:import namespace="800b16d2-9ecd-4783-a3d9-3cb400a631fa"/>
    <xsd:import namespace="2a467737-a28b-4068-a727-b52a5a034b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0b16d2-9ecd-4783-a3d9-3cb400a631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467737-a28b-4068-a727-b52a5a034bd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41C5EB-360D-4DC7-B61F-3530907670FA}">
  <ds:schemaRefs>
    <ds:schemaRef ds:uri="http://purl.org/dc/elements/1.1/"/>
    <ds:schemaRef ds:uri="http://schemas.microsoft.com/office/2006/metadata/properties"/>
    <ds:schemaRef ds:uri="800b16d2-9ecd-4783-a3d9-3cb400a631fa"/>
    <ds:schemaRef ds:uri="http://purl.org/dc/terms/"/>
    <ds:schemaRef ds:uri="2a467737-a28b-4068-a727-b52a5a034b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B111B72-FDF6-4336-BCA8-FA81C41842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9F3B185-271E-44EC-86BF-6FC9219A51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0b16d2-9ecd-4783-a3d9-3cb400a631fa"/>
    <ds:schemaRef ds:uri="2a467737-a28b-4068-a727-b52a5a034b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86</TotalTime>
  <Words>1861</Words>
  <Application>Microsoft Macintosh PowerPoint</Application>
  <PresentationFormat>Widescreen</PresentationFormat>
  <Paragraphs>264</Paragraphs>
  <Slides>21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1" baseType="lpstr">
      <vt:lpstr>Arial</vt:lpstr>
      <vt:lpstr>Arial Narrow</vt:lpstr>
      <vt:lpstr>Calibri</vt:lpstr>
      <vt:lpstr>FuturaStd-Book</vt:lpstr>
      <vt:lpstr>FuturaStd-Heavy</vt:lpstr>
      <vt:lpstr>Inter</vt:lpstr>
      <vt:lpstr>Inter Medium</vt:lpstr>
      <vt:lpstr>Noto Sans Symbols</vt:lpstr>
      <vt:lpstr>Roboto</vt:lpstr>
      <vt:lpstr>Symbol</vt:lpstr>
      <vt:lpstr>Wingdings</vt:lpstr>
      <vt:lpstr>DEKRA_Master_new</vt:lpstr>
      <vt:lpstr>DEKRA_Master_neu</vt:lpstr>
      <vt:lpstr>1_DEKRA Digital Slide Master No.2</vt:lpstr>
      <vt:lpstr>Vianova demo theme</vt:lpstr>
      <vt:lpstr>Thème1</vt:lpstr>
      <vt:lpstr>1_Office</vt:lpstr>
      <vt:lpstr>4_Office</vt:lpstr>
      <vt:lpstr>1_DEKRA_Master_neu</vt:lpstr>
      <vt:lpstr>think-cell Slide</vt:lpstr>
      <vt:lpstr>PowerPoint Presentation</vt:lpstr>
      <vt:lpstr>PowerPoint Presentation</vt:lpstr>
      <vt:lpstr>PowerPoint Presentation</vt:lpstr>
      <vt:lpstr>PowerPoint Presentation</vt:lpstr>
      <vt:lpstr>Let’s get started Pa da počnemo   </vt:lpstr>
      <vt:lpstr>PowerPoint Presentation</vt:lpstr>
      <vt:lpstr>PowerPoint Presentation</vt:lpstr>
      <vt:lpstr>PowerPoint Presentation</vt:lpstr>
      <vt:lpstr>PowerPoint Presentation</vt:lpstr>
      <vt:lpstr>Brzo testiranje i provera statusa baterije u vozilima</vt:lpstr>
      <vt:lpstr>Zašto su neophodne obuke za HiVo?</vt:lpstr>
      <vt:lpstr>PowerPoint Presentation</vt:lpstr>
      <vt:lpstr>Obuke različitim grupama korisnika HiVo</vt:lpstr>
      <vt:lpstr>PowerPoint Presentation</vt:lpstr>
      <vt:lpstr>PowerPoint Presentation</vt:lpstr>
      <vt:lpstr>PowerPoint Presentation</vt:lpstr>
      <vt:lpstr>PowerPoint Presentation</vt:lpstr>
      <vt:lpstr>360° pristup u cilju da Micro Mobility bude siguran i održiv (2/2)</vt:lpstr>
      <vt:lpstr>DEKRA 11 preporuka Javnim Institucijama i e-Scooter Provajderima – razvijeno sa Nemačkim savetom za bezbednost saobraćaja</vt:lpstr>
      <vt:lpstr>Primer benefita e-mobilnosti i e-povezanosti vozila u praksi – Algoritam sigurnosti saobraćaja na putevima-prediktivna procena rizika</vt:lpstr>
      <vt:lpstr>DEKRA, globalni partner za  bezbedan, očuvan i održiv svet  Hvala na pažnji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Marcin Piech</dc:creator>
  <cp:lastModifiedBy>Primoz Lemez</cp:lastModifiedBy>
  <cp:revision>51</cp:revision>
  <dcterms:created xsi:type="dcterms:W3CDTF">2020-09-09T00:06:38Z</dcterms:created>
  <dcterms:modified xsi:type="dcterms:W3CDTF">2023-11-16T04:2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77C41B8638DD40826AA665E4033201</vt:lpwstr>
  </property>
</Properties>
</file>